
<file path=[Content_Types].xml><?xml version="1.0" encoding="utf-8"?>
<Types xmlns="http://schemas.openxmlformats.org/package/2006/content-types"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76" r:id="rId2"/>
    <p:sldId id="277" r:id="rId3"/>
    <p:sldId id="308" r:id="rId4"/>
    <p:sldId id="309" r:id="rId5"/>
    <p:sldId id="304" r:id="rId6"/>
    <p:sldId id="305" r:id="rId7"/>
    <p:sldId id="310" r:id="rId8"/>
    <p:sldId id="311" r:id="rId9"/>
    <p:sldId id="312" r:id="rId10"/>
    <p:sldId id="306" r:id="rId11"/>
    <p:sldId id="307" r:id="rId12"/>
    <p:sldId id="313" r:id="rId13"/>
    <p:sldId id="314" r:id="rId14"/>
    <p:sldId id="315" r:id="rId15"/>
    <p:sldId id="319" r:id="rId16"/>
    <p:sldId id="316" r:id="rId17"/>
    <p:sldId id="317" r:id="rId18"/>
    <p:sldId id="318" r:id="rId19"/>
    <p:sldId id="321" r:id="rId20"/>
    <p:sldId id="322" r:id="rId21"/>
    <p:sldId id="323" r:id="rId22"/>
    <p:sldId id="324" r:id="rId23"/>
    <p:sldId id="320" r:id="rId24"/>
    <p:sldId id="302" r:id="rId25"/>
    <p:sldId id="278" r:id="rId26"/>
  </p:sldIdLst>
  <p:sldSz cx="12192000" cy="6858000"/>
  <p:notesSz cx="6858000" cy="9144000"/>
  <p:defaultTextStyle>
    <a:defPPr>
      <a:defRPr lang="en-US"/>
    </a:defPPr>
    <a:lvl1pPr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609585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219170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828754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438339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3047924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3657509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4267093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4876678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ADA"/>
    <a:srgbClr val="CCCCCC"/>
    <a:srgbClr val="F6886A"/>
    <a:srgbClr val="00DEE6"/>
    <a:srgbClr val="44B8D6"/>
    <a:srgbClr val="15AAA6"/>
    <a:srgbClr val="A5C8CF"/>
    <a:srgbClr val="547A8B"/>
    <a:srgbClr val="010B19"/>
    <a:srgbClr val="082A4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5988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96" y="1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37" d="100"/>
          <a:sy n="137" d="100"/>
        </p:scale>
        <p:origin x="823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C3146DE-12E6-419C-A574-B0D04350C9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AA870F-E94B-4917-AB43-62026CB4E57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58475-46F8-48DB-8603-B040CBA163BF}" type="datetimeFigureOut">
              <a:rPr lang="da-DK" smtClean="0"/>
              <a:t>11-09-2019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64345F-0920-4A40-B371-0A9B1BF950A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4E779D-739B-4B24-90DD-E0F826AE07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03F6F2-2003-4799-8FCB-3431554F2B47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9725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DF95A9-781B-A947-952E-AF5DB3EED6BF}" type="datetimeFigureOut">
              <a:rPr lang="en-US"/>
              <a:pPr>
                <a:defRPr/>
              </a:pPr>
              <a:t>9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B4E6626-DD92-5440-975E-5D33BC737A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425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09585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609585" algn="l" defTabSz="609585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1219170" algn="l" defTabSz="609585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828754" algn="l" defTabSz="609585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2438339" algn="l" defTabSz="609585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Interest payments: “coupons”</a:t>
            </a:r>
          </a:p>
          <a:p>
            <a:r>
              <a:rPr lang="da-DK" dirty="0"/>
              <a:t>- </a:t>
            </a:r>
            <a:r>
              <a:rPr lang="da-DK" dirty="0" err="1"/>
              <a:t>Valuation</a:t>
            </a:r>
            <a:r>
              <a:rPr lang="da-DK" dirty="0"/>
              <a:t>: ”</a:t>
            </a:r>
            <a:r>
              <a:rPr lang="da-DK" dirty="0" err="1"/>
              <a:t>What</a:t>
            </a:r>
            <a:r>
              <a:rPr lang="da-DK" dirty="0"/>
              <a:t> is </a:t>
            </a:r>
            <a:r>
              <a:rPr lang="da-DK" dirty="0" err="1"/>
              <a:t>my</a:t>
            </a:r>
            <a:r>
              <a:rPr lang="da-DK" dirty="0"/>
              <a:t> </a:t>
            </a:r>
            <a:r>
              <a:rPr lang="da-DK" dirty="0" err="1"/>
              <a:t>current</a:t>
            </a:r>
            <a:r>
              <a:rPr lang="da-DK" dirty="0"/>
              <a:t> </a:t>
            </a:r>
            <a:r>
              <a:rPr lang="da-DK" dirty="0" err="1"/>
              <a:t>worth</a:t>
            </a:r>
            <a:r>
              <a:rPr lang="da-DK" dirty="0"/>
              <a:t> </a:t>
            </a:r>
            <a:r>
              <a:rPr lang="da-DK" dirty="0" err="1"/>
              <a:t>including</a:t>
            </a:r>
            <a:r>
              <a:rPr lang="da-DK" dirty="0"/>
              <a:t> all </a:t>
            </a:r>
            <a:r>
              <a:rPr lang="da-DK" dirty="0" err="1"/>
              <a:t>my</a:t>
            </a:r>
            <a:r>
              <a:rPr lang="da-DK" dirty="0"/>
              <a:t> assets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B4E6626-DD92-5440-975E-5D33BC737A1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581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Symbolic numeric computations</a:t>
            </a:r>
          </a:p>
          <a:p>
            <a:pPr marL="285750" indent="-285750">
              <a:buFontTx/>
              <a:buChar char="-"/>
            </a:pPr>
            <a:r>
              <a:rPr lang="en-US" dirty="0"/>
              <a:t>Underlying: look for value from somewhere else, e.g. currency crosses.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 how to compute value of something.</a:t>
            </a:r>
          </a:p>
          <a:p>
            <a:pPr marL="285750" indent="-285750">
              <a:buFontTx/>
              <a:buChar char="-"/>
            </a:pPr>
            <a:r>
              <a:rPr lang="en-US" dirty="0"/>
              <a:t>Combine contracts to build a new contract.</a:t>
            </a:r>
          </a:p>
          <a:p>
            <a:pPr marL="285750" indent="-285750">
              <a:buFontTx/>
              <a:buChar char="-"/>
            </a:pPr>
            <a:r>
              <a:rPr lang="en-US" dirty="0"/>
              <a:t>Read the code to the right and deduce what it does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B4E6626-DD92-5440-975E-5D33BC737A1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938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Trade date + settlement days = payment day</a:t>
            </a:r>
          </a:p>
          <a:p>
            <a:pPr marL="285750" indent="-285750">
              <a:buFontTx/>
              <a:buChar char="-"/>
            </a:pPr>
            <a:r>
              <a:rPr lang="en-US" dirty="0"/>
              <a:t>Not just a statement; it is an equation!</a:t>
            </a:r>
          </a:p>
          <a:p>
            <a:pPr marL="285750" indent="-285750">
              <a:buFontTx/>
              <a:buChar char="-"/>
            </a:pPr>
            <a:r>
              <a:rPr lang="en-US" dirty="0"/>
              <a:t>Just a small sub-set of existing business rules in this screen.</a:t>
            </a:r>
          </a:p>
          <a:p>
            <a:pPr marL="285750" indent="-285750">
              <a:buFontTx/>
              <a:buChar char="-"/>
            </a:pPr>
            <a:r>
              <a:rPr lang="en-US" dirty="0"/>
              <a:t>Imagine implementing all this in C# using event handlers.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B4E6626-DD92-5440-975E-5D33BC737A1F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265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ype path notation: type t  = { x : int };; let </a:t>
            </a:r>
            <a:r>
              <a:rPr lang="en-US" dirty="0" err="1"/>
              <a:t>x_path</a:t>
            </a:r>
            <a:r>
              <a:rPr lang="en-US" dirty="0"/>
              <a:t> = .x;;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B4E6626-DD92-5440-975E-5D33BC737A1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066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06" y="0"/>
            <a:ext cx="12193605" cy="6858000"/>
          </a:xfrm>
          <a:prstGeom prst="rect">
            <a:avLst/>
          </a:prstGeom>
        </p:spPr>
      </p:pic>
      <p:sp>
        <p:nvSpPr>
          <p:cNvPr id="15" name="Rektangel 14"/>
          <p:cNvSpPr/>
          <p:nvPr userDrawn="1"/>
        </p:nvSpPr>
        <p:spPr>
          <a:xfrm>
            <a:off x="0" y="0"/>
            <a:ext cx="12192000" cy="4610100"/>
          </a:xfrm>
          <a:prstGeom prst="rect">
            <a:avLst/>
          </a:prstGeom>
          <a:gradFill flip="none" rotWithShape="1">
            <a:gsLst>
              <a:gs pos="8000">
                <a:srgbClr val="010B19">
                  <a:alpha val="80000"/>
                </a:srgbClr>
              </a:gs>
              <a:gs pos="47000">
                <a:srgbClr val="5D757F">
                  <a:alpha val="40000"/>
                </a:srgbClr>
              </a:gs>
              <a:gs pos="73000">
                <a:srgbClr val="A5C8CF"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66750" y="6354361"/>
            <a:ext cx="2590801" cy="36406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a-DK" sz="1067" b="1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650889" y="947355"/>
            <a:ext cx="10860646" cy="1254669"/>
          </a:xfrm>
        </p:spPr>
        <p:txBody>
          <a:bodyPr anchor="b"/>
          <a:lstStyle>
            <a:lvl1pPr marL="0" indent="0">
              <a:lnSpc>
                <a:spcPts val="4800"/>
              </a:lnSpc>
              <a:spcAft>
                <a:spcPts val="0"/>
              </a:spcAft>
              <a:buNone/>
              <a:defRPr sz="4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grpSp>
        <p:nvGrpSpPr>
          <p:cNvPr id="5" name="Gruppe 4"/>
          <p:cNvGrpSpPr/>
          <p:nvPr userDrawn="1"/>
        </p:nvGrpSpPr>
        <p:grpSpPr>
          <a:xfrm>
            <a:off x="8683837" y="5431288"/>
            <a:ext cx="3508163" cy="1426712"/>
            <a:chOff x="8683837" y="5431288"/>
            <a:chExt cx="3508163" cy="1426712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8683837" y="5431288"/>
              <a:ext cx="3508163" cy="1426712"/>
            </a:xfrm>
            <a:custGeom>
              <a:avLst/>
              <a:gdLst>
                <a:gd name="T0" fmla="*/ 0 w 1945"/>
                <a:gd name="T1" fmla="*/ 791 h 791"/>
                <a:gd name="T2" fmla="*/ 1945 w 1945"/>
                <a:gd name="T3" fmla="*/ 791 h 791"/>
                <a:gd name="T4" fmla="*/ 1945 w 1945"/>
                <a:gd name="T5" fmla="*/ 332 h 791"/>
                <a:gd name="T6" fmla="*/ 1370 w 1945"/>
                <a:gd name="T7" fmla="*/ 0 h 791"/>
                <a:gd name="T8" fmla="*/ 0 w 1945"/>
                <a:gd name="T9" fmla="*/ 791 h 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5" h="791">
                  <a:moveTo>
                    <a:pt x="0" y="791"/>
                  </a:moveTo>
                  <a:lnTo>
                    <a:pt x="1945" y="791"/>
                  </a:lnTo>
                  <a:lnTo>
                    <a:pt x="1945" y="332"/>
                  </a:lnTo>
                  <a:lnTo>
                    <a:pt x="1370" y="0"/>
                  </a:lnTo>
                  <a:lnTo>
                    <a:pt x="0" y="7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10368784" y="638785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 noEditPoints="1"/>
            </p:cNvSpPr>
            <p:nvPr userDrawn="1"/>
          </p:nvSpPr>
          <p:spPr bwMode="auto">
            <a:xfrm>
              <a:off x="10142048" y="646948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40599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8423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3864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Pladsholder til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59073" y="2156701"/>
            <a:ext cx="10861415" cy="253022"/>
          </a:xfrm>
        </p:spPr>
        <p:txBody>
          <a:bodyPr/>
          <a:lstStyle>
            <a:lvl1pPr>
              <a:buNone/>
              <a:defRPr lang="en-US" sz="2100" b="0" kern="1200" cap="all" spc="107" baseline="0" dirty="0">
                <a:solidFill>
                  <a:schemeClr val="bg1"/>
                </a:solidFill>
                <a:latin typeface="Arial"/>
                <a:ea typeface="Calibri" panose="020F0502020204030204" pitchFamily="34" charset="0"/>
                <a:cs typeface="Arial"/>
              </a:defRPr>
            </a:lvl1pPr>
          </a:lstStyle>
          <a:p>
            <a:pPr lvl="0"/>
            <a:r>
              <a:rPr lang="da-DK" dirty="0"/>
              <a:t>subheader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671513" y="2413000"/>
            <a:ext cx="4422775" cy="660504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lang="da-DK" sz="1400" b="0" kern="1200" cap="all" baseline="0" dirty="0" smtClean="0">
                <a:solidFill>
                  <a:schemeClr val="accent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 err="1"/>
              <a:t>Name</a:t>
            </a:r>
            <a:r>
              <a:rPr lang="da-DK" dirty="0"/>
              <a:t>, </a:t>
            </a:r>
            <a:r>
              <a:rPr lang="da-DK" dirty="0" err="1"/>
              <a:t>TiTLE</a:t>
            </a:r>
            <a:r>
              <a:rPr lang="da-DK" dirty="0"/>
              <a:t>, SIMCORP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3156860"/>
            <a:ext cx="4422775" cy="215444"/>
          </a:xfrm>
        </p:spPr>
        <p:txBody>
          <a:bodyPr>
            <a:noAutofit/>
          </a:bodyPr>
          <a:lstStyle>
            <a:lvl1pPr marL="0" indent="0">
              <a:buNone/>
              <a:defRPr lang="da-DK" sz="1400" b="0" kern="1200" cap="all" baseline="0" dirty="0" smtClean="0">
                <a:solidFill>
                  <a:schemeClr val="bg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da-DK" dirty="0" err="1"/>
              <a:t>Additional</a:t>
            </a:r>
            <a:r>
              <a:rPr lang="da-DK" dirty="0"/>
              <a:t> info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reaker slide - light 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341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reaker slide - ligh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287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reaker slide - light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7729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reaker slide - light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0276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A75BCBD-7D17-4BD2-AEA8-D97FB017E08D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D627E1E-B34A-492B-80ED-77128B92E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5D562DC0-9BDC-48EB-BF8E-826C5C060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A71844E5-536F-41F8-9C28-C501A7E4E7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06E6719F-F62C-4A6B-926F-BDCDCD5801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84C281A5-4D91-447A-A2DB-DF7D0496D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0">
              <a:extLst>
                <a:ext uri="{FF2B5EF4-FFF2-40B4-BE49-F238E27FC236}">
                  <a16:creationId xmlns:a16="http://schemas.microsoft.com/office/drawing/2014/main" id="{7EF50F1D-D87F-438D-AF95-12F71A08A1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2BB072-6F3C-43AC-9D3D-F256F475E3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214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56C776E-D110-4967-AAF2-20158EEF10CF}"/>
              </a:ext>
            </a:extLst>
          </p:cNvPr>
          <p:cNvGrpSpPr/>
          <p:nvPr userDrawn="1"/>
        </p:nvGrpSpPr>
        <p:grpSpPr>
          <a:xfrm>
            <a:off x="0" y="-6350"/>
            <a:ext cx="12192001" cy="6864350"/>
            <a:chOff x="0" y="-6350"/>
            <a:chExt cx="12192001" cy="6864350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97FF143-B9D3-4D61-BDCC-6C0EC77C6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22147D-73EB-44D8-AF66-6F7E5F12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1E7A875-F577-47BF-8AF9-B0C9A6536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E944BC7-BB59-441D-AB6C-90FFFE28B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A6807A1-E863-460E-8DBF-80144CE94F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197B1C32-E30D-4EB5-B03E-52D95C71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F025B07-7F8A-4F4F-9593-F6E2483326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0782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56C776E-D110-4967-AAF2-20158EEF10CF}"/>
              </a:ext>
            </a:extLst>
          </p:cNvPr>
          <p:cNvGrpSpPr/>
          <p:nvPr userDrawn="1"/>
        </p:nvGrpSpPr>
        <p:grpSpPr>
          <a:xfrm>
            <a:off x="0" y="-6350"/>
            <a:ext cx="12192001" cy="6864350"/>
            <a:chOff x="0" y="-6350"/>
            <a:chExt cx="12192001" cy="6864350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97FF143-B9D3-4D61-BDCC-6C0EC77C6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22147D-73EB-44D8-AF66-6F7E5F12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1E7A875-F577-47BF-8AF9-B0C9A6536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E944BC7-BB59-441D-AB6C-90FFFE28B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A6807A1-E863-460E-8DBF-80144CE94F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197B1C32-E30D-4EB5-B03E-52D95C71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FB763B2-CF4C-4EC9-B293-FAB74D4B5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699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56C776E-D110-4967-AAF2-20158EEF10CF}"/>
              </a:ext>
            </a:extLst>
          </p:cNvPr>
          <p:cNvGrpSpPr/>
          <p:nvPr userDrawn="1"/>
        </p:nvGrpSpPr>
        <p:grpSpPr>
          <a:xfrm>
            <a:off x="0" y="-6350"/>
            <a:ext cx="12192001" cy="6864350"/>
            <a:chOff x="0" y="-6350"/>
            <a:chExt cx="12192001" cy="6864350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97FF143-B9D3-4D61-BDCC-6C0EC77C6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22147D-73EB-44D8-AF66-6F7E5F12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1E7A875-F577-47BF-8AF9-B0C9A6536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E944BC7-BB59-441D-AB6C-90FFFE28B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A6807A1-E863-460E-8DBF-80144CE94F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197B1C32-E30D-4EB5-B03E-52D95C71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F44D5B9-8877-4CF2-B90C-0149177CE5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66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56C776E-D110-4967-AAF2-20158EEF10CF}"/>
              </a:ext>
            </a:extLst>
          </p:cNvPr>
          <p:cNvGrpSpPr/>
          <p:nvPr userDrawn="1"/>
        </p:nvGrpSpPr>
        <p:grpSpPr>
          <a:xfrm>
            <a:off x="0" y="-6350"/>
            <a:ext cx="12192001" cy="6864350"/>
            <a:chOff x="0" y="-6350"/>
            <a:chExt cx="12192001" cy="6864350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97FF143-B9D3-4D61-BDCC-6C0EC77C6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22147D-73EB-44D8-AF66-6F7E5F12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1E7A875-F577-47BF-8AF9-B0C9A6536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E944BC7-BB59-441D-AB6C-90FFFE28B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A6807A1-E863-460E-8DBF-80144CE94F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197B1C32-E30D-4EB5-B03E-52D95C71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F8B5868-72A8-4A02-828A-4D136D6161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463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9B4F5C-10E8-4823-9BB1-C9C9C2CAAC70}"/>
              </a:ext>
            </a:extLst>
          </p:cNvPr>
          <p:cNvSpPr/>
          <p:nvPr userDrawn="1"/>
        </p:nvSpPr>
        <p:spPr>
          <a:xfrm>
            <a:off x="10290175" y="6252706"/>
            <a:ext cx="1457994" cy="42779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860772-438C-494B-83A8-63B969D12C78}"/>
              </a:ext>
            </a:extLst>
          </p:cNvPr>
          <p:cNvSpPr/>
          <p:nvPr userDrawn="1"/>
        </p:nvSpPr>
        <p:spPr>
          <a:xfrm>
            <a:off x="1258470" y="6252706"/>
            <a:ext cx="679721" cy="42779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56C776E-D110-4967-AAF2-20158EEF10CF}"/>
              </a:ext>
            </a:extLst>
          </p:cNvPr>
          <p:cNvGrpSpPr/>
          <p:nvPr userDrawn="1"/>
        </p:nvGrpSpPr>
        <p:grpSpPr>
          <a:xfrm>
            <a:off x="0" y="-6350"/>
            <a:ext cx="12192001" cy="6864350"/>
            <a:chOff x="0" y="-6350"/>
            <a:chExt cx="12192001" cy="6864350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97FF143-B9D3-4D61-BDCC-6C0EC77C6A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22147D-73EB-44D8-AF66-6F7E5F128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1E7A875-F577-47BF-8AF9-B0C9A6536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FE944BC7-BB59-441D-AB6C-90FFFE28B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4A6807A1-E863-460E-8DBF-80144CE94F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197B1C32-E30D-4EB5-B03E-52D95C71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20" name="Gruppe 19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450A3B49-CCFF-4E42-9265-AA2EF0310F1C}"/>
              </a:ext>
            </a:extLst>
          </p:cNvPr>
          <p:cNvSpPr txBox="1">
            <a:spLocks/>
          </p:cNvSpPr>
          <p:nvPr userDrawn="1"/>
        </p:nvSpPr>
        <p:spPr>
          <a:xfrm>
            <a:off x="672001" y="6352663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bg2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E16BA917-7F09-4B8D-AF07-F52890C140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572D5DB4-596C-4B3C-8639-53D2DFD469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51115" y="1150760"/>
            <a:ext cx="627300" cy="470078"/>
          </a:xfrm>
          <a:custGeom>
            <a:avLst/>
            <a:gdLst>
              <a:gd name="T0" fmla="*/ 60 w 121"/>
              <a:gd name="T1" fmla="*/ 11 h 90"/>
              <a:gd name="T2" fmla="*/ 45 w 121"/>
              <a:gd name="T3" fmla="*/ 19 h 90"/>
              <a:gd name="T4" fmla="*/ 34 w 121"/>
              <a:gd name="T5" fmla="*/ 27 h 90"/>
              <a:gd name="T6" fmla="*/ 25 w 121"/>
              <a:gd name="T7" fmla="*/ 37 h 90"/>
              <a:gd name="T8" fmla="*/ 19 w 121"/>
              <a:gd name="T9" fmla="*/ 51 h 90"/>
              <a:gd name="T10" fmla="*/ 26 w 121"/>
              <a:gd name="T11" fmla="*/ 51 h 90"/>
              <a:gd name="T12" fmla="*/ 40 w 121"/>
              <a:gd name="T13" fmla="*/ 56 h 90"/>
              <a:gd name="T14" fmla="*/ 45 w 121"/>
              <a:gd name="T15" fmla="*/ 67 h 90"/>
              <a:gd name="T16" fmla="*/ 39 w 121"/>
              <a:gd name="T17" fmla="*/ 82 h 90"/>
              <a:gd name="T18" fmla="*/ 22 w 121"/>
              <a:gd name="T19" fmla="*/ 90 h 90"/>
              <a:gd name="T20" fmla="*/ 6 w 121"/>
              <a:gd name="T21" fmla="*/ 83 h 90"/>
              <a:gd name="T22" fmla="*/ 0 w 121"/>
              <a:gd name="T23" fmla="*/ 67 h 90"/>
              <a:gd name="T24" fmla="*/ 6 w 121"/>
              <a:gd name="T25" fmla="*/ 43 h 90"/>
              <a:gd name="T26" fmla="*/ 21 w 121"/>
              <a:gd name="T27" fmla="*/ 23 h 90"/>
              <a:gd name="T28" fmla="*/ 39 w 121"/>
              <a:gd name="T29" fmla="*/ 10 h 90"/>
              <a:gd name="T30" fmla="*/ 55 w 121"/>
              <a:gd name="T31" fmla="*/ 0 h 90"/>
              <a:gd name="T32" fmla="*/ 60 w 121"/>
              <a:gd name="T33" fmla="*/ 11 h 90"/>
              <a:gd name="T34" fmla="*/ 121 w 121"/>
              <a:gd name="T35" fmla="*/ 11 h 90"/>
              <a:gd name="T36" fmla="*/ 106 w 121"/>
              <a:gd name="T37" fmla="*/ 19 h 90"/>
              <a:gd name="T38" fmla="*/ 95 w 121"/>
              <a:gd name="T39" fmla="*/ 27 h 90"/>
              <a:gd name="T40" fmla="*/ 86 w 121"/>
              <a:gd name="T41" fmla="*/ 37 h 90"/>
              <a:gd name="T42" fmla="*/ 79 w 121"/>
              <a:gd name="T43" fmla="*/ 51 h 90"/>
              <a:gd name="T44" fmla="*/ 86 w 121"/>
              <a:gd name="T45" fmla="*/ 51 h 90"/>
              <a:gd name="T46" fmla="*/ 101 w 121"/>
              <a:gd name="T47" fmla="*/ 56 h 90"/>
              <a:gd name="T48" fmla="*/ 106 w 121"/>
              <a:gd name="T49" fmla="*/ 67 h 90"/>
              <a:gd name="T50" fmla="*/ 100 w 121"/>
              <a:gd name="T51" fmla="*/ 82 h 90"/>
              <a:gd name="T52" fmla="*/ 83 w 121"/>
              <a:gd name="T53" fmla="*/ 90 h 90"/>
              <a:gd name="T54" fmla="*/ 67 w 121"/>
              <a:gd name="T55" fmla="*/ 83 h 90"/>
              <a:gd name="T56" fmla="*/ 61 w 121"/>
              <a:gd name="T57" fmla="*/ 67 h 90"/>
              <a:gd name="T58" fmla="*/ 67 w 121"/>
              <a:gd name="T59" fmla="*/ 43 h 90"/>
              <a:gd name="T60" fmla="*/ 82 w 121"/>
              <a:gd name="T61" fmla="*/ 23 h 90"/>
              <a:gd name="T62" fmla="*/ 99 w 121"/>
              <a:gd name="T63" fmla="*/ 10 h 90"/>
              <a:gd name="T64" fmla="*/ 116 w 121"/>
              <a:gd name="T65" fmla="*/ 0 h 90"/>
              <a:gd name="T66" fmla="*/ 121 w 121"/>
              <a:gd name="T67" fmla="*/ 11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1" h="90">
                <a:moveTo>
                  <a:pt x="60" y="11"/>
                </a:moveTo>
                <a:cubicBezTo>
                  <a:pt x="55" y="13"/>
                  <a:pt x="50" y="16"/>
                  <a:pt x="45" y="19"/>
                </a:cubicBezTo>
                <a:cubicBezTo>
                  <a:pt x="41" y="21"/>
                  <a:pt x="37" y="24"/>
                  <a:pt x="34" y="27"/>
                </a:cubicBezTo>
                <a:cubicBezTo>
                  <a:pt x="30" y="30"/>
                  <a:pt x="27" y="33"/>
                  <a:pt x="25" y="37"/>
                </a:cubicBezTo>
                <a:cubicBezTo>
                  <a:pt x="22" y="41"/>
                  <a:pt x="20" y="45"/>
                  <a:pt x="19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33" y="51"/>
                  <a:pt x="37" y="53"/>
                  <a:pt x="40" y="56"/>
                </a:cubicBezTo>
                <a:cubicBezTo>
                  <a:pt x="44" y="59"/>
                  <a:pt x="45" y="63"/>
                  <a:pt x="45" y="67"/>
                </a:cubicBezTo>
                <a:cubicBezTo>
                  <a:pt x="45" y="73"/>
                  <a:pt x="43" y="78"/>
                  <a:pt x="39" y="82"/>
                </a:cubicBezTo>
                <a:cubicBezTo>
                  <a:pt x="35" y="87"/>
                  <a:pt x="29" y="90"/>
                  <a:pt x="22" y="90"/>
                </a:cubicBezTo>
                <a:cubicBezTo>
                  <a:pt x="15" y="90"/>
                  <a:pt x="9" y="88"/>
                  <a:pt x="6" y="83"/>
                </a:cubicBezTo>
                <a:cubicBezTo>
                  <a:pt x="2" y="79"/>
                  <a:pt x="0" y="74"/>
                  <a:pt x="0" y="67"/>
                </a:cubicBezTo>
                <a:cubicBezTo>
                  <a:pt x="0" y="58"/>
                  <a:pt x="2" y="50"/>
                  <a:pt x="6" y="43"/>
                </a:cubicBezTo>
                <a:cubicBezTo>
                  <a:pt x="10" y="35"/>
                  <a:pt x="15" y="29"/>
                  <a:pt x="21" y="23"/>
                </a:cubicBezTo>
                <a:cubicBezTo>
                  <a:pt x="26" y="18"/>
                  <a:pt x="32" y="13"/>
                  <a:pt x="39" y="10"/>
                </a:cubicBezTo>
                <a:cubicBezTo>
                  <a:pt x="45" y="6"/>
                  <a:pt x="50" y="3"/>
                  <a:pt x="55" y="0"/>
                </a:cubicBezTo>
                <a:lnTo>
                  <a:pt x="60" y="11"/>
                </a:lnTo>
                <a:close/>
                <a:moveTo>
                  <a:pt x="121" y="11"/>
                </a:moveTo>
                <a:cubicBezTo>
                  <a:pt x="116" y="13"/>
                  <a:pt x="111" y="16"/>
                  <a:pt x="106" y="19"/>
                </a:cubicBezTo>
                <a:cubicBezTo>
                  <a:pt x="102" y="21"/>
                  <a:pt x="98" y="24"/>
                  <a:pt x="95" y="27"/>
                </a:cubicBezTo>
                <a:cubicBezTo>
                  <a:pt x="91" y="30"/>
                  <a:pt x="88" y="33"/>
                  <a:pt x="86" y="37"/>
                </a:cubicBezTo>
                <a:cubicBezTo>
                  <a:pt x="83" y="41"/>
                  <a:pt x="81" y="45"/>
                  <a:pt x="79" y="51"/>
                </a:cubicBezTo>
                <a:cubicBezTo>
                  <a:pt x="86" y="51"/>
                  <a:pt x="86" y="51"/>
                  <a:pt x="86" y="51"/>
                </a:cubicBezTo>
                <a:cubicBezTo>
                  <a:pt x="93" y="51"/>
                  <a:pt x="98" y="53"/>
                  <a:pt x="101" y="56"/>
                </a:cubicBezTo>
                <a:cubicBezTo>
                  <a:pt x="104" y="59"/>
                  <a:pt x="106" y="63"/>
                  <a:pt x="106" y="67"/>
                </a:cubicBezTo>
                <a:cubicBezTo>
                  <a:pt x="106" y="73"/>
                  <a:pt x="104" y="78"/>
                  <a:pt x="100" y="82"/>
                </a:cubicBezTo>
                <a:cubicBezTo>
                  <a:pt x="96" y="87"/>
                  <a:pt x="90" y="90"/>
                  <a:pt x="83" y="90"/>
                </a:cubicBezTo>
                <a:cubicBezTo>
                  <a:pt x="76" y="90"/>
                  <a:pt x="70" y="88"/>
                  <a:pt x="67" y="83"/>
                </a:cubicBezTo>
                <a:cubicBezTo>
                  <a:pt x="63" y="79"/>
                  <a:pt x="61" y="74"/>
                  <a:pt x="61" y="67"/>
                </a:cubicBezTo>
                <a:cubicBezTo>
                  <a:pt x="61" y="58"/>
                  <a:pt x="63" y="50"/>
                  <a:pt x="67" y="43"/>
                </a:cubicBezTo>
                <a:cubicBezTo>
                  <a:pt x="71" y="35"/>
                  <a:pt x="76" y="29"/>
                  <a:pt x="82" y="23"/>
                </a:cubicBezTo>
                <a:cubicBezTo>
                  <a:pt x="87" y="18"/>
                  <a:pt x="93" y="13"/>
                  <a:pt x="99" y="10"/>
                </a:cubicBezTo>
                <a:cubicBezTo>
                  <a:pt x="106" y="6"/>
                  <a:pt x="111" y="3"/>
                  <a:pt x="116" y="0"/>
                </a:cubicBezTo>
                <a:lnTo>
                  <a:pt x="12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1978FD8-90AC-46C7-B29C-560EA24F1F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401" y="1943100"/>
            <a:ext cx="8261350" cy="3454400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None/>
              <a:tabLst/>
              <a:defRPr lang="en-US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2pPr>
            <a:lvl3pPr marL="0" indent="0">
              <a:spcBef>
                <a:spcPts val="300"/>
              </a:spcBef>
              <a:buNone/>
              <a:tabLst/>
              <a:defRPr lang="en-US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3pPr>
            <a:lvl4pPr marL="0" indent="0">
              <a:spcBef>
                <a:spcPts val="300"/>
              </a:spcBef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None/>
              <a:tabLst/>
              <a:defRPr sz="2600" b="0" i="1"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Quote text her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/Company/</a:t>
            </a:r>
            <a:r>
              <a:rPr lang="en-US" dirty="0" err="1"/>
              <a:t>Orgi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965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header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5" y="1056000"/>
            <a:ext cx="10850033" cy="402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SUBHEADER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8437"/>
            <a:ext cx="12191999" cy="6866437"/>
          </a:xfrm>
          <a:prstGeom prst="rect">
            <a:avLst/>
          </a:prstGeom>
        </p:spPr>
      </p:pic>
      <p:pic>
        <p:nvPicPr>
          <p:cNvPr id="4" name="Picture 3" descr="SimCorp logo_rentegnet_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214" y="2977346"/>
            <a:ext cx="4945927" cy="855057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997C1C8-2DB9-4256-8136-6A4E413E57BA}"/>
              </a:ext>
            </a:extLst>
          </p:cNvPr>
          <p:cNvSpPr txBox="1">
            <a:spLocks/>
          </p:cNvSpPr>
          <p:nvPr userDrawn="1"/>
        </p:nvSpPr>
        <p:spPr>
          <a:xfrm>
            <a:off x="97971" y="5894809"/>
            <a:ext cx="11952515" cy="864000"/>
          </a:xfrm>
          <a:prstGeom prst="rect">
            <a:avLst/>
          </a:prstGeom>
        </p:spPr>
        <p:txBody>
          <a:bodyPr numCol="1"/>
          <a:lstStyle>
            <a:lvl1pPr marL="0" indent="0" algn="l" defTabSz="60958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DEE6"/>
              </a:buClr>
              <a:buSzPct val="100000"/>
              <a:buFontTx/>
              <a:buChar char="​"/>
              <a:tabLst/>
              <a:defRPr lang="da-DK" sz="18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0975" indent="-18097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15AAA6"/>
              </a:buClr>
              <a:buFont typeface="Arial" panose="020B0604020202020204" pitchFamily="34" charset="0"/>
              <a:buChar char="•"/>
              <a:defRPr lang="da-DK" sz="180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534988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15AAA6"/>
              </a:buClr>
              <a:buSzPct val="100000"/>
              <a:buFont typeface="Arial" panose="020B0604020202020204" pitchFamily="34" charset="0"/>
              <a:buChar char="-"/>
              <a:tabLst/>
              <a:defRPr lang="da-DK" sz="1800" b="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554038" indent="0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15AAA6"/>
              </a:buClr>
              <a:buSzPct val="80000"/>
              <a:buFont typeface="Arial" panose="020B0604020202020204" pitchFamily="34" charset="0"/>
              <a:buChar char="​"/>
              <a:tabLst/>
              <a:defRPr lang="da-DK" sz="15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747713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15AAA6"/>
              </a:buClr>
              <a:buSzPct val="100000"/>
              <a:buFont typeface="Arial" panose="020B0604020202020204" pitchFamily="34" charset="0"/>
              <a:buChar char="•"/>
              <a:tabLst/>
              <a:defRPr lang="da-DK" sz="1500" b="0" i="0" kern="1200" baseline="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8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LEGAL NOTICE</a:t>
            </a:r>
          </a:p>
          <a:p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The contents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i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publication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for general information and illustrative purposes only and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us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t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ader’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wn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isk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use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ll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asonabl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ndeavor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to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nsu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ccurac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f the information.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However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doe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not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guarante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r warrant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ccurac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completenes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factual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correctnes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liabilit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n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information in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i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publication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nd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doe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not accept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liabilit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f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rror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mission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inaccuracie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ypographical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rror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The views and opinions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xpress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in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i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publication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not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necessaril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os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© 2019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/S. All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ight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serv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Without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limiting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ight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under copyright, no part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i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document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ma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b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produc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tor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in,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introduc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into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trieval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system,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ransmitt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in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n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form, by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n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mean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(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lectronic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mechanical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photocopying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cording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therwis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), or f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n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purpos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without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xpres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written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permission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/S.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,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logo,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baseline="300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®, 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and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Services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either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gistered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rademark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rademark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/S in Denmark and/or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ther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countrie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Refer to www.simcorp.com/trademarks for a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full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list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SimCorp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A/S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rademark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ther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rademark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referred to in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i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document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ar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the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property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of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their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respective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da-DK" sz="800" dirty="0" err="1">
                <a:solidFill>
                  <a:schemeClr val="accent6">
                    <a:lumMod val="75000"/>
                  </a:schemeClr>
                </a:solidFill>
                <a:latin typeface="+mn-lt"/>
              </a:rPr>
              <a:t>owners</a:t>
            </a:r>
            <a:r>
              <a:rPr lang="da-DK" sz="800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.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8437"/>
            <a:ext cx="12191999" cy="686643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AGENDA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lang="da-DK" sz="1000" kern="1200" smtClean="0">
                <a:solidFill>
                  <a:schemeClr val="accent6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</a:lstStyle>
          <a:p>
            <a:fld id="{E16BA917-7F09-4B8D-AF07-F52890C140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4" hasCustomPrompt="1"/>
          </p:nvPr>
        </p:nvSpPr>
        <p:spPr>
          <a:xfrm>
            <a:off x="670985" y="1620839"/>
            <a:ext cx="10850033" cy="4566180"/>
          </a:xfrm>
        </p:spPr>
        <p:txBody>
          <a:bodyPr/>
          <a:lstStyle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  <p:sp>
        <p:nvSpPr>
          <p:cNvPr id="11" name="Pladsholder til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5" y="1056000"/>
            <a:ext cx="10850033" cy="402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SUBHEADER</a:t>
            </a:r>
          </a:p>
        </p:txBody>
      </p:sp>
      <p:grpSp>
        <p:nvGrpSpPr>
          <p:cNvPr id="23" name="Gruppe 22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accent6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Pladsholder til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5" y="1056000"/>
            <a:ext cx="10850033" cy="402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SUBHEADER</a:t>
            </a:r>
          </a:p>
        </p:txBody>
      </p:sp>
      <p:sp>
        <p:nvSpPr>
          <p:cNvPr id="3" name="Tekstfelt 2"/>
          <p:cNvSpPr txBox="1"/>
          <p:nvPr userDrawn="1"/>
        </p:nvSpPr>
        <p:spPr>
          <a:xfrm>
            <a:off x="2868460" y="-638827"/>
            <a:ext cx="1615858" cy="638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header</a:t>
            </a:r>
            <a:endParaRPr lang="da-DK" dirty="0"/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9" hasCustomPrompt="1"/>
          </p:nvPr>
        </p:nvSpPr>
        <p:spPr>
          <a:xfrm>
            <a:off x="672001" y="1620838"/>
            <a:ext cx="10856912" cy="4568825"/>
          </a:xfrm>
        </p:spPr>
        <p:txBody>
          <a:bodyPr/>
          <a:lstStyle>
            <a:lvl4pPr>
              <a:spcBef>
                <a:spcPts val="0"/>
              </a:spcBef>
              <a:defRPr/>
            </a:lvl4pPr>
          </a:lstStyle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2573000" y="-9525"/>
            <a:ext cx="1339850" cy="6867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header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5" y="1056000"/>
            <a:ext cx="10850033" cy="402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SUBHEADER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8" hasCustomPrompt="1"/>
          </p:nvPr>
        </p:nvSpPr>
        <p:spPr>
          <a:xfrm>
            <a:off x="671513" y="1620838"/>
            <a:ext cx="5340350" cy="4568825"/>
          </a:xfrm>
        </p:spPr>
        <p:txBody>
          <a:bodyPr/>
          <a:lstStyle/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  <p:sp>
        <p:nvSpPr>
          <p:cNvPr id="10" name="Pladsholder til indhold 4"/>
          <p:cNvSpPr>
            <a:spLocks noGrp="1"/>
          </p:cNvSpPr>
          <p:nvPr>
            <p:ph sz="quarter" idx="19" hasCustomPrompt="1"/>
          </p:nvPr>
        </p:nvSpPr>
        <p:spPr>
          <a:xfrm>
            <a:off x="6178550" y="1620838"/>
            <a:ext cx="5340350" cy="4568825"/>
          </a:xfrm>
        </p:spPr>
        <p:txBody>
          <a:bodyPr/>
          <a:lstStyle/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Enter slide header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670985" y="1056000"/>
            <a:ext cx="10850033" cy="402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SUBHEADER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8" hasCustomPrompt="1"/>
          </p:nvPr>
        </p:nvSpPr>
        <p:spPr>
          <a:xfrm>
            <a:off x="671513" y="1620838"/>
            <a:ext cx="3505200" cy="4568825"/>
          </a:xfrm>
        </p:spPr>
        <p:txBody>
          <a:bodyPr/>
          <a:lstStyle/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  <p:sp>
        <p:nvSpPr>
          <p:cNvPr id="11" name="Pladsholder til indhold 4"/>
          <p:cNvSpPr>
            <a:spLocks noGrp="1"/>
          </p:cNvSpPr>
          <p:nvPr>
            <p:ph sz="quarter" idx="19" hasCustomPrompt="1"/>
          </p:nvPr>
        </p:nvSpPr>
        <p:spPr>
          <a:xfrm>
            <a:off x="4343400" y="1620838"/>
            <a:ext cx="3505200" cy="4568825"/>
          </a:xfrm>
        </p:spPr>
        <p:txBody>
          <a:bodyPr/>
          <a:lstStyle/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  <p:sp>
        <p:nvSpPr>
          <p:cNvPr id="12" name="Pladsholder til indhold 4"/>
          <p:cNvSpPr>
            <a:spLocks noGrp="1"/>
          </p:cNvSpPr>
          <p:nvPr>
            <p:ph sz="quarter" idx="20" hasCustomPrompt="1"/>
          </p:nvPr>
        </p:nvSpPr>
        <p:spPr>
          <a:xfrm>
            <a:off x="8013700" y="1620838"/>
            <a:ext cx="3505200" cy="4568825"/>
          </a:xfrm>
        </p:spPr>
        <p:txBody>
          <a:bodyPr/>
          <a:lstStyle/>
          <a:p>
            <a:pPr lvl="0"/>
            <a:r>
              <a:rPr lang="en-US" dirty="0"/>
              <a:t>Tab to insert bullet</a:t>
            </a:r>
          </a:p>
          <a:p>
            <a:pPr lvl="1"/>
            <a:r>
              <a:rPr lang="en-US" dirty="0"/>
              <a:t>Bullet with no header</a:t>
            </a:r>
          </a:p>
          <a:p>
            <a:pPr lvl="2"/>
            <a:r>
              <a:rPr lang="en-US" dirty="0"/>
              <a:t>Bullet after header</a:t>
            </a:r>
          </a:p>
          <a:p>
            <a:pPr lvl="3"/>
            <a:r>
              <a:rPr lang="en-US" dirty="0"/>
              <a:t>Text aligned with bullet</a:t>
            </a:r>
          </a:p>
          <a:p>
            <a:pPr lvl="4"/>
            <a:r>
              <a:rPr lang="en-US" dirty="0"/>
              <a:t>Sub-bullet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8437"/>
            <a:ext cx="12191999" cy="6866437"/>
          </a:xfrm>
          <a:prstGeom prst="rect">
            <a:avLst/>
          </a:prstGeom>
        </p:spPr>
      </p:pic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rgbClr val="26354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accent6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reaker slide - light gra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396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reaker slide - ligh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1F047AA-2753-4C31-937B-F7C2A6F5BB41}"/>
              </a:ext>
            </a:extLst>
          </p:cNvPr>
          <p:cNvGrpSpPr/>
          <p:nvPr userDrawn="1"/>
        </p:nvGrpSpPr>
        <p:grpSpPr>
          <a:xfrm>
            <a:off x="-9183" y="3278"/>
            <a:ext cx="12192001" cy="6864350"/>
            <a:chOff x="0" y="-6350"/>
            <a:chExt cx="12192001" cy="686435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2668ACD1-E923-41A7-8C8B-CFDB0E5C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2016125"/>
              <a:ext cx="5568950" cy="4841875"/>
            </a:xfrm>
            <a:custGeom>
              <a:avLst/>
              <a:gdLst>
                <a:gd name="T0" fmla="*/ 0 w 3508"/>
                <a:gd name="T1" fmla="*/ 0 h 3050"/>
                <a:gd name="T2" fmla="*/ 0 w 3508"/>
                <a:gd name="T3" fmla="*/ 3050 h 3050"/>
                <a:gd name="T4" fmla="*/ 1737 w 3508"/>
                <a:gd name="T5" fmla="*/ 3050 h 3050"/>
                <a:gd name="T6" fmla="*/ 3508 w 3508"/>
                <a:gd name="T7" fmla="*/ 2027 h 3050"/>
                <a:gd name="T8" fmla="*/ 0 w 3508"/>
                <a:gd name="T9" fmla="*/ 0 h 3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8" h="3050">
                  <a:moveTo>
                    <a:pt x="0" y="0"/>
                  </a:moveTo>
                  <a:lnTo>
                    <a:pt x="0" y="3050"/>
                  </a:lnTo>
                  <a:lnTo>
                    <a:pt x="1737" y="3050"/>
                  </a:lnTo>
                  <a:lnTo>
                    <a:pt x="3508" y="2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E350CCF4-74B9-4CBF-8D46-5E5574C3C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-6350"/>
              <a:ext cx="5462588" cy="2022475"/>
            </a:xfrm>
            <a:custGeom>
              <a:avLst/>
              <a:gdLst>
                <a:gd name="T0" fmla="*/ 3441 w 3441"/>
                <a:gd name="T1" fmla="*/ 0 h 1274"/>
                <a:gd name="T2" fmla="*/ 0 w 3441"/>
                <a:gd name="T3" fmla="*/ 0 h 1274"/>
                <a:gd name="T4" fmla="*/ 0 w 3441"/>
                <a:gd name="T5" fmla="*/ 559 h 1274"/>
                <a:gd name="T6" fmla="*/ 1237 w 3441"/>
                <a:gd name="T7" fmla="*/ 1274 h 1274"/>
                <a:gd name="T8" fmla="*/ 3441 w 3441"/>
                <a:gd name="T9" fmla="*/ 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41" h="1274">
                  <a:moveTo>
                    <a:pt x="3441" y="0"/>
                  </a:moveTo>
                  <a:lnTo>
                    <a:pt x="0" y="0"/>
                  </a:lnTo>
                  <a:lnTo>
                    <a:pt x="0" y="559"/>
                  </a:lnTo>
                  <a:lnTo>
                    <a:pt x="1237" y="1274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D13B5093-B5A9-48FA-9028-4E92FCB3E5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1200" y="-6350"/>
              <a:ext cx="2590800" cy="1497013"/>
            </a:xfrm>
            <a:custGeom>
              <a:avLst/>
              <a:gdLst>
                <a:gd name="T0" fmla="*/ 1632 w 1632"/>
                <a:gd name="T1" fmla="*/ 0 h 943"/>
                <a:gd name="T2" fmla="*/ 0 w 1632"/>
                <a:gd name="T3" fmla="*/ 0 h 943"/>
                <a:gd name="T4" fmla="*/ 1632 w 1632"/>
                <a:gd name="T5" fmla="*/ 943 h 943"/>
                <a:gd name="T6" fmla="*/ 1632 w 1632"/>
                <a:gd name="T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2" h="943">
                  <a:moveTo>
                    <a:pt x="1632" y="0"/>
                  </a:moveTo>
                  <a:lnTo>
                    <a:pt x="0" y="0"/>
                  </a:lnTo>
                  <a:lnTo>
                    <a:pt x="1632" y="943"/>
                  </a:lnTo>
                  <a:lnTo>
                    <a:pt x="1632" y="0"/>
                  </a:lnTo>
                  <a:close/>
                </a:path>
              </a:pathLst>
            </a:custGeom>
            <a:solidFill>
              <a:srgbClr val="000000">
                <a:alpha val="7843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58AF99-AC06-4C66-8C13-45D5863BF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3738" y="-6350"/>
              <a:ext cx="10228263" cy="6864350"/>
            </a:xfrm>
            <a:custGeom>
              <a:avLst/>
              <a:gdLst>
                <a:gd name="T0" fmla="*/ 0 w 6443"/>
                <a:gd name="T1" fmla="*/ 1274 h 4324"/>
                <a:gd name="T2" fmla="*/ 3508 w 6443"/>
                <a:gd name="T3" fmla="*/ 3301 h 4324"/>
                <a:gd name="T4" fmla="*/ 5278 w 6443"/>
                <a:gd name="T5" fmla="*/ 4324 h 4324"/>
                <a:gd name="T6" fmla="*/ 6443 w 6443"/>
                <a:gd name="T7" fmla="*/ 4324 h 4324"/>
                <a:gd name="T8" fmla="*/ 6443 w 6443"/>
                <a:gd name="T9" fmla="*/ 943 h 4324"/>
                <a:gd name="T10" fmla="*/ 4811 w 6443"/>
                <a:gd name="T11" fmla="*/ 0 h 4324"/>
                <a:gd name="T12" fmla="*/ 2204 w 6443"/>
                <a:gd name="T13" fmla="*/ 0 h 4324"/>
                <a:gd name="T14" fmla="*/ 0 w 6443"/>
                <a:gd name="T15" fmla="*/ 1274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43" h="4324">
                  <a:moveTo>
                    <a:pt x="0" y="1274"/>
                  </a:moveTo>
                  <a:lnTo>
                    <a:pt x="3508" y="3301"/>
                  </a:lnTo>
                  <a:lnTo>
                    <a:pt x="5278" y="4324"/>
                  </a:lnTo>
                  <a:lnTo>
                    <a:pt x="6443" y="4324"/>
                  </a:lnTo>
                  <a:lnTo>
                    <a:pt x="6443" y="943"/>
                  </a:lnTo>
                  <a:lnTo>
                    <a:pt x="4811" y="0"/>
                  </a:lnTo>
                  <a:lnTo>
                    <a:pt x="2204" y="0"/>
                  </a:lnTo>
                  <a:lnTo>
                    <a:pt x="0" y="1274"/>
                  </a:lnTo>
                  <a:close/>
                </a:path>
              </a:pathLst>
            </a:custGeom>
            <a:solidFill>
              <a:srgbClr val="000000">
                <a:alpha val="16078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E64CFA6F-205E-40A3-B173-4C4787D966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881062"/>
              <a:ext cx="1963738" cy="5976938"/>
            </a:xfrm>
            <a:custGeom>
              <a:avLst/>
              <a:gdLst>
                <a:gd name="T0" fmla="*/ 0 w 1237"/>
                <a:gd name="T1" fmla="*/ 0 h 3765"/>
                <a:gd name="T2" fmla="*/ 0 w 1237"/>
                <a:gd name="T3" fmla="*/ 3765 h 3765"/>
                <a:gd name="T4" fmla="*/ 1237 w 1237"/>
                <a:gd name="T5" fmla="*/ 3765 h 3765"/>
                <a:gd name="T6" fmla="*/ 1237 w 1237"/>
                <a:gd name="T7" fmla="*/ 715 h 3765"/>
                <a:gd name="T8" fmla="*/ 0 w 1237"/>
                <a:gd name="T9" fmla="*/ 0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7" h="3765">
                  <a:moveTo>
                    <a:pt x="0" y="0"/>
                  </a:moveTo>
                  <a:lnTo>
                    <a:pt x="0" y="3765"/>
                  </a:lnTo>
                  <a:lnTo>
                    <a:pt x="1237" y="3765"/>
                  </a:lnTo>
                  <a:lnTo>
                    <a:pt x="1237" y="7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2157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ADF27179-F614-4A89-BA2E-398375AA6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1225" y="5233987"/>
              <a:ext cx="5621338" cy="1624013"/>
            </a:xfrm>
            <a:custGeom>
              <a:avLst/>
              <a:gdLst>
                <a:gd name="T0" fmla="*/ 1771 w 3541"/>
                <a:gd name="T1" fmla="*/ 0 h 1023"/>
                <a:gd name="T2" fmla="*/ 0 w 3541"/>
                <a:gd name="T3" fmla="*/ 1023 h 1023"/>
                <a:gd name="T4" fmla="*/ 3541 w 3541"/>
                <a:gd name="T5" fmla="*/ 1023 h 1023"/>
                <a:gd name="T6" fmla="*/ 1771 w 3541"/>
                <a:gd name="T7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41" h="1023">
                  <a:moveTo>
                    <a:pt x="1771" y="0"/>
                  </a:moveTo>
                  <a:lnTo>
                    <a:pt x="0" y="1023"/>
                  </a:lnTo>
                  <a:lnTo>
                    <a:pt x="3541" y="1023"/>
                  </a:lnTo>
                  <a:lnTo>
                    <a:pt x="1771" y="0"/>
                  </a:lnTo>
                  <a:close/>
                </a:path>
              </a:pathLst>
            </a:custGeom>
            <a:solidFill>
              <a:srgbClr val="000000">
                <a:alpha val="10196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72000" y="2385395"/>
            <a:ext cx="10848487" cy="3012105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4800"/>
              </a:lnSpc>
              <a:buNone/>
              <a:defRPr sz="4800" b="0" cap="all" spc="107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INSERT BREAKER TITLE HERE</a:t>
            </a:r>
            <a:endParaRPr lang="en-US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6BA917-7F09-4B8D-AF07-F52890C14046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18" name="Gruppe 17"/>
          <p:cNvGrpSpPr>
            <a:grpSpLocks noChangeAspect="1"/>
          </p:cNvGrpSpPr>
          <p:nvPr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Pladsholder til sidefod 2"/>
          <p:cNvSpPr txBox="1">
            <a:spLocks/>
          </p:cNvSpPr>
          <p:nvPr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grpSp>
        <p:nvGrpSpPr>
          <p:cNvPr id="14" name="Gruppe 17">
            <a:extLst>
              <a:ext uri="{FF2B5EF4-FFF2-40B4-BE49-F238E27FC236}">
                <a16:creationId xmlns:a16="http://schemas.microsoft.com/office/drawing/2014/main" id="{5B65C2FB-C64A-416E-A544-E1D1CA062E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bg1"/>
          </a:solidFill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350DE3D-3FFD-4C44-B180-7CCDBECBA7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9485DF1B-405D-44C5-81BE-132713E230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FDB1239-FD97-4AC2-9955-6FEF5FDD2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304657C-BF6E-4DCB-9E4C-FE42063D56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DBFAD521-90C6-407D-80CC-C74A656504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AutoShape 3">
            <a:extLst>
              <a:ext uri="{FF2B5EF4-FFF2-40B4-BE49-F238E27FC236}">
                <a16:creationId xmlns:a16="http://schemas.microsoft.com/office/drawing/2014/main" id="{65966524-C3F9-4AD3-B55F-77BA40EB62CC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7938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51CB496-BD21-4DBA-B3AC-775C28CBBD25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4841875"/>
          </a:xfrm>
          <a:custGeom>
            <a:avLst/>
            <a:gdLst>
              <a:gd name="T0" fmla="*/ 0 w 3508"/>
              <a:gd name="T1" fmla="*/ 0 h 3050"/>
              <a:gd name="T2" fmla="*/ 0 w 3508"/>
              <a:gd name="T3" fmla="*/ 3050 h 3050"/>
              <a:gd name="T4" fmla="*/ 1737 w 3508"/>
              <a:gd name="T5" fmla="*/ 3050 h 3050"/>
              <a:gd name="T6" fmla="*/ 3508 w 3508"/>
              <a:gd name="T7" fmla="*/ 2027 h 3050"/>
              <a:gd name="T8" fmla="*/ 0 w 3508"/>
              <a:gd name="T9" fmla="*/ 0 h 3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08" h="3050">
                <a:moveTo>
                  <a:pt x="0" y="0"/>
                </a:moveTo>
                <a:lnTo>
                  <a:pt x="0" y="3050"/>
                </a:lnTo>
                <a:lnTo>
                  <a:pt x="1737" y="3050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4E05328-3C2D-4C56-85FA-674612E8C327}"/>
              </a:ext>
            </a:extLst>
          </p:cNvPr>
          <p:cNvSpPr>
            <a:spLocks/>
          </p:cNvSpPr>
          <p:nvPr userDrawn="1"/>
        </p:nvSpPr>
        <p:spPr bwMode="auto">
          <a:xfrm>
            <a:off x="0" y="-6350"/>
            <a:ext cx="5462588" cy="2022475"/>
          </a:xfrm>
          <a:custGeom>
            <a:avLst/>
            <a:gdLst>
              <a:gd name="T0" fmla="*/ 3441 w 3441"/>
              <a:gd name="T1" fmla="*/ 0 h 1274"/>
              <a:gd name="T2" fmla="*/ 0 w 3441"/>
              <a:gd name="T3" fmla="*/ 0 h 1274"/>
              <a:gd name="T4" fmla="*/ 0 w 3441"/>
              <a:gd name="T5" fmla="*/ 559 h 1274"/>
              <a:gd name="T6" fmla="*/ 1237 w 3441"/>
              <a:gd name="T7" fmla="*/ 1274 h 1274"/>
              <a:gd name="T8" fmla="*/ 3441 w 3441"/>
              <a:gd name="T9" fmla="*/ 0 h 1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1" h="1274">
                <a:moveTo>
                  <a:pt x="3441" y="0"/>
                </a:moveTo>
                <a:lnTo>
                  <a:pt x="0" y="0"/>
                </a:lnTo>
                <a:lnTo>
                  <a:pt x="0" y="559"/>
                </a:lnTo>
                <a:lnTo>
                  <a:pt x="1237" y="1274"/>
                </a:lnTo>
                <a:lnTo>
                  <a:pt x="344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97BEF2CF-4C6E-40BF-84FE-4C13D0C8EC9C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1632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1632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1632" y="0"/>
                </a:moveTo>
                <a:lnTo>
                  <a:pt x="0" y="0"/>
                </a:lnTo>
                <a:lnTo>
                  <a:pt x="1632" y="943"/>
                </a:lnTo>
                <a:lnTo>
                  <a:pt x="16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DBA3D357-F5F3-4D43-8D52-26B75E2384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-6350"/>
            <a:ext cx="10228263" cy="6864350"/>
          </a:xfrm>
          <a:custGeom>
            <a:avLst/>
            <a:gdLst>
              <a:gd name="T0" fmla="*/ 0 w 6443"/>
              <a:gd name="T1" fmla="*/ 1274 h 4324"/>
              <a:gd name="T2" fmla="*/ 3508 w 6443"/>
              <a:gd name="T3" fmla="*/ 3301 h 4324"/>
              <a:gd name="T4" fmla="*/ 5278 w 6443"/>
              <a:gd name="T5" fmla="*/ 4324 h 4324"/>
              <a:gd name="T6" fmla="*/ 6443 w 6443"/>
              <a:gd name="T7" fmla="*/ 4324 h 4324"/>
              <a:gd name="T8" fmla="*/ 6443 w 6443"/>
              <a:gd name="T9" fmla="*/ 943 h 4324"/>
              <a:gd name="T10" fmla="*/ 4811 w 6443"/>
              <a:gd name="T11" fmla="*/ 0 h 4324"/>
              <a:gd name="T12" fmla="*/ 2204 w 6443"/>
              <a:gd name="T13" fmla="*/ 0 h 4324"/>
              <a:gd name="T14" fmla="*/ 0 w 6443"/>
              <a:gd name="T15" fmla="*/ 1274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443" h="4324">
                <a:moveTo>
                  <a:pt x="0" y="1274"/>
                </a:moveTo>
                <a:lnTo>
                  <a:pt x="3508" y="3301"/>
                </a:lnTo>
                <a:lnTo>
                  <a:pt x="5278" y="4324"/>
                </a:lnTo>
                <a:lnTo>
                  <a:pt x="6443" y="4324"/>
                </a:lnTo>
                <a:lnTo>
                  <a:pt x="6443" y="943"/>
                </a:lnTo>
                <a:lnTo>
                  <a:pt x="4811" y="0"/>
                </a:lnTo>
                <a:lnTo>
                  <a:pt x="2204" y="0"/>
                </a:lnTo>
                <a:lnTo>
                  <a:pt x="0" y="127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3B2C9699-472D-40B9-B0BC-7257ADD495D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22D4561F-EFDE-4FEB-80DD-E01607FF6C86}"/>
              </a:ext>
            </a:extLst>
          </p:cNvPr>
          <p:cNvSpPr>
            <a:spLocks/>
          </p:cNvSpPr>
          <p:nvPr userDrawn="1"/>
        </p:nvSpPr>
        <p:spPr bwMode="auto">
          <a:xfrm>
            <a:off x="1963738" y="2016125"/>
            <a:ext cx="5568950" cy="3217863"/>
          </a:xfrm>
          <a:custGeom>
            <a:avLst/>
            <a:gdLst>
              <a:gd name="T0" fmla="*/ 0 w 3508"/>
              <a:gd name="T1" fmla="*/ 0 h 2027"/>
              <a:gd name="T2" fmla="*/ 3508 w 3508"/>
              <a:gd name="T3" fmla="*/ 2027 h 2027"/>
              <a:gd name="T4" fmla="*/ 3508 w 3508"/>
              <a:gd name="T5" fmla="*/ 2027 h 2027"/>
              <a:gd name="T6" fmla="*/ 3508 w 3508"/>
              <a:gd name="T7" fmla="*/ 2027 h 2027"/>
              <a:gd name="T8" fmla="*/ 3508 w 3508"/>
              <a:gd name="T9" fmla="*/ 2027 h 2027"/>
              <a:gd name="T10" fmla="*/ 3508 w 3508"/>
              <a:gd name="T11" fmla="*/ 2027 h 2027"/>
              <a:gd name="T12" fmla="*/ 3508 w 3508"/>
              <a:gd name="T13" fmla="*/ 2027 h 2027"/>
              <a:gd name="T14" fmla="*/ 3508 w 3508"/>
              <a:gd name="T15" fmla="*/ 2027 h 2027"/>
              <a:gd name="T16" fmla="*/ 3508 w 3508"/>
              <a:gd name="T17" fmla="*/ 2027 h 2027"/>
              <a:gd name="T18" fmla="*/ 0 w 3508"/>
              <a:gd name="T19" fmla="*/ 0 h 2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508" h="2027">
                <a:moveTo>
                  <a:pt x="0" y="0"/>
                </a:move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3508" y="202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5">
            <a:extLst>
              <a:ext uri="{FF2B5EF4-FFF2-40B4-BE49-F238E27FC236}">
                <a16:creationId xmlns:a16="http://schemas.microsoft.com/office/drawing/2014/main" id="{6208C78A-0A60-4E16-8004-30C5FACA304D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A9812D5D-0F61-4020-B467-A07A5AB71F43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extLst>
              <a:ext uri="{FF2B5EF4-FFF2-40B4-BE49-F238E27FC236}">
                <a16:creationId xmlns:a16="http://schemas.microsoft.com/office/drawing/2014/main" id="{9B743E3B-CFE7-4EE2-AD87-5A0428BF71F1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71919039-660A-4B9D-9B0F-47A476ECC109}"/>
              </a:ext>
            </a:extLst>
          </p:cNvPr>
          <p:cNvSpPr>
            <a:spLocks/>
          </p:cNvSpPr>
          <p:nvPr userDrawn="1"/>
        </p:nvSpPr>
        <p:spPr bwMode="auto">
          <a:xfrm>
            <a:off x="9601200" y="-6350"/>
            <a:ext cx="2590800" cy="1497013"/>
          </a:xfrm>
          <a:custGeom>
            <a:avLst/>
            <a:gdLst>
              <a:gd name="T0" fmla="*/ 0 w 1632"/>
              <a:gd name="T1" fmla="*/ 0 h 943"/>
              <a:gd name="T2" fmla="*/ 0 w 1632"/>
              <a:gd name="T3" fmla="*/ 0 h 943"/>
              <a:gd name="T4" fmla="*/ 1632 w 1632"/>
              <a:gd name="T5" fmla="*/ 943 h 943"/>
              <a:gd name="T6" fmla="*/ 0 w 1632"/>
              <a:gd name="T7" fmla="*/ 0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32" h="943">
                <a:moveTo>
                  <a:pt x="0" y="0"/>
                </a:moveTo>
                <a:lnTo>
                  <a:pt x="0" y="0"/>
                </a:lnTo>
                <a:lnTo>
                  <a:pt x="1632" y="94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0BE09BF-0C71-41C5-9989-74D87D2DBE85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5621338" cy="1624013"/>
          </a:xfrm>
          <a:custGeom>
            <a:avLst/>
            <a:gdLst>
              <a:gd name="T0" fmla="*/ 1771 w 3541"/>
              <a:gd name="T1" fmla="*/ 0 h 1023"/>
              <a:gd name="T2" fmla="*/ 0 w 3541"/>
              <a:gd name="T3" fmla="*/ 1023 h 1023"/>
              <a:gd name="T4" fmla="*/ 3541 w 3541"/>
              <a:gd name="T5" fmla="*/ 1023 h 1023"/>
              <a:gd name="T6" fmla="*/ 1771 w 354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41" h="1023">
                <a:moveTo>
                  <a:pt x="1771" y="0"/>
                </a:moveTo>
                <a:lnTo>
                  <a:pt x="0" y="1023"/>
                </a:lnTo>
                <a:lnTo>
                  <a:pt x="3541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C1E1CE7-3982-4AB6-9082-82835851AFA6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  <a:close/>
              </a:path>
            </a:pathLst>
          </a:custGeom>
          <a:solidFill>
            <a:srgbClr val="D2D2D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23">
            <a:extLst>
              <a:ext uri="{FF2B5EF4-FFF2-40B4-BE49-F238E27FC236}">
                <a16:creationId xmlns:a16="http://schemas.microsoft.com/office/drawing/2014/main" id="{277D336D-2AB1-48CA-86AA-0552F6A6E763}"/>
              </a:ext>
            </a:extLst>
          </p:cNvPr>
          <p:cNvSpPr>
            <a:spLocks/>
          </p:cNvSpPr>
          <p:nvPr userDrawn="1"/>
        </p:nvSpPr>
        <p:spPr bwMode="auto">
          <a:xfrm>
            <a:off x="4721225" y="5233987"/>
            <a:ext cx="2811463" cy="1624013"/>
          </a:xfrm>
          <a:custGeom>
            <a:avLst/>
            <a:gdLst>
              <a:gd name="T0" fmla="*/ 1771 w 1771"/>
              <a:gd name="T1" fmla="*/ 0 h 1023"/>
              <a:gd name="T2" fmla="*/ 0 w 1771"/>
              <a:gd name="T3" fmla="*/ 1023 h 1023"/>
              <a:gd name="T4" fmla="*/ 0 w 1771"/>
              <a:gd name="T5" fmla="*/ 1023 h 1023"/>
              <a:gd name="T6" fmla="*/ 1771 w 1771"/>
              <a:gd name="T7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71" h="1023">
                <a:moveTo>
                  <a:pt x="1771" y="0"/>
                </a:moveTo>
                <a:lnTo>
                  <a:pt x="0" y="1023"/>
                </a:lnTo>
                <a:lnTo>
                  <a:pt x="0" y="1023"/>
                </a:lnTo>
                <a:lnTo>
                  <a:pt x="177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4">
            <a:extLst>
              <a:ext uri="{FF2B5EF4-FFF2-40B4-BE49-F238E27FC236}">
                <a16:creationId xmlns:a16="http://schemas.microsoft.com/office/drawing/2014/main" id="{EDAD5260-CE3B-4B3A-93DC-55B702B00643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  <a:close/>
              </a:path>
            </a:pathLst>
          </a:cu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5">
            <a:extLst>
              <a:ext uri="{FF2B5EF4-FFF2-40B4-BE49-F238E27FC236}">
                <a16:creationId xmlns:a16="http://schemas.microsoft.com/office/drawing/2014/main" id="{B211343B-293B-4285-80C9-6DE1679890F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2809875" cy="1624013"/>
          </a:xfrm>
          <a:custGeom>
            <a:avLst/>
            <a:gdLst>
              <a:gd name="T0" fmla="*/ 0 w 1770"/>
              <a:gd name="T1" fmla="*/ 0 h 1023"/>
              <a:gd name="T2" fmla="*/ 0 w 1770"/>
              <a:gd name="T3" fmla="*/ 0 h 1023"/>
              <a:gd name="T4" fmla="*/ 1770 w 1770"/>
              <a:gd name="T5" fmla="*/ 1023 h 1023"/>
              <a:gd name="T6" fmla="*/ 1770 w 1770"/>
              <a:gd name="T7" fmla="*/ 1023 h 1023"/>
              <a:gd name="T8" fmla="*/ 0 w 1770"/>
              <a:gd name="T9" fmla="*/ 0 h 10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70" h="1023">
                <a:moveTo>
                  <a:pt x="0" y="0"/>
                </a:moveTo>
                <a:lnTo>
                  <a:pt x="0" y="0"/>
                </a:lnTo>
                <a:lnTo>
                  <a:pt x="1770" y="1023"/>
                </a:lnTo>
                <a:lnTo>
                  <a:pt x="1770" y="10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6">
            <a:extLst>
              <a:ext uri="{FF2B5EF4-FFF2-40B4-BE49-F238E27FC236}">
                <a16:creationId xmlns:a16="http://schemas.microsoft.com/office/drawing/2014/main" id="{BC5C5C0C-0FC6-43DF-A5C8-17EE4E05FDD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7">
            <a:extLst>
              <a:ext uri="{FF2B5EF4-FFF2-40B4-BE49-F238E27FC236}">
                <a16:creationId xmlns:a16="http://schemas.microsoft.com/office/drawing/2014/main" id="{B5C362F9-2D85-47D8-A0BD-3A889F6E0914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28">
            <a:extLst>
              <a:ext uri="{FF2B5EF4-FFF2-40B4-BE49-F238E27FC236}">
                <a16:creationId xmlns:a16="http://schemas.microsoft.com/office/drawing/2014/main" id="{631EC517-5415-4B7D-A2EB-4A9F146E918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Line 29">
            <a:extLst>
              <a:ext uri="{FF2B5EF4-FFF2-40B4-BE49-F238E27FC236}">
                <a16:creationId xmlns:a16="http://schemas.microsoft.com/office/drawing/2014/main" id="{936D8EFB-5B56-45FE-B374-FC32CCFE4AB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30">
            <a:extLst>
              <a:ext uri="{FF2B5EF4-FFF2-40B4-BE49-F238E27FC236}">
                <a16:creationId xmlns:a16="http://schemas.microsoft.com/office/drawing/2014/main" id="{51D3BABA-2154-446C-B57E-AA2B4D7C7AD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BE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21F91B4E-F1CE-4F42-A5C6-4664DDC3114B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72808925-0863-43CB-9D48-6443F968C43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8D783D5C-0818-4003-A378-B44EA7327E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4">
            <a:extLst>
              <a:ext uri="{FF2B5EF4-FFF2-40B4-BE49-F238E27FC236}">
                <a16:creationId xmlns:a16="http://schemas.microsoft.com/office/drawing/2014/main" id="{CB5EA980-AAC8-4678-B806-4B35AD6A9BC8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1C1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35">
            <a:extLst>
              <a:ext uri="{FF2B5EF4-FFF2-40B4-BE49-F238E27FC236}">
                <a16:creationId xmlns:a16="http://schemas.microsoft.com/office/drawing/2014/main" id="{61DE02E4-CE75-4107-B78F-DC52DB499B96}"/>
              </a:ext>
            </a:extLst>
          </p:cNvPr>
          <p:cNvSpPr>
            <a:spLocks/>
          </p:cNvSpPr>
          <p:nvPr userDrawn="1"/>
        </p:nvSpPr>
        <p:spPr bwMode="auto">
          <a:xfrm>
            <a:off x="7532688" y="5233987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Line 36">
            <a:extLst>
              <a:ext uri="{FF2B5EF4-FFF2-40B4-BE49-F238E27FC236}">
                <a16:creationId xmlns:a16="http://schemas.microsoft.com/office/drawing/2014/main" id="{62A7C76B-C053-4849-9F66-9F6E847E77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Line 37">
            <a:extLst>
              <a:ext uri="{FF2B5EF4-FFF2-40B4-BE49-F238E27FC236}">
                <a16:creationId xmlns:a16="http://schemas.microsoft.com/office/drawing/2014/main" id="{5E4A7D05-1D09-4623-A661-1F8A39ABCED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532688" y="523398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817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itel 3"/>
          <p:cNvSpPr>
            <a:spLocks noGrp="1"/>
          </p:cNvSpPr>
          <p:nvPr>
            <p:ph type="title"/>
          </p:nvPr>
        </p:nvSpPr>
        <p:spPr>
          <a:xfrm>
            <a:off x="649139" y="5393"/>
            <a:ext cx="10878759" cy="1052738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r>
              <a:rPr lang="en-US" dirty="0"/>
              <a:t>Enter slide header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4"/>
          </p:nvPr>
        </p:nvSpPr>
        <p:spPr>
          <a:xfrm>
            <a:off x="672001" y="6356378"/>
            <a:ext cx="679721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chemeClr val="accent6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E16BA917-7F09-4B8D-AF07-F52890C1404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34" name="Pladsholder til sidefod 2"/>
          <p:cNvSpPr txBox="1">
            <a:spLocks/>
          </p:cNvSpPr>
          <p:nvPr userDrawn="1"/>
        </p:nvSpPr>
        <p:spPr>
          <a:xfrm>
            <a:off x="1351722" y="6356378"/>
            <a:ext cx="989842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accent6"/>
                </a:solidFill>
                <a:latin typeface="+mj-lt"/>
                <a:ea typeface="ＭＳ Ｐゴシック" charset="0"/>
                <a:cs typeface="ＭＳ Ｐゴシック" charset="0"/>
              </a:rPr>
              <a:t>© 2019</a:t>
            </a:r>
          </a:p>
        </p:txBody>
      </p:sp>
      <p:sp>
        <p:nvSpPr>
          <p:cNvPr id="2" name="Pladsholder til tekst 1"/>
          <p:cNvSpPr>
            <a:spLocks noGrp="1"/>
          </p:cNvSpPr>
          <p:nvPr>
            <p:ph type="body" idx="1"/>
          </p:nvPr>
        </p:nvSpPr>
        <p:spPr>
          <a:xfrm>
            <a:off x="672003" y="1623484"/>
            <a:ext cx="10848486" cy="45656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</a:p>
          <a:p>
            <a:pPr lvl="4"/>
            <a:r>
              <a:rPr lang="en-US" dirty="0"/>
              <a:t>Note</a:t>
            </a:r>
          </a:p>
        </p:txBody>
      </p:sp>
      <p:sp>
        <p:nvSpPr>
          <p:cNvPr id="28" name="Rektangel 27"/>
          <p:cNvSpPr/>
          <p:nvPr userDrawn="1"/>
        </p:nvSpPr>
        <p:spPr>
          <a:xfrm rot="5400000">
            <a:off x="-154907" y="2259607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ktangel 28"/>
          <p:cNvSpPr/>
          <p:nvPr userDrawn="1"/>
        </p:nvSpPr>
        <p:spPr>
          <a:xfrm>
            <a:off x="-141815" y="958849"/>
            <a:ext cx="141816" cy="66463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ktangel 29"/>
          <p:cNvSpPr/>
          <p:nvPr userDrawn="1"/>
        </p:nvSpPr>
        <p:spPr>
          <a:xfrm rot="5400000">
            <a:off x="-154907" y="3047504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ktangel 30"/>
          <p:cNvSpPr/>
          <p:nvPr userDrawn="1"/>
        </p:nvSpPr>
        <p:spPr>
          <a:xfrm rot="5400000">
            <a:off x="-154907" y="3835402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ktangel 32"/>
          <p:cNvSpPr/>
          <p:nvPr userDrawn="1"/>
        </p:nvSpPr>
        <p:spPr>
          <a:xfrm rot="5400000">
            <a:off x="-154907" y="4623299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ktangel 33"/>
          <p:cNvSpPr/>
          <p:nvPr userDrawn="1"/>
        </p:nvSpPr>
        <p:spPr>
          <a:xfrm rot="5400000">
            <a:off x="-154907" y="5411196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ktangel 34"/>
          <p:cNvSpPr/>
          <p:nvPr userDrawn="1"/>
        </p:nvSpPr>
        <p:spPr>
          <a:xfrm>
            <a:off x="-141815" y="0"/>
            <a:ext cx="141816" cy="67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8" name="Rektangel 237"/>
          <p:cNvSpPr/>
          <p:nvPr userDrawn="1"/>
        </p:nvSpPr>
        <p:spPr>
          <a:xfrm>
            <a:off x="-141815" y="6189175"/>
            <a:ext cx="141816" cy="67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ktangel 15"/>
          <p:cNvSpPr/>
          <p:nvPr userDrawn="1"/>
        </p:nvSpPr>
        <p:spPr>
          <a:xfrm>
            <a:off x="1" y="-165101"/>
            <a:ext cx="672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ktangel 16"/>
          <p:cNvSpPr/>
          <p:nvPr userDrawn="1"/>
        </p:nvSpPr>
        <p:spPr>
          <a:xfrm>
            <a:off x="2340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ktangel 17"/>
          <p:cNvSpPr/>
          <p:nvPr userDrawn="1"/>
        </p:nvSpPr>
        <p:spPr>
          <a:xfrm>
            <a:off x="3258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ktangel 18"/>
          <p:cNvSpPr/>
          <p:nvPr userDrawn="1"/>
        </p:nvSpPr>
        <p:spPr>
          <a:xfrm>
            <a:off x="4176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ktangel 19"/>
          <p:cNvSpPr/>
          <p:nvPr userDrawn="1"/>
        </p:nvSpPr>
        <p:spPr>
          <a:xfrm>
            <a:off x="6930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ktangel 20"/>
          <p:cNvSpPr/>
          <p:nvPr userDrawn="1"/>
        </p:nvSpPr>
        <p:spPr>
          <a:xfrm>
            <a:off x="8766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ktangel 21"/>
          <p:cNvSpPr/>
          <p:nvPr userDrawn="1"/>
        </p:nvSpPr>
        <p:spPr>
          <a:xfrm>
            <a:off x="9684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ktangel 22"/>
          <p:cNvSpPr/>
          <p:nvPr userDrawn="1"/>
        </p:nvSpPr>
        <p:spPr>
          <a:xfrm>
            <a:off x="1422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ktangel 23"/>
          <p:cNvSpPr/>
          <p:nvPr userDrawn="1"/>
        </p:nvSpPr>
        <p:spPr>
          <a:xfrm>
            <a:off x="7848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ktangel 24"/>
          <p:cNvSpPr/>
          <p:nvPr userDrawn="1"/>
        </p:nvSpPr>
        <p:spPr>
          <a:xfrm>
            <a:off x="5094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ktangel 25"/>
          <p:cNvSpPr/>
          <p:nvPr userDrawn="1"/>
        </p:nvSpPr>
        <p:spPr>
          <a:xfrm>
            <a:off x="10602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ktangel 26"/>
          <p:cNvSpPr/>
          <p:nvPr userDrawn="1"/>
        </p:nvSpPr>
        <p:spPr>
          <a:xfrm>
            <a:off x="6012001" y="-165101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5" name="Rektangel 234"/>
          <p:cNvSpPr/>
          <p:nvPr userDrawn="1"/>
        </p:nvSpPr>
        <p:spPr>
          <a:xfrm>
            <a:off x="11521018" y="-165101"/>
            <a:ext cx="672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ktangel 31"/>
          <p:cNvSpPr/>
          <p:nvPr userDrawn="1"/>
        </p:nvSpPr>
        <p:spPr>
          <a:xfrm rot="5400000">
            <a:off x="12179926" y="2259607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ktangel 35"/>
          <p:cNvSpPr/>
          <p:nvPr userDrawn="1"/>
        </p:nvSpPr>
        <p:spPr>
          <a:xfrm>
            <a:off x="12193018" y="958849"/>
            <a:ext cx="141816" cy="66463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ktangel 36"/>
          <p:cNvSpPr/>
          <p:nvPr userDrawn="1"/>
        </p:nvSpPr>
        <p:spPr>
          <a:xfrm rot="5400000">
            <a:off x="12179926" y="3047504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ktangel 37"/>
          <p:cNvSpPr/>
          <p:nvPr userDrawn="1"/>
        </p:nvSpPr>
        <p:spPr>
          <a:xfrm rot="5400000">
            <a:off x="12179926" y="3835402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ktangel 38"/>
          <p:cNvSpPr/>
          <p:nvPr userDrawn="1"/>
        </p:nvSpPr>
        <p:spPr>
          <a:xfrm rot="5400000">
            <a:off x="12179926" y="4623299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ktangel 39"/>
          <p:cNvSpPr/>
          <p:nvPr userDrawn="1"/>
        </p:nvSpPr>
        <p:spPr>
          <a:xfrm rot="5400000">
            <a:off x="12179926" y="5411196"/>
            <a:ext cx="168000" cy="1418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ktangel 40"/>
          <p:cNvSpPr/>
          <p:nvPr userDrawn="1"/>
        </p:nvSpPr>
        <p:spPr>
          <a:xfrm>
            <a:off x="12193018" y="0"/>
            <a:ext cx="141816" cy="67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ktangel 41"/>
          <p:cNvSpPr/>
          <p:nvPr userDrawn="1"/>
        </p:nvSpPr>
        <p:spPr>
          <a:xfrm>
            <a:off x="12193018" y="6189175"/>
            <a:ext cx="141816" cy="672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ktangel 42"/>
          <p:cNvSpPr/>
          <p:nvPr userDrawn="1"/>
        </p:nvSpPr>
        <p:spPr>
          <a:xfrm>
            <a:off x="1" y="6858000"/>
            <a:ext cx="672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ktangel 43"/>
          <p:cNvSpPr/>
          <p:nvPr userDrawn="1"/>
        </p:nvSpPr>
        <p:spPr>
          <a:xfrm>
            <a:off x="2340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ktangel 44"/>
          <p:cNvSpPr/>
          <p:nvPr userDrawn="1"/>
        </p:nvSpPr>
        <p:spPr>
          <a:xfrm>
            <a:off x="3258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ktangel 45"/>
          <p:cNvSpPr/>
          <p:nvPr userDrawn="1"/>
        </p:nvSpPr>
        <p:spPr>
          <a:xfrm>
            <a:off x="4176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ktangel 46"/>
          <p:cNvSpPr/>
          <p:nvPr userDrawn="1"/>
        </p:nvSpPr>
        <p:spPr>
          <a:xfrm>
            <a:off x="6930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ktangel 47"/>
          <p:cNvSpPr/>
          <p:nvPr userDrawn="1"/>
        </p:nvSpPr>
        <p:spPr>
          <a:xfrm>
            <a:off x="8766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ektangel 48"/>
          <p:cNvSpPr/>
          <p:nvPr userDrawn="1"/>
        </p:nvSpPr>
        <p:spPr>
          <a:xfrm>
            <a:off x="9684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ktangel 49"/>
          <p:cNvSpPr/>
          <p:nvPr userDrawn="1"/>
        </p:nvSpPr>
        <p:spPr>
          <a:xfrm>
            <a:off x="1422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ktangel 50"/>
          <p:cNvSpPr/>
          <p:nvPr userDrawn="1"/>
        </p:nvSpPr>
        <p:spPr>
          <a:xfrm>
            <a:off x="7848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ktangel 51"/>
          <p:cNvSpPr/>
          <p:nvPr userDrawn="1"/>
        </p:nvSpPr>
        <p:spPr>
          <a:xfrm>
            <a:off x="5094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ktangel 52"/>
          <p:cNvSpPr/>
          <p:nvPr userDrawn="1"/>
        </p:nvSpPr>
        <p:spPr>
          <a:xfrm>
            <a:off x="10602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Rektangel 53"/>
          <p:cNvSpPr/>
          <p:nvPr userDrawn="1"/>
        </p:nvSpPr>
        <p:spPr>
          <a:xfrm>
            <a:off x="6012001" y="6858000"/>
            <a:ext cx="168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ktangel 54"/>
          <p:cNvSpPr/>
          <p:nvPr userDrawn="1"/>
        </p:nvSpPr>
        <p:spPr>
          <a:xfrm>
            <a:off x="11521018" y="6858000"/>
            <a:ext cx="672000" cy="1651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" name="Rectangle 105"/>
          <p:cNvSpPr/>
          <p:nvPr userDrawn="1"/>
        </p:nvSpPr>
        <p:spPr>
          <a:xfrm>
            <a:off x="-1852522" y="1623484"/>
            <a:ext cx="159657" cy="15965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0" name="Rectangle 109"/>
          <p:cNvSpPr/>
          <p:nvPr userDrawn="1"/>
        </p:nvSpPr>
        <p:spPr>
          <a:xfrm>
            <a:off x="-1662933" y="1623484"/>
            <a:ext cx="159657" cy="159657"/>
          </a:xfrm>
          <a:prstGeom prst="rect">
            <a:avLst/>
          </a:prstGeom>
          <a:solidFill>
            <a:srgbClr val="00A0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1" name="Rectangle 110"/>
          <p:cNvSpPr/>
          <p:nvPr userDrawn="1"/>
        </p:nvSpPr>
        <p:spPr>
          <a:xfrm>
            <a:off x="-1470611" y="1623484"/>
            <a:ext cx="159657" cy="159657"/>
          </a:xfrm>
          <a:prstGeom prst="rect">
            <a:avLst/>
          </a:prstGeom>
          <a:solidFill>
            <a:srgbClr val="83CDD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2" name="Rectangle 111"/>
          <p:cNvSpPr/>
          <p:nvPr userDrawn="1"/>
        </p:nvSpPr>
        <p:spPr>
          <a:xfrm>
            <a:off x="-1278289" y="1623484"/>
            <a:ext cx="159657" cy="159657"/>
          </a:xfrm>
          <a:prstGeom prst="rect">
            <a:avLst/>
          </a:prstGeom>
          <a:solidFill>
            <a:srgbClr val="3B69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3" name="Rectangle 112"/>
          <p:cNvSpPr/>
          <p:nvPr userDrawn="1"/>
        </p:nvSpPr>
        <p:spPr>
          <a:xfrm>
            <a:off x="-1085967" y="1623484"/>
            <a:ext cx="159657" cy="159657"/>
          </a:xfrm>
          <a:prstGeom prst="rect">
            <a:avLst/>
          </a:prstGeom>
          <a:solidFill>
            <a:srgbClr val="006D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4" name="Rectangle 113"/>
          <p:cNvSpPr/>
          <p:nvPr userDrawn="1"/>
        </p:nvSpPr>
        <p:spPr>
          <a:xfrm>
            <a:off x="-893645" y="1623484"/>
            <a:ext cx="159657" cy="159657"/>
          </a:xfrm>
          <a:prstGeom prst="rect">
            <a:avLst/>
          </a:prstGeom>
          <a:solidFill>
            <a:srgbClr val="008A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5" name="Rectangle 114"/>
          <p:cNvSpPr/>
          <p:nvPr userDrawn="1"/>
        </p:nvSpPr>
        <p:spPr>
          <a:xfrm>
            <a:off x="-704962" y="1623484"/>
            <a:ext cx="159657" cy="159657"/>
          </a:xfrm>
          <a:prstGeom prst="rect">
            <a:avLst/>
          </a:prstGeom>
          <a:solidFill>
            <a:srgbClr val="D8D8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6" name="Rectangle 115"/>
          <p:cNvSpPr/>
          <p:nvPr userDrawn="1"/>
        </p:nvSpPr>
        <p:spPr>
          <a:xfrm>
            <a:off x="-512640" y="1623484"/>
            <a:ext cx="159657" cy="159657"/>
          </a:xfrm>
          <a:prstGeom prst="rect">
            <a:avLst/>
          </a:prstGeom>
          <a:solidFill>
            <a:srgbClr val="44B8D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7" name="Rectangle 116"/>
          <p:cNvSpPr/>
          <p:nvPr userDrawn="1"/>
        </p:nvSpPr>
        <p:spPr>
          <a:xfrm>
            <a:off x="-320318" y="1623484"/>
            <a:ext cx="159657" cy="159657"/>
          </a:xfrm>
          <a:prstGeom prst="rect">
            <a:avLst/>
          </a:prstGeom>
          <a:solidFill>
            <a:srgbClr val="9698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8" name="Rectangle 117"/>
          <p:cNvSpPr/>
          <p:nvPr userDrawn="1"/>
        </p:nvSpPr>
        <p:spPr>
          <a:xfrm>
            <a:off x="-1278289" y="2415873"/>
            <a:ext cx="159657" cy="159657"/>
          </a:xfrm>
          <a:prstGeom prst="rect">
            <a:avLst/>
          </a:prstGeom>
          <a:solidFill>
            <a:srgbClr val="2635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9" name="Rectangle 118"/>
          <p:cNvSpPr/>
          <p:nvPr userDrawn="1"/>
        </p:nvSpPr>
        <p:spPr>
          <a:xfrm>
            <a:off x="-1085967" y="2415873"/>
            <a:ext cx="159657" cy="159657"/>
          </a:xfrm>
          <a:prstGeom prst="rect">
            <a:avLst/>
          </a:prstGeom>
          <a:solidFill>
            <a:srgbClr val="424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0" name="Rectangle 119"/>
          <p:cNvSpPr/>
          <p:nvPr userDrawn="1"/>
        </p:nvSpPr>
        <p:spPr>
          <a:xfrm>
            <a:off x="-893645" y="2415873"/>
            <a:ext cx="159657" cy="159657"/>
          </a:xfrm>
          <a:prstGeom prst="rect">
            <a:avLst/>
          </a:prstGeom>
          <a:solidFill>
            <a:srgbClr val="848A9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1" name="Rectangle 120"/>
          <p:cNvSpPr/>
          <p:nvPr userDrawn="1"/>
        </p:nvSpPr>
        <p:spPr>
          <a:xfrm>
            <a:off x="-704962" y="2415873"/>
            <a:ext cx="159657" cy="159657"/>
          </a:xfrm>
          <a:prstGeom prst="rect">
            <a:avLst/>
          </a:prstGeom>
          <a:solidFill>
            <a:srgbClr val="CCCC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2" name="Rectangle 121"/>
          <p:cNvSpPr/>
          <p:nvPr userDrawn="1"/>
        </p:nvSpPr>
        <p:spPr>
          <a:xfrm>
            <a:off x="-512640" y="2415873"/>
            <a:ext cx="159657" cy="159657"/>
          </a:xfrm>
          <a:prstGeom prst="rect">
            <a:avLst/>
          </a:prstGeom>
          <a:solidFill>
            <a:srgbClr val="E3E3E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3" name="Rectangle 122"/>
          <p:cNvSpPr/>
          <p:nvPr userDrawn="1"/>
        </p:nvSpPr>
        <p:spPr>
          <a:xfrm>
            <a:off x="-320318" y="2415873"/>
            <a:ext cx="159657" cy="159657"/>
          </a:xfrm>
          <a:prstGeom prst="rect">
            <a:avLst/>
          </a:prstGeom>
          <a:solidFill>
            <a:srgbClr val="F3F3F3"/>
          </a:solidFill>
          <a:ln w="3175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7" name="Rectangle 126"/>
          <p:cNvSpPr/>
          <p:nvPr userDrawn="1"/>
        </p:nvSpPr>
        <p:spPr>
          <a:xfrm>
            <a:off x="-704962" y="3203339"/>
            <a:ext cx="159657" cy="159657"/>
          </a:xfrm>
          <a:prstGeom prst="rect">
            <a:avLst/>
          </a:prstGeom>
          <a:solidFill>
            <a:srgbClr val="00DE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8" name="Rectangle 127"/>
          <p:cNvSpPr/>
          <p:nvPr userDrawn="1"/>
        </p:nvSpPr>
        <p:spPr>
          <a:xfrm>
            <a:off x="-512640" y="3203339"/>
            <a:ext cx="159657" cy="159657"/>
          </a:xfrm>
          <a:prstGeom prst="rect">
            <a:avLst/>
          </a:prstGeom>
          <a:solidFill>
            <a:srgbClr val="15AA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 userDrawn="1"/>
        </p:nvSpPr>
        <p:spPr>
          <a:xfrm>
            <a:off x="-320318" y="3203339"/>
            <a:ext cx="159657" cy="159657"/>
          </a:xfrm>
          <a:prstGeom prst="rect">
            <a:avLst/>
          </a:prstGeom>
          <a:solidFill>
            <a:srgbClr val="94F4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30" name="Rectangle 129"/>
          <p:cNvSpPr/>
          <p:nvPr userDrawn="1"/>
        </p:nvSpPr>
        <p:spPr>
          <a:xfrm>
            <a:off x="-704962" y="3422392"/>
            <a:ext cx="159657" cy="159657"/>
          </a:xfrm>
          <a:prstGeom prst="rect">
            <a:avLst/>
          </a:prstGeom>
          <a:solidFill>
            <a:srgbClr val="1C33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31" name="Rectangle 130"/>
          <p:cNvSpPr/>
          <p:nvPr userDrawn="1"/>
        </p:nvSpPr>
        <p:spPr>
          <a:xfrm>
            <a:off x="-512640" y="3422392"/>
            <a:ext cx="159657" cy="159657"/>
          </a:xfrm>
          <a:prstGeom prst="rect">
            <a:avLst/>
          </a:prstGeom>
          <a:solidFill>
            <a:srgbClr val="161A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32" name="Rectangle 131"/>
          <p:cNvSpPr/>
          <p:nvPr userDrawn="1"/>
        </p:nvSpPr>
        <p:spPr>
          <a:xfrm>
            <a:off x="-320318" y="3422392"/>
            <a:ext cx="159657" cy="159657"/>
          </a:xfrm>
          <a:prstGeom prst="rect">
            <a:avLst/>
          </a:prstGeom>
          <a:solidFill>
            <a:srgbClr val="2155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36" name="Pladsholder til tekst 5"/>
          <p:cNvSpPr txBox="1">
            <a:spLocks/>
          </p:cNvSpPr>
          <p:nvPr userDrawn="1"/>
        </p:nvSpPr>
        <p:spPr>
          <a:xfrm>
            <a:off x="-1599663" y="2937870"/>
            <a:ext cx="1509707" cy="24622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 defTabSz="60958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DEE6"/>
              </a:buClr>
              <a:buSzPct val="100000"/>
              <a:buFontTx/>
              <a:buChar char="​"/>
              <a:tabLst/>
              <a:defRPr lang="da-DK" sz="18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0975" indent="-18097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DEE6"/>
              </a:buClr>
              <a:buFont typeface="Arial" panose="020B0604020202020204" pitchFamily="34" charset="0"/>
              <a:buChar char="•"/>
              <a:defRPr lang="da-DK" sz="180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534988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-"/>
              <a:tabLst/>
              <a:defRPr lang="da-DK" sz="1800" b="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554038" indent="0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80000"/>
              <a:buFont typeface="Arial" panose="020B0604020202020204" pitchFamily="34" charset="0"/>
              <a:buChar char="​"/>
              <a:tabLst/>
              <a:defRPr lang="da-DK" sz="15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747713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•"/>
              <a:tabLst/>
              <a:defRPr lang="da-DK" sz="1500" b="0" i="0" kern="1200" baseline="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chemeClr val="tx2"/>
                </a:solidFill>
              </a:rPr>
              <a:t>Secondary colors</a:t>
            </a:r>
          </a:p>
        </p:txBody>
      </p:sp>
      <p:sp>
        <p:nvSpPr>
          <p:cNvPr id="137" name="Pladsholder til tekst 5"/>
          <p:cNvSpPr txBox="1">
            <a:spLocks/>
          </p:cNvSpPr>
          <p:nvPr userDrawn="1"/>
        </p:nvSpPr>
        <p:spPr>
          <a:xfrm>
            <a:off x="-1651522" y="2205045"/>
            <a:ext cx="1509707" cy="144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0958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DEE6"/>
              </a:buClr>
              <a:buSzPct val="100000"/>
              <a:buFontTx/>
              <a:buNone/>
              <a:tabLst/>
              <a:defRPr lang="da-DK" sz="2100" kern="1200" cap="all" baseline="0">
                <a:solidFill>
                  <a:srgbClr val="00DEE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180975" indent="-18097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DEE6"/>
              </a:buClr>
              <a:buFont typeface="Arial" panose="020B0604020202020204" pitchFamily="34" charset="0"/>
              <a:buChar char="•"/>
              <a:defRPr lang="da-DK" sz="180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534988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-"/>
              <a:tabLst/>
              <a:defRPr lang="da-DK" sz="1800" b="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554038" indent="0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80000"/>
              <a:buFont typeface="Arial" panose="020B0604020202020204" pitchFamily="34" charset="0"/>
              <a:buChar char="​"/>
              <a:tabLst/>
              <a:defRPr lang="da-DK" sz="15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747713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•"/>
              <a:tabLst/>
              <a:defRPr lang="da-DK" sz="1500" b="0" i="0" kern="1200" baseline="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cap="none" dirty="0">
                <a:solidFill>
                  <a:schemeClr val="tx2"/>
                </a:solidFill>
              </a:rPr>
              <a:t>Primary colors</a:t>
            </a:r>
          </a:p>
        </p:txBody>
      </p:sp>
      <p:sp>
        <p:nvSpPr>
          <p:cNvPr id="138" name="Pladsholder til tekst 5"/>
          <p:cNvSpPr txBox="1">
            <a:spLocks/>
          </p:cNvSpPr>
          <p:nvPr userDrawn="1"/>
        </p:nvSpPr>
        <p:spPr>
          <a:xfrm>
            <a:off x="-1673295" y="1408508"/>
            <a:ext cx="150970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60958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DEE6"/>
              </a:buClr>
              <a:buSzPct val="100000"/>
              <a:buFontTx/>
              <a:buNone/>
              <a:tabLst/>
              <a:defRPr lang="da-DK" sz="2100" kern="1200" cap="all" baseline="0">
                <a:solidFill>
                  <a:srgbClr val="00DEE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180975" indent="-18097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DEE6"/>
              </a:buClr>
              <a:buFont typeface="Arial" panose="020B0604020202020204" pitchFamily="34" charset="0"/>
              <a:buChar char="•"/>
              <a:defRPr lang="da-DK" sz="180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534988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-"/>
              <a:tabLst/>
              <a:defRPr lang="da-DK" sz="1800" b="0" i="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554038" indent="0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80000"/>
              <a:buFont typeface="Arial" panose="020B0604020202020204" pitchFamily="34" charset="0"/>
              <a:buChar char="​"/>
              <a:tabLst/>
              <a:defRPr lang="da-DK" sz="1500" kern="1200" baseline="0" dirty="0" smtClean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747713" indent="-174625" algn="l" defTabSz="609585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DEE6"/>
              </a:buClr>
              <a:buSzPct val="100000"/>
              <a:buFont typeface="Arial" panose="020B0604020202020204" pitchFamily="34" charset="0"/>
              <a:buChar char="•"/>
              <a:tabLst/>
              <a:defRPr lang="da-DK" sz="1500" b="0" i="0" kern="1200" baseline="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cap="none" dirty="0">
                <a:solidFill>
                  <a:schemeClr val="tx2"/>
                </a:solidFill>
              </a:rPr>
              <a:t>Main PowerPoint colors</a:t>
            </a:r>
          </a:p>
        </p:txBody>
      </p:sp>
      <p:sp>
        <p:nvSpPr>
          <p:cNvPr id="139" name="Rectangle 138"/>
          <p:cNvSpPr/>
          <p:nvPr userDrawn="1"/>
        </p:nvSpPr>
        <p:spPr>
          <a:xfrm>
            <a:off x="12355798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0" name="Rectangle 139"/>
          <p:cNvSpPr/>
          <p:nvPr userDrawn="1"/>
        </p:nvSpPr>
        <p:spPr>
          <a:xfrm>
            <a:off x="12545387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1" name="Rectangle 140"/>
          <p:cNvSpPr/>
          <p:nvPr userDrawn="1"/>
        </p:nvSpPr>
        <p:spPr>
          <a:xfrm>
            <a:off x="12737709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2" name="Rectangle 141"/>
          <p:cNvSpPr/>
          <p:nvPr userDrawn="1"/>
        </p:nvSpPr>
        <p:spPr>
          <a:xfrm>
            <a:off x="12930031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3" name="Rectangle 142"/>
          <p:cNvSpPr/>
          <p:nvPr userDrawn="1"/>
        </p:nvSpPr>
        <p:spPr>
          <a:xfrm>
            <a:off x="13122353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4" name="Rectangle 143"/>
          <p:cNvSpPr/>
          <p:nvPr userDrawn="1"/>
        </p:nvSpPr>
        <p:spPr>
          <a:xfrm>
            <a:off x="13314675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5" name="Rectangle 144"/>
          <p:cNvSpPr/>
          <p:nvPr userDrawn="1"/>
        </p:nvSpPr>
        <p:spPr>
          <a:xfrm>
            <a:off x="13503358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6" name="Rectangle 145"/>
          <p:cNvSpPr/>
          <p:nvPr userDrawn="1"/>
        </p:nvSpPr>
        <p:spPr>
          <a:xfrm>
            <a:off x="13695680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47" name="Rectangle 146"/>
          <p:cNvSpPr/>
          <p:nvPr userDrawn="1"/>
        </p:nvSpPr>
        <p:spPr>
          <a:xfrm>
            <a:off x="13888002" y="1623484"/>
            <a:ext cx="159657" cy="1596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grpSp>
        <p:nvGrpSpPr>
          <p:cNvPr id="88" name="Gruppe 87"/>
          <p:cNvGrpSpPr>
            <a:grpSpLocks noChangeAspect="1"/>
          </p:cNvGrpSpPr>
          <p:nvPr userDrawn="1"/>
        </p:nvGrpSpPr>
        <p:grpSpPr>
          <a:xfrm>
            <a:off x="10343104" y="6422579"/>
            <a:ext cx="1176854" cy="202504"/>
            <a:chOff x="10056795" y="6368350"/>
            <a:chExt cx="1454739" cy="250316"/>
          </a:xfrm>
          <a:solidFill>
            <a:schemeClr val="tx1"/>
          </a:solidFill>
        </p:grpSpPr>
        <p:sp>
          <p:nvSpPr>
            <p:cNvPr id="89" name="Freeform 7"/>
            <p:cNvSpPr>
              <a:spLocks noEditPoints="1"/>
            </p:cNvSpPr>
            <p:nvPr userDrawn="1"/>
          </p:nvSpPr>
          <p:spPr bwMode="auto">
            <a:xfrm>
              <a:off x="10368784" y="6371977"/>
              <a:ext cx="1142750" cy="246689"/>
            </a:xfrm>
            <a:custGeom>
              <a:avLst/>
              <a:gdLst>
                <a:gd name="T0" fmla="*/ 116 w 431"/>
                <a:gd name="T1" fmla="*/ 33 h 93"/>
                <a:gd name="T2" fmla="*/ 103 w 431"/>
                <a:gd name="T3" fmla="*/ 24 h 93"/>
                <a:gd name="T4" fmla="*/ 116 w 431"/>
                <a:gd name="T5" fmla="*/ 75 h 93"/>
                <a:gd name="T6" fmla="*/ 128 w 431"/>
                <a:gd name="T7" fmla="*/ 32 h 93"/>
                <a:gd name="T8" fmla="*/ 139 w 431"/>
                <a:gd name="T9" fmla="*/ 75 h 93"/>
                <a:gd name="T10" fmla="*/ 152 w 431"/>
                <a:gd name="T11" fmla="*/ 48 h 93"/>
                <a:gd name="T12" fmla="*/ 174 w 431"/>
                <a:gd name="T13" fmla="*/ 45 h 93"/>
                <a:gd name="T14" fmla="*/ 188 w 431"/>
                <a:gd name="T15" fmla="*/ 75 h 93"/>
                <a:gd name="T16" fmla="*/ 169 w 431"/>
                <a:gd name="T17" fmla="*/ 23 h 93"/>
                <a:gd name="T18" fmla="*/ 133 w 431"/>
                <a:gd name="T19" fmla="*/ 23 h 93"/>
                <a:gd name="T20" fmla="*/ 238 w 431"/>
                <a:gd name="T21" fmla="*/ 0 h 93"/>
                <a:gd name="T22" fmla="*/ 238 w 431"/>
                <a:gd name="T23" fmla="*/ 76 h 93"/>
                <a:gd name="T24" fmla="*/ 260 w 431"/>
                <a:gd name="T25" fmla="*/ 61 h 93"/>
                <a:gd name="T26" fmla="*/ 213 w 431"/>
                <a:gd name="T27" fmla="*/ 37 h 93"/>
                <a:gd name="T28" fmla="*/ 259 w 431"/>
                <a:gd name="T29" fmla="*/ 14 h 93"/>
                <a:gd name="T30" fmla="*/ 54 w 431"/>
                <a:gd name="T31" fmla="*/ 3 h 93"/>
                <a:gd name="T32" fmla="*/ 0 w 431"/>
                <a:gd name="T33" fmla="*/ 21 h 93"/>
                <a:gd name="T34" fmla="*/ 36 w 431"/>
                <a:gd name="T35" fmla="*/ 45 h 93"/>
                <a:gd name="T36" fmla="*/ 27 w 431"/>
                <a:gd name="T37" fmla="*/ 66 h 93"/>
                <a:gd name="T38" fmla="*/ 1 w 431"/>
                <a:gd name="T39" fmla="*/ 72 h 93"/>
                <a:gd name="T40" fmla="*/ 60 w 431"/>
                <a:gd name="T41" fmla="*/ 54 h 93"/>
                <a:gd name="T42" fmla="*/ 26 w 431"/>
                <a:gd name="T43" fmla="*/ 30 h 93"/>
                <a:gd name="T44" fmla="*/ 33 w 431"/>
                <a:gd name="T45" fmla="*/ 9 h 93"/>
                <a:gd name="T46" fmla="*/ 54 w 431"/>
                <a:gd name="T47" fmla="*/ 3 h 93"/>
                <a:gd name="T48" fmla="*/ 390 w 431"/>
                <a:gd name="T49" fmla="*/ 49 h 93"/>
                <a:gd name="T50" fmla="*/ 417 w 431"/>
                <a:gd name="T51" fmla="*/ 49 h 93"/>
                <a:gd name="T52" fmla="*/ 376 w 431"/>
                <a:gd name="T53" fmla="*/ 93 h 93"/>
                <a:gd name="T54" fmla="*/ 389 w 431"/>
                <a:gd name="T55" fmla="*/ 67 h 93"/>
                <a:gd name="T56" fmla="*/ 431 w 431"/>
                <a:gd name="T57" fmla="*/ 49 h 93"/>
                <a:gd name="T58" fmla="*/ 389 w 431"/>
                <a:gd name="T59" fmla="*/ 33 h 93"/>
                <a:gd name="T60" fmla="*/ 376 w 431"/>
                <a:gd name="T61" fmla="*/ 24 h 93"/>
                <a:gd name="T62" fmla="*/ 334 w 431"/>
                <a:gd name="T63" fmla="*/ 75 h 93"/>
                <a:gd name="T64" fmla="*/ 347 w 431"/>
                <a:gd name="T65" fmla="*/ 47 h 93"/>
                <a:gd name="T66" fmla="*/ 368 w 431"/>
                <a:gd name="T67" fmla="*/ 24 h 93"/>
                <a:gd name="T68" fmla="*/ 347 w 431"/>
                <a:gd name="T69" fmla="*/ 24 h 93"/>
                <a:gd name="T70" fmla="*/ 334 w 431"/>
                <a:gd name="T71" fmla="*/ 75 h 93"/>
                <a:gd name="T72" fmla="*/ 282 w 431"/>
                <a:gd name="T73" fmla="*/ 49 h 93"/>
                <a:gd name="T74" fmla="*/ 309 w 431"/>
                <a:gd name="T75" fmla="*/ 49 h 93"/>
                <a:gd name="T76" fmla="*/ 268 w 431"/>
                <a:gd name="T77" fmla="*/ 50 h 93"/>
                <a:gd name="T78" fmla="*/ 323 w 431"/>
                <a:gd name="T79" fmla="*/ 49 h 93"/>
                <a:gd name="T80" fmla="*/ 268 w 431"/>
                <a:gd name="T81" fmla="*/ 50 h 93"/>
                <a:gd name="T82" fmla="*/ 86 w 431"/>
                <a:gd name="T83" fmla="*/ 75 h 93"/>
                <a:gd name="T84" fmla="*/ 73 w 431"/>
                <a:gd name="T85" fmla="*/ 24 h 93"/>
                <a:gd name="T86" fmla="*/ 73 w 431"/>
                <a:gd name="T87" fmla="*/ 14 h 93"/>
                <a:gd name="T88" fmla="*/ 86 w 431"/>
                <a:gd name="T89" fmla="*/ 1 h 93"/>
                <a:gd name="T90" fmla="*/ 73 w 431"/>
                <a:gd name="T91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1" h="93">
                  <a:moveTo>
                    <a:pt x="133" y="23"/>
                  </a:moveTo>
                  <a:cubicBezTo>
                    <a:pt x="117" y="23"/>
                    <a:pt x="116" y="33"/>
                    <a:pt x="116" y="33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35"/>
                    <a:pt x="121" y="32"/>
                    <a:pt x="128" y="32"/>
                  </a:cubicBezTo>
                  <a:cubicBezTo>
                    <a:pt x="136" y="32"/>
                    <a:pt x="139" y="34"/>
                    <a:pt x="139" y="45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152" y="75"/>
                    <a:pt x="152" y="75"/>
                    <a:pt x="152" y="75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35"/>
                    <a:pt x="156" y="32"/>
                    <a:pt x="164" y="32"/>
                  </a:cubicBezTo>
                  <a:cubicBezTo>
                    <a:pt x="172" y="32"/>
                    <a:pt x="174" y="34"/>
                    <a:pt x="174" y="45"/>
                  </a:cubicBezTo>
                  <a:cubicBezTo>
                    <a:pt x="174" y="75"/>
                    <a:pt x="174" y="75"/>
                    <a:pt x="174" y="75"/>
                  </a:cubicBezTo>
                  <a:cubicBezTo>
                    <a:pt x="188" y="75"/>
                    <a:pt x="188" y="75"/>
                    <a:pt x="188" y="75"/>
                  </a:cubicBezTo>
                  <a:cubicBezTo>
                    <a:pt x="188" y="43"/>
                    <a:pt x="188" y="43"/>
                    <a:pt x="188" y="43"/>
                  </a:cubicBezTo>
                  <a:cubicBezTo>
                    <a:pt x="188" y="28"/>
                    <a:pt x="182" y="23"/>
                    <a:pt x="169" y="23"/>
                  </a:cubicBezTo>
                  <a:cubicBezTo>
                    <a:pt x="153" y="23"/>
                    <a:pt x="151" y="33"/>
                    <a:pt x="151" y="33"/>
                  </a:cubicBezTo>
                  <a:cubicBezTo>
                    <a:pt x="148" y="26"/>
                    <a:pt x="143" y="23"/>
                    <a:pt x="133" y="23"/>
                  </a:cubicBezTo>
                  <a:moveTo>
                    <a:pt x="259" y="4"/>
                  </a:moveTo>
                  <a:cubicBezTo>
                    <a:pt x="259" y="4"/>
                    <a:pt x="251" y="0"/>
                    <a:pt x="238" y="0"/>
                  </a:cubicBezTo>
                  <a:cubicBezTo>
                    <a:pt x="214" y="0"/>
                    <a:pt x="199" y="11"/>
                    <a:pt x="199" y="38"/>
                  </a:cubicBezTo>
                  <a:cubicBezTo>
                    <a:pt x="199" y="65"/>
                    <a:pt x="211" y="76"/>
                    <a:pt x="238" y="76"/>
                  </a:cubicBezTo>
                  <a:cubicBezTo>
                    <a:pt x="253" y="76"/>
                    <a:pt x="260" y="72"/>
                    <a:pt x="260" y="72"/>
                  </a:cubicBezTo>
                  <a:cubicBezTo>
                    <a:pt x="260" y="61"/>
                    <a:pt x="260" y="61"/>
                    <a:pt x="260" y="61"/>
                  </a:cubicBezTo>
                  <a:cubicBezTo>
                    <a:pt x="260" y="61"/>
                    <a:pt x="253" y="66"/>
                    <a:pt x="240" y="66"/>
                  </a:cubicBezTo>
                  <a:cubicBezTo>
                    <a:pt x="223" y="66"/>
                    <a:pt x="213" y="60"/>
                    <a:pt x="213" y="37"/>
                  </a:cubicBezTo>
                  <a:cubicBezTo>
                    <a:pt x="213" y="17"/>
                    <a:pt x="220" y="10"/>
                    <a:pt x="239" y="10"/>
                  </a:cubicBezTo>
                  <a:cubicBezTo>
                    <a:pt x="250" y="10"/>
                    <a:pt x="259" y="14"/>
                    <a:pt x="259" y="14"/>
                  </a:cubicBezTo>
                  <a:lnTo>
                    <a:pt x="259" y="4"/>
                  </a:lnTo>
                  <a:close/>
                  <a:moveTo>
                    <a:pt x="54" y="3"/>
                  </a:moveTo>
                  <a:cubicBezTo>
                    <a:pt x="54" y="3"/>
                    <a:pt x="45" y="0"/>
                    <a:pt x="34" y="0"/>
                  </a:cubicBezTo>
                  <a:cubicBezTo>
                    <a:pt x="15" y="0"/>
                    <a:pt x="0" y="5"/>
                    <a:pt x="0" y="21"/>
                  </a:cubicBezTo>
                  <a:cubicBezTo>
                    <a:pt x="0" y="34"/>
                    <a:pt x="8" y="38"/>
                    <a:pt x="21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43" y="46"/>
                    <a:pt x="46" y="48"/>
                    <a:pt x="46" y="55"/>
                  </a:cubicBezTo>
                  <a:cubicBezTo>
                    <a:pt x="46" y="66"/>
                    <a:pt x="38" y="66"/>
                    <a:pt x="27" y="66"/>
                  </a:cubicBezTo>
                  <a:cubicBezTo>
                    <a:pt x="13" y="66"/>
                    <a:pt x="1" y="62"/>
                    <a:pt x="1" y="6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2" y="76"/>
                    <a:pt x="25" y="76"/>
                  </a:cubicBezTo>
                  <a:cubicBezTo>
                    <a:pt x="44" y="76"/>
                    <a:pt x="60" y="72"/>
                    <a:pt x="60" y="54"/>
                  </a:cubicBezTo>
                  <a:cubicBezTo>
                    <a:pt x="60" y="41"/>
                    <a:pt x="53" y="36"/>
                    <a:pt x="40" y="33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18" y="28"/>
                    <a:pt x="14" y="26"/>
                    <a:pt x="14" y="19"/>
                  </a:cubicBezTo>
                  <a:cubicBezTo>
                    <a:pt x="14" y="10"/>
                    <a:pt x="23" y="9"/>
                    <a:pt x="33" y="9"/>
                  </a:cubicBezTo>
                  <a:cubicBezTo>
                    <a:pt x="46" y="9"/>
                    <a:pt x="54" y="13"/>
                    <a:pt x="54" y="13"/>
                  </a:cubicBezTo>
                  <a:lnTo>
                    <a:pt x="54" y="3"/>
                  </a:lnTo>
                  <a:close/>
                  <a:moveTo>
                    <a:pt x="403" y="68"/>
                  </a:moveTo>
                  <a:cubicBezTo>
                    <a:pt x="392" y="68"/>
                    <a:pt x="390" y="61"/>
                    <a:pt x="390" y="49"/>
                  </a:cubicBezTo>
                  <a:cubicBezTo>
                    <a:pt x="390" y="38"/>
                    <a:pt x="392" y="31"/>
                    <a:pt x="403" y="31"/>
                  </a:cubicBezTo>
                  <a:cubicBezTo>
                    <a:pt x="414" y="31"/>
                    <a:pt x="417" y="38"/>
                    <a:pt x="417" y="49"/>
                  </a:cubicBezTo>
                  <a:cubicBezTo>
                    <a:pt x="417" y="62"/>
                    <a:pt x="414" y="68"/>
                    <a:pt x="403" y="68"/>
                  </a:cubicBezTo>
                  <a:moveTo>
                    <a:pt x="376" y="93"/>
                  </a:moveTo>
                  <a:cubicBezTo>
                    <a:pt x="389" y="93"/>
                    <a:pt x="389" y="93"/>
                    <a:pt x="389" y="93"/>
                  </a:cubicBezTo>
                  <a:cubicBezTo>
                    <a:pt x="389" y="67"/>
                    <a:pt x="389" y="67"/>
                    <a:pt x="389" y="67"/>
                  </a:cubicBezTo>
                  <a:cubicBezTo>
                    <a:pt x="389" y="67"/>
                    <a:pt x="391" y="76"/>
                    <a:pt x="406" y="76"/>
                  </a:cubicBezTo>
                  <a:cubicBezTo>
                    <a:pt x="423" y="76"/>
                    <a:pt x="431" y="68"/>
                    <a:pt x="431" y="49"/>
                  </a:cubicBezTo>
                  <a:cubicBezTo>
                    <a:pt x="431" y="31"/>
                    <a:pt x="424" y="23"/>
                    <a:pt x="408" y="23"/>
                  </a:cubicBezTo>
                  <a:cubicBezTo>
                    <a:pt x="391" y="23"/>
                    <a:pt x="389" y="33"/>
                    <a:pt x="389" y="33"/>
                  </a:cubicBezTo>
                  <a:cubicBezTo>
                    <a:pt x="389" y="24"/>
                    <a:pt x="389" y="24"/>
                    <a:pt x="389" y="24"/>
                  </a:cubicBezTo>
                  <a:cubicBezTo>
                    <a:pt x="376" y="24"/>
                    <a:pt x="376" y="24"/>
                    <a:pt x="376" y="24"/>
                  </a:cubicBezTo>
                  <a:lnTo>
                    <a:pt x="376" y="93"/>
                  </a:lnTo>
                  <a:close/>
                  <a:moveTo>
                    <a:pt x="334" y="75"/>
                  </a:moveTo>
                  <a:cubicBezTo>
                    <a:pt x="347" y="75"/>
                    <a:pt x="347" y="75"/>
                    <a:pt x="347" y="75"/>
                  </a:cubicBezTo>
                  <a:cubicBezTo>
                    <a:pt x="347" y="47"/>
                    <a:pt x="347" y="47"/>
                    <a:pt x="347" y="47"/>
                  </a:cubicBezTo>
                  <a:cubicBezTo>
                    <a:pt x="347" y="37"/>
                    <a:pt x="351" y="36"/>
                    <a:pt x="368" y="36"/>
                  </a:cubicBezTo>
                  <a:cubicBezTo>
                    <a:pt x="368" y="24"/>
                    <a:pt x="368" y="24"/>
                    <a:pt x="368" y="24"/>
                  </a:cubicBezTo>
                  <a:cubicBezTo>
                    <a:pt x="355" y="24"/>
                    <a:pt x="349" y="28"/>
                    <a:pt x="347" y="37"/>
                  </a:cubicBezTo>
                  <a:cubicBezTo>
                    <a:pt x="347" y="24"/>
                    <a:pt x="347" y="24"/>
                    <a:pt x="347" y="24"/>
                  </a:cubicBezTo>
                  <a:cubicBezTo>
                    <a:pt x="334" y="24"/>
                    <a:pt x="334" y="24"/>
                    <a:pt x="334" y="24"/>
                  </a:cubicBezTo>
                  <a:lnTo>
                    <a:pt x="334" y="75"/>
                  </a:lnTo>
                  <a:close/>
                  <a:moveTo>
                    <a:pt x="296" y="68"/>
                  </a:moveTo>
                  <a:cubicBezTo>
                    <a:pt x="284" y="68"/>
                    <a:pt x="282" y="63"/>
                    <a:pt x="282" y="49"/>
                  </a:cubicBezTo>
                  <a:cubicBezTo>
                    <a:pt x="282" y="36"/>
                    <a:pt x="284" y="30"/>
                    <a:pt x="295" y="30"/>
                  </a:cubicBezTo>
                  <a:cubicBezTo>
                    <a:pt x="307" y="30"/>
                    <a:pt x="309" y="36"/>
                    <a:pt x="309" y="49"/>
                  </a:cubicBezTo>
                  <a:cubicBezTo>
                    <a:pt x="309" y="62"/>
                    <a:pt x="307" y="68"/>
                    <a:pt x="296" y="68"/>
                  </a:cubicBezTo>
                  <a:moveTo>
                    <a:pt x="268" y="50"/>
                  </a:moveTo>
                  <a:cubicBezTo>
                    <a:pt x="268" y="70"/>
                    <a:pt x="278" y="76"/>
                    <a:pt x="295" y="76"/>
                  </a:cubicBezTo>
                  <a:cubicBezTo>
                    <a:pt x="312" y="76"/>
                    <a:pt x="323" y="70"/>
                    <a:pt x="323" y="49"/>
                  </a:cubicBezTo>
                  <a:cubicBezTo>
                    <a:pt x="323" y="29"/>
                    <a:pt x="312" y="23"/>
                    <a:pt x="295" y="23"/>
                  </a:cubicBezTo>
                  <a:cubicBezTo>
                    <a:pt x="278" y="23"/>
                    <a:pt x="268" y="29"/>
                    <a:pt x="268" y="50"/>
                  </a:cubicBezTo>
                  <a:moveTo>
                    <a:pt x="73" y="75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73" y="24"/>
                    <a:pt x="73" y="24"/>
                    <a:pt x="73" y="24"/>
                  </a:cubicBezTo>
                  <a:lnTo>
                    <a:pt x="73" y="75"/>
                  </a:lnTo>
                  <a:close/>
                  <a:moveTo>
                    <a:pt x="73" y="14"/>
                  </a:moveTo>
                  <a:cubicBezTo>
                    <a:pt x="86" y="14"/>
                    <a:pt x="86" y="14"/>
                    <a:pt x="86" y="14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3" y="1"/>
                    <a:pt x="73" y="1"/>
                    <a:pt x="73" y="1"/>
                  </a:cubicBezTo>
                  <a:lnTo>
                    <a:pt x="7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8"/>
            <p:cNvSpPr>
              <a:spLocks noEditPoints="1"/>
            </p:cNvSpPr>
            <p:nvPr userDrawn="1"/>
          </p:nvSpPr>
          <p:spPr bwMode="auto">
            <a:xfrm>
              <a:off x="10142048" y="6453602"/>
              <a:ext cx="59859" cy="61672"/>
            </a:xfrm>
            <a:custGeom>
              <a:avLst/>
              <a:gdLst>
                <a:gd name="T0" fmla="*/ 26 w 33"/>
                <a:gd name="T1" fmla="*/ 26 h 34"/>
                <a:gd name="T2" fmla="*/ 13 w 33"/>
                <a:gd name="T3" fmla="*/ 26 h 34"/>
                <a:gd name="T4" fmla="*/ 13 w 33"/>
                <a:gd name="T5" fmla="*/ 13 h 34"/>
                <a:gd name="T6" fmla="*/ 26 w 33"/>
                <a:gd name="T7" fmla="*/ 13 h 34"/>
                <a:gd name="T8" fmla="*/ 26 w 33"/>
                <a:gd name="T9" fmla="*/ 26 h 34"/>
                <a:gd name="T10" fmla="*/ 33 w 33"/>
                <a:gd name="T11" fmla="*/ 0 h 34"/>
                <a:gd name="T12" fmla="*/ 0 w 33"/>
                <a:gd name="T13" fmla="*/ 0 h 34"/>
                <a:gd name="T14" fmla="*/ 0 w 33"/>
                <a:gd name="T15" fmla="*/ 34 h 34"/>
                <a:gd name="T16" fmla="*/ 33 w 33"/>
                <a:gd name="T17" fmla="*/ 34 h 34"/>
                <a:gd name="T18" fmla="*/ 33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26" y="26"/>
                  </a:moveTo>
                  <a:lnTo>
                    <a:pt x="13" y="26"/>
                  </a:lnTo>
                  <a:lnTo>
                    <a:pt x="13" y="13"/>
                  </a:lnTo>
                  <a:lnTo>
                    <a:pt x="26" y="13"/>
                  </a:lnTo>
                  <a:lnTo>
                    <a:pt x="26" y="26"/>
                  </a:lnTo>
                  <a:close/>
                  <a:moveTo>
                    <a:pt x="33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9"/>
            <p:cNvSpPr>
              <a:spLocks noEditPoints="1"/>
            </p:cNvSpPr>
            <p:nvPr userDrawn="1"/>
          </p:nvSpPr>
          <p:spPr bwMode="auto">
            <a:xfrm>
              <a:off x="10078561" y="6390116"/>
              <a:ext cx="163250" cy="165063"/>
            </a:xfrm>
            <a:custGeom>
              <a:avLst/>
              <a:gdLst>
                <a:gd name="T0" fmla="*/ 83 w 90"/>
                <a:gd name="T1" fmla="*/ 83 h 91"/>
                <a:gd name="T2" fmla="*/ 13 w 90"/>
                <a:gd name="T3" fmla="*/ 83 h 91"/>
                <a:gd name="T4" fmla="*/ 13 w 90"/>
                <a:gd name="T5" fmla="*/ 13 h 91"/>
                <a:gd name="T6" fmla="*/ 83 w 90"/>
                <a:gd name="T7" fmla="*/ 13 h 91"/>
                <a:gd name="T8" fmla="*/ 83 w 90"/>
                <a:gd name="T9" fmla="*/ 83 h 91"/>
                <a:gd name="T10" fmla="*/ 90 w 90"/>
                <a:gd name="T11" fmla="*/ 0 h 91"/>
                <a:gd name="T12" fmla="*/ 0 w 90"/>
                <a:gd name="T13" fmla="*/ 0 h 91"/>
                <a:gd name="T14" fmla="*/ 0 w 90"/>
                <a:gd name="T15" fmla="*/ 91 h 91"/>
                <a:gd name="T16" fmla="*/ 90 w 90"/>
                <a:gd name="T17" fmla="*/ 91 h 91"/>
                <a:gd name="T18" fmla="*/ 90 w 90"/>
                <a:gd name="T1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1">
                  <a:moveTo>
                    <a:pt x="83" y="83"/>
                  </a:moveTo>
                  <a:lnTo>
                    <a:pt x="13" y="83"/>
                  </a:lnTo>
                  <a:lnTo>
                    <a:pt x="13" y="13"/>
                  </a:lnTo>
                  <a:lnTo>
                    <a:pt x="83" y="13"/>
                  </a:lnTo>
                  <a:lnTo>
                    <a:pt x="83" y="83"/>
                  </a:lnTo>
                  <a:close/>
                  <a:moveTo>
                    <a:pt x="90" y="0"/>
                  </a:moveTo>
                  <a:lnTo>
                    <a:pt x="0" y="0"/>
                  </a:lnTo>
                  <a:lnTo>
                    <a:pt x="0" y="91"/>
                  </a:lnTo>
                  <a:lnTo>
                    <a:pt x="90" y="91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0"/>
            <p:cNvSpPr>
              <a:spLocks noEditPoints="1"/>
            </p:cNvSpPr>
            <p:nvPr userDrawn="1"/>
          </p:nvSpPr>
          <p:spPr bwMode="auto">
            <a:xfrm>
              <a:off x="10056795" y="6368350"/>
              <a:ext cx="206783" cy="204969"/>
            </a:xfrm>
            <a:custGeom>
              <a:avLst/>
              <a:gdLst>
                <a:gd name="T0" fmla="*/ 107 w 114"/>
                <a:gd name="T1" fmla="*/ 107 h 113"/>
                <a:gd name="T2" fmla="*/ 7 w 114"/>
                <a:gd name="T3" fmla="*/ 107 h 113"/>
                <a:gd name="T4" fmla="*/ 7 w 114"/>
                <a:gd name="T5" fmla="*/ 8 h 113"/>
                <a:gd name="T6" fmla="*/ 107 w 114"/>
                <a:gd name="T7" fmla="*/ 8 h 113"/>
                <a:gd name="T8" fmla="*/ 107 w 114"/>
                <a:gd name="T9" fmla="*/ 107 h 113"/>
                <a:gd name="T10" fmla="*/ 0 w 114"/>
                <a:gd name="T11" fmla="*/ 113 h 113"/>
                <a:gd name="T12" fmla="*/ 114 w 114"/>
                <a:gd name="T13" fmla="*/ 113 h 113"/>
                <a:gd name="T14" fmla="*/ 114 w 114"/>
                <a:gd name="T15" fmla="*/ 0 h 113"/>
                <a:gd name="T16" fmla="*/ 0 w 114"/>
                <a:gd name="T17" fmla="*/ 0 h 113"/>
                <a:gd name="T18" fmla="*/ 0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107" y="107"/>
                  </a:moveTo>
                  <a:lnTo>
                    <a:pt x="7" y="107"/>
                  </a:lnTo>
                  <a:lnTo>
                    <a:pt x="7" y="8"/>
                  </a:lnTo>
                  <a:lnTo>
                    <a:pt x="107" y="8"/>
                  </a:lnTo>
                  <a:lnTo>
                    <a:pt x="107" y="107"/>
                  </a:lnTo>
                  <a:close/>
                  <a:moveTo>
                    <a:pt x="0" y="113"/>
                  </a:moveTo>
                  <a:lnTo>
                    <a:pt x="114" y="113"/>
                  </a:lnTo>
                  <a:lnTo>
                    <a:pt x="114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1"/>
            <p:cNvSpPr>
              <a:spLocks noEditPoints="1"/>
            </p:cNvSpPr>
            <p:nvPr userDrawn="1"/>
          </p:nvSpPr>
          <p:spPr bwMode="auto">
            <a:xfrm>
              <a:off x="10109398" y="6422766"/>
              <a:ext cx="112461" cy="110647"/>
            </a:xfrm>
            <a:custGeom>
              <a:avLst/>
              <a:gdLst>
                <a:gd name="T0" fmla="*/ 56 w 62"/>
                <a:gd name="T1" fmla="*/ 55 h 61"/>
                <a:gd name="T2" fmla="*/ 14 w 62"/>
                <a:gd name="T3" fmla="*/ 55 h 61"/>
                <a:gd name="T4" fmla="*/ 14 w 62"/>
                <a:gd name="T5" fmla="*/ 13 h 61"/>
                <a:gd name="T6" fmla="*/ 56 w 62"/>
                <a:gd name="T7" fmla="*/ 13 h 61"/>
                <a:gd name="T8" fmla="*/ 56 w 62"/>
                <a:gd name="T9" fmla="*/ 55 h 61"/>
                <a:gd name="T10" fmla="*/ 62 w 62"/>
                <a:gd name="T11" fmla="*/ 0 h 61"/>
                <a:gd name="T12" fmla="*/ 0 w 62"/>
                <a:gd name="T13" fmla="*/ 0 h 61"/>
                <a:gd name="T14" fmla="*/ 0 w 62"/>
                <a:gd name="T15" fmla="*/ 61 h 61"/>
                <a:gd name="T16" fmla="*/ 62 w 62"/>
                <a:gd name="T17" fmla="*/ 61 h 61"/>
                <a:gd name="T18" fmla="*/ 62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56" y="55"/>
                  </a:moveTo>
                  <a:lnTo>
                    <a:pt x="14" y="55"/>
                  </a:lnTo>
                  <a:lnTo>
                    <a:pt x="14" y="13"/>
                  </a:lnTo>
                  <a:lnTo>
                    <a:pt x="56" y="13"/>
                  </a:lnTo>
                  <a:lnTo>
                    <a:pt x="56" y="55"/>
                  </a:lnTo>
                  <a:close/>
                  <a:moveTo>
                    <a:pt x="62" y="0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62" y="61"/>
                  </a:lnTo>
                  <a:lnTo>
                    <a:pt x="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noFill/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5" name="Gruppe 4"/>
          <p:cNvGrpSpPr/>
          <p:nvPr userDrawn="1"/>
        </p:nvGrpSpPr>
        <p:grpSpPr>
          <a:xfrm>
            <a:off x="12334834" y="1623484"/>
            <a:ext cx="1712825" cy="400391"/>
            <a:chOff x="12334834" y="1623484"/>
            <a:chExt cx="1712825" cy="400391"/>
          </a:xfrm>
        </p:grpSpPr>
        <p:sp>
          <p:nvSpPr>
            <p:cNvPr id="94" name="Rectangle 138"/>
            <p:cNvSpPr/>
            <p:nvPr userDrawn="1"/>
          </p:nvSpPr>
          <p:spPr>
            <a:xfrm>
              <a:off x="12355798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5" name="Rectangle 139"/>
            <p:cNvSpPr/>
            <p:nvPr userDrawn="1"/>
          </p:nvSpPr>
          <p:spPr>
            <a:xfrm>
              <a:off x="12545387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6" name="Rectangle 140"/>
            <p:cNvSpPr/>
            <p:nvPr userDrawn="1"/>
          </p:nvSpPr>
          <p:spPr>
            <a:xfrm>
              <a:off x="12737709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tangle 141"/>
            <p:cNvSpPr/>
            <p:nvPr userDrawn="1"/>
          </p:nvSpPr>
          <p:spPr>
            <a:xfrm>
              <a:off x="12930031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tangle 142"/>
            <p:cNvSpPr/>
            <p:nvPr userDrawn="1"/>
          </p:nvSpPr>
          <p:spPr>
            <a:xfrm>
              <a:off x="13122353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tangle 143"/>
            <p:cNvSpPr/>
            <p:nvPr userDrawn="1"/>
          </p:nvSpPr>
          <p:spPr>
            <a:xfrm>
              <a:off x="13314675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tangle 144"/>
            <p:cNvSpPr/>
            <p:nvPr userDrawn="1"/>
          </p:nvSpPr>
          <p:spPr>
            <a:xfrm>
              <a:off x="13503358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1" name="Rectangle 145"/>
            <p:cNvSpPr/>
            <p:nvPr userDrawn="1"/>
          </p:nvSpPr>
          <p:spPr>
            <a:xfrm>
              <a:off x="13695680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2" name="Rectangle 146"/>
            <p:cNvSpPr/>
            <p:nvPr userDrawn="1"/>
          </p:nvSpPr>
          <p:spPr>
            <a:xfrm>
              <a:off x="13888002" y="1623484"/>
              <a:ext cx="159657" cy="1596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3" name="Gruppe 102"/>
            <p:cNvGrpSpPr/>
            <p:nvPr userDrawn="1"/>
          </p:nvGrpSpPr>
          <p:grpSpPr>
            <a:xfrm>
              <a:off x="12334834" y="1864218"/>
              <a:ext cx="1691861" cy="159657"/>
              <a:chOff x="-1700122" y="1775884"/>
              <a:chExt cx="1691861" cy="159657"/>
            </a:xfrm>
            <a:solidFill>
              <a:srgbClr val="E6E6E6"/>
            </a:solidFill>
          </p:grpSpPr>
          <p:sp>
            <p:nvSpPr>
              <p:cNvPr id="104" name="Rectangle 105"/>
              <p:cNvSpPr/>
              <p:nvPr userDrawn="1"/>
            </p:nvSpPr>
            <p:spPr>
              <a:xfrm>
                <a:off x="-1700122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Rectangle 109"/>
              <p:cNvSpPr/>
              <p:nvPr userDrawn="1"/>
            </p:nvSpPr>
            <p:spPr>
              <a:xfrm>
                <a:off x="-1510533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tangle 110"/>
              <p:cNvSpPr/>
              <p:nvPr userDrawn="1"/>
            </p:nvSpPr>
            <p:spPr>
              <a:xfrm>
                <a:off x="-1318211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Rectangle 111"/>
              <p:cNvSpPr/>
              <p:nvPr userDrawn="1"/>
            </p:nvSpPr>
            <p:spPr>
              <a:xfrm>
                <a:off x="-1125889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ctangle 112"/>
              <p:cNvSpPr/>
              <p:nvPr userDrawn="1"/>
            </p:nvSpPr>
            <p:spPr>
              <a:xfrm>
                <a:off x="-933567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Rectangle 113"/>
              <p:cNvSpPr/>
              <p:nvPr userDrawn="1"/>
            </p:nvSpPr>
            <p:spPr>
              <a:xfrm>
                <a:off x="-741245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Rectangle 114"/>
              <p:cNvSpPr/>
              <p:nvPr userDrawn="1"/>
            </p:nvSpPr>
            <p:spPr>
              <a:xfrm>
                <a:off x="-552562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Rectangle 115"/>
              <p:cNvSpPr/>
              <p:nvPr userDrawn="1"/>
            </p:nvSpPr>
            <p:spPr>
              <a:xfrm>
                <a:off x="-360240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Rectangle 116"/>
              <p:cNvSpPr/>
              <p:nvPr userDrawn="1"/>
            </p:nvSpPr>
            <p:spPr>
              <a:xfrm>
                <a:off x="-167918" y="1775884"/>
                <a:ext cx="159657" cy="159657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a-DK" sz="1600" dirty="0" err="1">
                  <a:solidFill>
                    <a:schemeClr val="tx1"/>
                  </a:solidFill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4" r:id="rId2"/>
    <p:sldLayoutId id="2147483727" r:id="rId3"/>
    <p:sldLayoutId id="2147483725" r:id="rId4"/>
    <p:sldLayoutId id="2147483742" r:id="rId5"/>
    <p:sldLayoutId id="2147483747" r:id="rId6"/>
    <p:sldLayoutId id="2147483701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706" r:id="rId20"/>
  </p:sldLayoutIdLst>
  <p:hf hdr="0" ftr="0" dt="0"/>
  <p:txStyles>
    <p:titleStyle>
      <a:lvl1pPr algn="l" defTabSz="609585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200" kern="1200" cap="all" baseline="0">
          <a:solidFill>
            <a:schemeClr val="tx1"/>
          </a:solidFill>
          <a:latin typeface="+mj-lt"/>
          <a:ea typeface="ＭＳ Ｐゴシック" charset="0"/>
          <a:cs typeface="Myriad Pro"/>
        </a:defRPr>
      </a:lvl1pPr>
      <a:lvl2pPr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2pPr>
      <a:lvl3pPr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3pPr>
      <a:lvl4pPr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4pPr>
      <a:lvl5pPr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5pPr>
      <a:lvl6pPr marL="609585"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6pPr>
      <a:lvl7pPr marL="1219170"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7pPr>
      <a:lvl8pPr marL="1828754"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8pPr>
      <a:lvl9pPr marL="2438339" algn="l" defTabSz="609585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Myriad Pro" charset="0"/>
          <a:ea typeface="ＭＳ Ｐゴシック" charset="0"/>
        </a:defRPr>
      </a:lvl9pPr>
    </p:titleStyle>
    <p:bodyStyle>
      <a:lvl1pPr marL="190500" indent="-190500" algn="l" defTabSz="609585" rtl="0" eaLnBrk="1" fontAlgn="base" hangingPunct="1">
        <a:lnSpc>
          <a:spcPct val="100000"/>
        </a:lnSpc>
        <a:spcBef>
          <a:spcPts val="300"/>
        </a:spcBef>
        <a:spcAft>
          <a:spcPts val="1200"/>
        </a:spcAft>
        <a:buClr>
          <a:schemeClr val="accent2"/>
        </a:buClr>
        <a:buSzPct val="100000"/>
        <a:buFont typeface="Arial" panose="020B0604020202020204" pitchFamily="34" charset="0"/>
        <a:buChar char="•"/>
        <a:tabLst/>
        <a:defRPr lang="da-DK" sz="1800" kern="1200" baseline="0" dirty="0" smtClean="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  <a:lvl2pPr marL="379413" indent="-180975" algn="l" defTabSz="609585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da-DK" sz="1600" i="0" kern="1200" baseline="0" dirty="0" smtClean="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2pPr>
      <a:lvl3pPr marL="555625" indent="-165100" algn="l" defTabSz="609585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SzPct val="100000"/>
        <a:buFont typeface="Arial" panose="020B0604020202020204" pitchFamily="34" charset="0"/>
        <a:buChar char="-"/>
        <a:tabLst/>
        <a:defRPr lang="da-DK" sz="1600" b="0" i="0" kern="1200" baseline="0" dirty="0" smtClean="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3pPr>
      <a:lvl4pPr marL="700088" indent="-144463" algn="l" defTabSz="609585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SzPct val="80000"/>
        <a:buFont typeface="Arial" panose="020B0604020202020204" pitchFamily="34" charset="0"/>
        <a:buChar char="•"/>
        <a:tabLst/>
        <a:defRPr lang="da-DK" sz="1600" kern="1200" baseline="0" dirty="0" smtClean="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4pPr>
      <a:lvl5pPr marL="706438" indent="0" algn="l" defTabSz="609585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rgbClr val="15AAA6"/>
        </a:buClr>
        <a:buSzPct val="100000"/>
        <a:buFont typeface="Arial" panose="020B0604020202020204" pitchFamily="34" charset="0"/>
        <a:buNone/>
        <a:tabLst>
          <a:tab pos="711200" algn="l"/>
        </a:tabLst>
        <a:defRPr lang="da-DK" sz="1200" b="1" i="1" kern="1200" baseline="0" dirty="0">
          <a:solidFill>
            <a:schemeClr val="accent2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9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pos="423" userDrawn="1">
          <p15:clr>
            <a:srgbClr val="F26B43"/>
          </p15:clr>
        </p15:guide>
        <p15:guide id="4" pos="896" userDrawn="1">
          <p15:clr>
            <a:srgbClr val="A4A3A4"/>
          </p15:clr>
        </p15:guide>
        <p15:guide id="5" pos="1001" userDrawn="1">
          <p15:clr>
            <a:srgbClr val="A4A3A4"/>
          </p15:clr>
        </p15:guide>
        <p15:guide id="6" pos="1475" userDrawn="1">
          <p15:clr>
            <a:srgbClr val="A4A3A4"/>
          </p15:clr>
        </p15:guide>
        <p15:guide id="7" pos="1579" userDrawn="1">
          <p15:clr>
            <a:srgbClr val="A4A3A4"/>
          </p15:clr>
        </p15:guide>
        <p15:guide id="8" pos="2048" userDrawn="1">
          <p15:clr>
            <a:srgbClr val="A4A3A4"/>
          </p15:clr>
        </p15:guide>
        <p15:guide id="9" pos="2156" userDrawn="1">
          <p15:clr>
            <a:srgbClr val="A4A3A4"/>
          </p15:clr>
        </p15:guide>
        <p15:guide id="10" pos="2631" userDrawn="1">
          <p15:clr>
            <a:srgbClr val="A4A3A4"/>
          </p15:clr>
        </p15:guide>
        <p15:guide id="11" pos="2735" userDrawn="1">
          <p15:clr>
            <a:srgbClr val="A4A3A4"/>
          </p15:clr>
        </p15:guide>
        <p15:guide id="12" pos="3209" userDrawn="1">
          <p15:clr>
            <a:srgbClr val="A4A3A4"/>
          </p15:clr>
        </p15:guide>
        <p15:guide id="13" pos="3314" userDrawn="1">
          <p15:clr>
            <a:srgbClr val="A4A3A4"/>
          </p15:clr>
        </p15:guide>
        <p15:guide id="14" pos="3795" userDrawn="1">
          <p15:clr>
            <a:srgbClr val="A4A3A4"/>
          </p15:clr>
        </p15:guide>
        <p15:guide id="15" pos="3892" userDrawn="1">
          <p15:clr>
            <a:srgbClr val="A4A3A4"/>
          </p15:clr>
        </p15:guide>
        <p15:guide id="16" pos="4365" userDrawn="1">
          <p15:clr>
            <a:srgbClr val="A4A3A4"/>
          </p15:clr>
        </p15:guide>
        <p15:guide id="17" pos="4470" userDrawn="1">
          <p15:clr>
            <a:srgbClr val="A4A3A4"/>
          </p15:clr>
        </p15:guide>
        <p15:guide id="18" pos="4944" userDrawn="1">
          <p15:clr>
            <a:srgbClr val="A4A3A4"/>
          </p15:clr>
        </p15:guide>
        <p15:guide id="19" pos="5048" userDrawn="1">
          <p15:clr>
            <a:srgbClr val="A4A3A4"/>
          </p15:clr>
        </p15:guide>
        <p15:guide id="20" pos="5523" userDrawn="1">
          <p15:clr>
            <a:srgbClr val="A4A3A4"/>
          </p15:clr>
        </p15:guide>
        <p15:guide id="21" pos="5627" userDrawn="1">
          <p15:clr>
            <a:srgbClr val="A4A3A4"/>
          </p15:clr>
        </p15:guide>
        <p15:guide id="22" pos="6100" userDrawn="1">
          <p15:clr>
            <a:srgbClr val="A4A3A4"/>
          </p15:clr>
        </p15:guide>
        <p15:guide id="23" pos="6205" userDrawn="1">
          <p15:clr>
            <a:srgbClr val="A4A3A4"/>
          </p15:clr>
        </p15:guide>
        <p15:guide id="24" pos="6677" userDrawn="1">
          <p15:clr>
            <a:srgbClr val="A4A3A4"/>
          </p15:clr>
        </p15:guide>
        <p15:guide id="25" pos="6783" userDrawn="1">
          <p15:clr>
            <a:srgbClr val="A4A3A4"/>
          </p15:clr>
        </p15:guide>
        <p15:guide id="26" orient="horz" pos="423" userDrawn="1">
          <p15:clr>
            <a:srgbClr val="A4A3A4"/>
          </p15:clr>
        </p15:guide>
        <p15:guide id="27" orient="horz" pos="919" userDrawn="1">
          <p15:clr>
            <a:srgbClr val="A4A3A4"/>
          </p15:clr>
        </p15:guide>
        <p15:guide id="28" orient="horz" pos="1021" userDrawn="1">
          <p15:clr>
            <a:srgbClr val="F26B43"/>
          </p15:clr>
        </p15:guide>
        <p15:guide id="29" orient="horz" pos="604" userDrawn="1">
          <p15:clr>
            <a:srgbClr val="A4A3A4"/>
          </p15:clr>
        </p15:guide>
        <p15:guide id="30" orient="horz" pos="1415" userDrawn="1">
          <p15:clr>
            <a:srgbClr val="A4A3A4"/>
          </p15:clr>
        </p15:guide>
        <p15:guide id="31" orient="horz" pos="1520" userDrawn="1">
          <p15:clr>
            <a:srgbClr val="A4A3A4"/>
          </p15:clr>
        </p15:guide>
        <p15:guide id="32" orient="horz" pos="1911" userDrawn="1">
          <p15:clr>
            <a:srgbClr val="A4A3A4"/>
          </p15:clr>
        </p15:guide>
        <p15:guide id="33" orient="horz" pos="2016" userDrawn="1">
          <p15:clr>
            <a:srgbClr val="A4A3A4"/>
          </p15:clr>
        </p15:guide>
        <p15:guide id="34" orient="horz" pos="2408" userDrawn="1">
          <p15:clr>
            <a:srgbClr val="A4A3A4"/>
          </p15:clr>
        </p15:guide>
        <p15:guide id="35" orient="horz" pos="2513" userDrawn="1">
          <p15:clr>
            <a:srgbClr val="A4A3A4"/>
          </p15:clr>
        </p15:guide>
        <p15:guide id="36" orient="horz" pos="2904" userDrawn="1">
          <p15:clr>
            <a:srgbClr val="A4A3A4"/>
          </p15:clr>
        </p15:guide>
        <p15:guide id="37" orient="horz" pos="3009" userDrawn="1">
          <p15:clr>
            <a:srgbClr val="A4A3A4"/>
          </p15:clr>
        </p15:guide>
        <p15:guide id="38" orient="horz" pos="3400" userDrawn="1">
          <p15:clr>
            <a:srgbClr val="A4A3A4"/>
          </p15:clr>
        </p15:guide>
        <p15:guide id="39" orient="horz" pos="350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jpeg"/><Relationship Id="rId7" Type="http://schemas.openxmlformats.org/officeDocument/2006/relationships/image" Target="../media/image8.jpeg"/><Relationship Id="rId2" Type="http://schemas.openxmlformats.org/officeDocument/2006/relationships/hyperlink" Target="https://articlesteller.com/wp-content/uploads/2015/08/visual-csharp_logo.jpg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google.com/url?sa=i&amp;rct=j&amp;q=&amp;esrc=s&amp;source=images&amp;cd=&amp;ved=2ahUKEwjv24aEl4LkAhUK6KQKHW-EBsoQjRx6BAgBEAQ&amp;url=https://codegolf.stackexchange.com/users/75949/dyalog-apl&amp;psig=AOvVaw35S35CFDPf3krBWaYjvhBf&amp;ust=1565865856575229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fi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fif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unctional Programming</a:t>
            </a:r>
          </a:p>
          <a:p>
            <a:r>
              <a:rPr lang="en-US" dirty="0"/>
              <a:t>at </a:t>
            </a:r>
            <a:r>
              <a:rPr lang="en-US" dirty="0" err="1"/>
              <a:t>SimCorp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lorian Biermann, Developer, IBO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FLBM@Simcorp.com</a:t>
            </a:r>
          </a:p>
        </p:txBody>
      </p:sp>
    </p:spTree>
    <p:extLst>
      <p:ext uri="{BB962C8B-B14F-4D97-AF65-F5344CB8AC3E}">
        <p14:creationId xmlns:p14="http://schemas.microsoft.com/office/powerpoint/2010/main" val="3935065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b="19622"/>
          <a:stretch/>
        </p:blipFill>
        <p:spPr>
          <a:xfrm>
            <a:off x="-133722" y="421227"/>
            <a:ext cx="12459444" cy="643138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9735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 Contracts </a:t>
            </a:r>
            <a:r>
              <a:rPr lang="en-US" dirty="0" err="1"/>
              <a:t>MOdelling</a:t>
            </a:r>
            <a:endParaRPr lang="da-DK" dirty="0"/>
          </a:p>
        </p:txBody>
      </p:sp>
      <p:sp>
        <p:nvSpPr>
          <p:cNvPr id="6" name="Rectangle 5"/>
          <p:cNvSpPr/>
          <p:nvPr/>
        </p:nvSpPr>
        <p:spPr>
          <a:xfrm>
            <a:off x="2147024" y="3360818"/>
            <a:ext cx="789795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4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amortized_loan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</a:p>
          <a:p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24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principal = </a:t>
            </a:r>
            <a:r>
              <a:rPr lang="en-US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cs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30000. </a:t>
            </a:r>
            <a:r>
              <a:rPr lang="en-US" sz="24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24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coupon = </a:t>
            </a:r>
            <a:r>
              <a:rPr lang="en-US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cst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11000. </a:t>
            </a:r>
            <a:r>
              <a:rPr lang="en-US" sz="24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2400" dirty="0">
                <a:solidFill>
                  <a:srgbClr val="000000"/>
                </a:solidFill>
                <a:latin typeface="Consolas" panose="020B0609020204030204" pitchFamily="49" charset="0"/>
              </a:rPr>
              <a:t>  all [ give (flow 2019-01-01 DKK principal);</a:t>
            </a:r>
          </a:p>
          <a:p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0-01-01 </a:t>
            </a:r>
            <a:r>
              <a:rPr lang="da-DK" sz="2400" dirty="0">
                <a:latin typeface="Consolas" panose="020B0609020204030204" pitchFamily="49" charset="0"/>
              </a:rPr>
              <a:t>DKK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1-01-01 DKK </a:t>
            </a:r>
            <a:r>
              <a:rPr lang="da-DK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2-01-01 DKK </a:t>
            </a:r>
            <a:r>
              <a:rPr lang="da-DK" sz="24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2400" dirty="0">
                <a:solidFill>
                  <a:srgbClr val="000000"/>
                </a:solidFill>
                <a:latin typeface="Consolas" panose="020B0609020204030204" pitchFamily="49" charset="0"/>
              </a:rPr>
              <a:t> ]</a:t>
            </a:r>
            <a:endParaRPr lang="da-DK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672001" y="1753129"/>
            <a:ext cx="4217364" cy="11103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defTabSz="179388">
              <a:buClr>
                <a:srgbClr val="00DEE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Two parties agree on an amortized loan.</a:t>
            </a:r>
          </a:p>
          <a:p>
            <a:pPr marL="285750" indent="-285750" defTabSz="179388">
              <a:buClr>
                <a:srgbClr val="00DEE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Pay 30000 DKK up front.</a:t>
            </a:r>
          </a:p>
          <a:p>
            <a:pPr marL="285750" indent="-285750" defTabSz="179388">
              <a:buClr>
                <a:srgbClr val="00DEE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Pay back over three years with interest.</a:t>
            </a:r>
          </a:p>
          <a:p>
            <a:pPr marL="285750" indent="-285750" defTabSz="179388">
              <a:buClr>
                <a:srgbClr val="00DEE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ecide when payments are due.</a:t>
            </a:r>
            <a:endParaRPr lang="da-DK" sz="16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70483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AB54F8-30D0-4D96-8EC1-A340DACA44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F91100-8C44-47A4-9060-60E0BDB5B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Ocaml</a:t>
            </a:r>
            <a:r>
              <a:rPr lang="en-US" dirty="0"/>
              <a:t> Dialect </a:t>
            </a:r>
            <a:r>
              <a:rPr lang="en-US" dirty="0" err="1"/>
              <a:t>MlFi</a:t>
            </a:r>
            <a:r>
              <a:rPr lang="en-US" dirty="0"/>
              <a:t> (soon </a:t>
            </a:r>
            <a:r>
              <a:rPr lang="en-US" dirty="0" err="1"/>
              <a:t>Lexifi</a:t>
            </a:r>
            <a:r>
              <a:rPr lang="en-US" dirty="0"/>
              <a:t> </a:t>
            </a:r>
            <a:r>
              <a:rPr lang="en-US" dirty="0" err="1"/>
              <a:t>Ocaml</a:t>
            </a:r>
            <a:r>
              <a:rPr lang="en-US" dirty="0"/>
              <a:t>)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C62FCD-828B-4BD5-A319-565DB483D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ombinator Library for Financial Contracts</a:t>
            </a:r>
            <a:endParaRPr lang="da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C2C22E-11A7-48C0-8BE5-124231C4CC83}"/>
              </a:ext>
            </a:extLst>
          </p:cNvPr>
          <p:cNvSpPr/>
          <p:nvPr/>
        </p:nvSpPr>
        <p:spPr>
          <a:xfrm>
            <a:off x="649139" y="1620838"/>
            <a:ext cx="557519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binop</a:t>
            </a:r>
            <a:r>
              <a:rPr lang="da-DK" sz="1600" dirty="0">
                <a:latin typeface="Consolas" panose="020B0609020204030204" pitchFamily="49" charset="0"/>
              </a:rPr>
              <a:t> = </a:t>
            </a:r>
            <a:r>
              <a:rPr lang="da-DK" sz="1600" dirty="0" err="1">
                <a:latin typeface="Consolas" panose="020B0609020204030204" pitchFamily="49" charset="0"/>
              </a:rPr>
              <a:t>Add</a:t>
            </a:r>
            <a:r>
              <a:rPr lang="da-DK" sz="1600" dirty="0">
                <a:latin typeface="Consolas" panose="020B0609020204030204" pitchFamily="49" charset="0"/>
              </a:rPr>
              <a:t> | Sub | Mul | </a:t>
            </a:r>
            <a:r>
              <a:rPr lang="da-DK" sz="1600" dirty="0" err="1">
                <a:latin typeface="Consolas" panose="020B0609020204030204" pitchFamily="49" charset="0"/>
              </a:rPr>
              <a:t>Div</a:t>
            </a:r>
            <a:r>
              <a:rPr lang="da-DK" sz="1600" dirty="0">
                <a:latin typeface="Consolas" panose="020B0609020204030204" pitchFamily="49" charset="0"/>
              </a:rPr>
              <a:t> | Max</a:t>
            </a:r>
          </a:p>
          <a:p>
            <a:endParaRPr lang="da-DK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obs</a:t>
            </a:r>
            <a:r>
              <a:rPr lang="da-DK" sz="1600" dirty="0">
                <a:latin typeface="Consolas" panose="020B0609020204030204" pitchFamily="49" charset="0"/>
              </a:rPr>
              <a:t> =</a:t>
            </a: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latin typeface="Consolas" panose="020B0609020204030204" pitchFamily="49" charset="0"/>
              </a:rPr>
              <a:t>| </a:t>
            </a:r>
            <a:r>
              <a:rPr lang="da-DK" sz="1600" dirty="0" err="1">
                <a:latin typeface="Consolas" panose="020B0609020204030204" pitchFamily="49" charset="0"/>
              </a:rPr>
              <a:t>Underlying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 </a:t>
            </a:r>
            <a:r>
              <a:rPr lang="da-DK" sz="1600" dirty="0" err="1">
                <a:latin typeface="Consolas" panose="020B0609020204030204" pitchFamily="49" charset="0"/>
              </a:rPr>
              <a:t>string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latin typeface="Consolas" panose="020B0609020204030204" pitchFamily="49" charset="0"/>
              </a:rPr>
              <a:t>| </a:t>
            </a:r>
            <a:r>
              <a:rPr lang="da-DK" sz="1600" dirty="0" err="1">
                <a:latin typeface="Consolas" panose="020B0609020204030204" pitchFamily="49" charset="0"/>
              </a:rPr>
              <a:t>Const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 </a:t>
            </a:r>
            <a:r>
              <a:rPr lang="da-DK" sz="1600" dirty="0" err="1">
                <a:latin typeface="Consolas" panose="020B0609020204030204" pitchFamily="49" charset="0"/>
              </a:rPr>
              <a:t>float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latin typeface="Consolas" panose="020B0609020204030204" pitchFamily="49" charset="0"/>
              </a:rPr>
              <a:t>| </a:t>
            </a:r>
            <a:r>
              <a:rPr lang="da-DK" sz="1600" dirty="0" err="1">
                <a:latin typeface="Consolas" panose="020B0609020204030204" pitchFamily="49" charset="0"/>
              </a:rPr>
              <a:t>Binop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 </a:t>
            </a:r>
            <a:r>
              <a:rPr lang="da-DK" sz="1600" dirty="0" err="1">
                <a:latin typeface="Consolas" panose="020B0609020204030204" pitchFamily="49" charset="0"/>
              </a:rPr>
              <a:t>obs</a:t>
            </a:r>
            <a:r>
              <a:rPr lang="da-DK" sz="1600" dirty="0">
                <a:latin typeface="Consolas" panose="020B0609020204030204" pitchFamily="49" charset="0"/>
              </a:rPr>
              <a:t> * </a:t>
            </a:r>
            <a:r>
              <a:rPr lang="da-DK" sz="1600" dirty="0" err="1">
                <a:latin typeface="Consolas" panose="020B0609020204030204" pitchFamily="49" charset="0"/>
              </a:rPr>
              <a:t>binop</a:t>
            </a:r>
            <a:r>
              <a:rPr lang="da-DK" sz="1600" dirty="0">
                <a:latin typeface="Consolas" panose="020B0609020204030204" pitchFamily="49" charset="0"/>
              </a:rPr>
              <a:t> * </a:t>
            </a:r>
            <a:r>
              <a:rPr lang="da-DK" sz="1600" dirty="0" err="1">
                <a:latin typeface="Consolas" panose="020B0609020204030204" pitchFamily="49" charset="0"/>
              </a:rPr>
              <a:t>obs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latin typeface="Consolas" panose="020B0609020204030204" pitchFamily="49" charset="0"/>
              </a:rPr>
              <a:t>| </a:t>
            </a:r>
            <a:r>
              <a:rPr lang="da-DK" sz="1600" dirty="0" err="1">
                <a:latin typeface="Consolas" panose="020B0609020204030204" pitchFamily="49" charset="0"/>
              </a:rPr>
              <a:t>Fixed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 </a:t>
            </a:r>
            <a:r>
              <a:rPr lang="da-DK" sz="1600" dirty="0">
                <a:latin typeface="Consolas" panose="020B0609020204030204" pitchFamily="49" charset="0"/>
              </a:rPr>
              <a:t>date * </a:t>
            </a:r>
            <a:r>
              <a:rPr lang="da-DK" sz="1600" dirty="0" err="1">
                <a:latin typeface="Consolas" panose="020B0609020204030204" pitchFamily="49" charset="0"/>
              </a:rPr>
              <a:t>obs</a:t>
            </a:r>
            <a:endParaRPr lang="da-DK" sz="1600" dirty="0">
              <a:latin typeface="Consolas" panose="020B0609020204030204" pitchFamily="49" charset="0"/>
            </a:endParaRPr>
          </a:p>
          <a:p>
            <a:endParaRPr lang="da-DK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One  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urrency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Scal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observabl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*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Acquir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date *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All  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list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Give 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Either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*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| Anytime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fr-FR" sz="1600" dirty="0">
                <a:solidFill>
                  <a:srgbClr val="000000"/>
                </a:solidFill>
                <a:latin typeface="Consolas" panose="020B0609020204030204" pitchFamily="49" charset="0"/>
              </a:rPr>
              <a:t>date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fr-FR" sz="1600" dirty="0">
                <a:solidFill>
                  <a:srgbClr val="000000"/>
                </a:solidFill>
                <a:latin typeface="Consolas" panose="020B0609020204030204" pitchFamily="49" charset="0"/>
              </a:rPr>
              <a:t> date * </a:t>
            </a:r>
            <a:r>
              <a:rPr lang="fr-FR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r>
              <a:rPr lang="fr-FR" sz="1600" dirty="0">
                <a:solidFill>
                  <a:srgbClr val="000000"/>
                </a:solidFill>
                <a:latin typeface="Consolas" panose="020B0609020204030204" pitchFamily="49" charset="0"/>
              </a:rPr>
              <a:t> * </a:t>
            </a:r>
            <a:r>
              <a:rPr lang="fr-FR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tract</a:t>
            </a:r>
            <a:endParaRPr lang="da-DK" sz="1600" dirty="0"/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6C5A1C1D-82E7-4F78-8107-4DFB1E0FEAA0}"/>
              </a:ext>
            </a:extLst>
          </p:cNvPr>
          <p:cNvSpPr/>
          <p:nvPr/>
        </p:nvSpPr>
        <p:spPr>
          <a:xfrm>
            <a:off x="3436738" y="3139469"/>
            <a:ext cx="3344779" cy="994610"/>
          </a:xfrm>
          <a:prstGeom prst="wedgeRoundRectCallout">
            <a:avLst>
              <a:gd name="adj1" fmla="val -100210"/>
              <a:gd name="adj2" fmla="val -22984"/>
              <a:gd name="adj3" fmla="val 16667"/>
            </a:avLst>
          </a:prstGeom>
          <a:solidFill>
            <a:schemeClr val="bg1">
              <a:lumMod val="95000"/>
              <a:alpha val="74118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Fix an underlying market rate to its value at some date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AB8E061B-10C3-4B85-81AA-4A46CB9688FD}"/>
              </a:ext>
            </a:extLst>
          </p:cNvPr>
          <p:cNvSpPr/>
          <p:nvPr/>
        </p:nvSpPr>
        <p:spPr>
          <a:xfrm>
            <a:off x="4279232" y="5564107"/>
            <a:ext cx="2963779" cy="994610"/>
          </a:xfrm>
          <a:prstGeom prst="wedgeRoundRectCallout">
            <a:avLst>
              <a:gd name="adj1" fmla="val -127339"/>
              <a:gd name="adj2" fmla="val -50403"/>
              <a:gd name="adj3" fmla="val 16667"/>
            </a:avLst>
          </a:prstGeom>
          <a:solidFill>
            <a:schemeClr val="bg1">
              <a:lumMod val="95000"/>
              <a:alpha val="74902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xercise contract in between dates, or exercise other contract after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A51DC8-15A2-40E1-8D1E-4357C8FB3F14}"/>
              </a:ext>
            </a:extLst>
          </p:cNvPr>
          <p:cNvSpPr/>
          <p:nvPr/>
        </p:nvSpPr>
        <p:spPr>
          <a:xfrm>
            <a:off x="6660259" y="1862196"/>
            <a:ext cx="545955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flow t cur 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obs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</a:p>
          <a:p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 Acquire (t, Scale (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obs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One cur))</a:t>
            </a:r>
          </a:p>
          <a:p>
            <a:endParaRPr lang="en-US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amortized_loan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</a:p>
          <a:p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principal = Const 30000.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</a:p>
          <a:p>
            <a:r>
              <a:rPr lang="en-US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coupon = Const 11000.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 all [ Give (flow 2019-01-01 DKK principal);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0-01-01 </a:t>
            </a:r>
            <a:r>
              <a:rPr lang="da-DK" sz="1600" dirty="0">
                <a:latin typeface="Consolas" panose="020B0609020204030204" pitchFamily="49" charset="0"/>
              </a:rPr>
              <a:t>DKK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1-01-01 DKK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flow 2022-01-01 DKK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upon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]</a:t>
            </a:r>
            <a:endParaRPr lang="da-DK" dirty="0"/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638B6E90-F186-4D52-BE92-304AE62EAA2E}"/>
              </a:ext>
            </a:extLst>
          </p:cNvPr>
          <p:cNvSpPr/>
          <p:nvPr/>
        </p:nvSpPr>
        <p:spPr>
          <a:xfrm>
            <a:off x="7832275" y="4960248"/>
            <a:ext cx="3344779" cy="994610"/>
          </a:xfrm>
          <a:prstGeom prst="wedgeRoundRectCallout">
            <a:avLst>
              <a:gd name="adj1" fmla="val -22033"/>
              <a:gd name="adj2" fmla="val -87500"/>
              <a:gd name="adj3" fmla="val 16667"/>
            </a:avLst>
          </a:prstGeom>
          <a:solidFill>
            <a:schemeClr val="bg1">
              <a:lumMod val="95000"/>
              <a:alpha val="74118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600" dirty="0" err="1">
                <a:solidFill>
                  <a:schemeClr val="tx1"/>
                </a:solidFill>
              </a:rPr>
              <a:t>Evaluates</a:t>
            </a:r>
            <a:r>
              <a:rPr lang="da-DK" sz="1600" dirty="0">
                <a:solidFill>
                  <a:schemeClr val="tx1"/>
                </a:solidFill>
              </a:rPr>
              <a:t> to a </a:t>
            </a:r>
            <a:r>
              <a:rPr lang="da-DK" sz="1600" dirty="0" err="1">
                <a:solidFill>
                  <a:schemeClr val="tx1"/>
                </a:solidFill>
              </a:rPr>
              <a:t>value</a:t>
            </a:r>
            <a:r>
              <a:rPr lang="da-DK" sz="1600" dirty="0">
                <a:solidFill>
                  <a:schemeClr val="tx1"/>
                </a:solidFill>
              </a:rPr>
              <a:t> of type </a:t>
            </a:r>
            <a:r>
              <a:rPr lang="da-DK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contract</a:t>
            </a:r>
            <a:r>
              <a:rPr lang="da-DK" sz="1600" dirty="0">
                <a:solidFill>
                  <a:schemeClr val="tx1"/>
                </a:solidFill>
              </a:rPr>
              <a:t> </a:t>
            </a:r>
            <a:r>
              <a:rPr lang="da-DK" sz="1600" dirty="0" err="1">
                <a:solidFill>
                  <a:schemeClr val="tx1"/>
                </a:solidFill>
              </a:rPr>
              <a:t>that</a:t>
            </a:r>
            <a:r>
              <a:rPr lang="da-DK" sz="1600" dirty="0">
                <a:solidFill>
                  <a:schemeClr val="tx1"/>
                </a:solidFill>
              </a:rPr>
              <a:t> </a:t>
            </a:r>
            <a:r>
              <a:rPr lang="da-DK" sz="1600" dirty="0" err="1">
                <a:solidFill>
                  <a:schemeClr val="tx1"/>
                </a:solidFill>
              </a:rPr>
              <a:t>we</a:t>
            </a:r>
            <a:r>
              <a:rPr lang="da-DK" sz="1600" dirty="0">
                <a:solidFill>
                  <a:schemeClr val="tx1"/>
                </a:solidFill>
              </a:rPr>
              <a:t> </a:t>
            </a:r>
            <a:r>
              <a:rPr lang="da-DK" sz="1600" dirty="0" err="1">
                <a:solidFill>
                  <a:schemeClr val="tx1"/>
                </a:solidFill>
              </a:rPr>
              <a:t>can</a:t>
            </a:r>
            <a:r>
              <a:rPr lang="da-DK" sz="1600" dirty="0">
                <a:solidFill>
                  <a:schemeClr val="tx1"/>
                </a:solidFill>
              </a:rPr>
              <a:t> </a:t>
            </a:r>
            <a:r>
              <a:rPr lang="da-DK" sz="1600" dirty="0" err="1">
                <a:solidFill>
                  <a:schemeClr val="tx1"/>
                </a:solidFill>
              </a:rPr>
              <a:t>valuate</a:t>
            </a:r>
            <a:r>
              <a:rPr lang="da-DK" sz="16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5382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301DA0-060E-4769-A301-CEE21C7785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1B2B3B-E931-4F01-9009-BA40AD7AF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Complex GUI Logic</a:t>
            </a:r>
            <a:endParaRPr lang="da-DK" dirty="0"/>
          </a:p>
        </p:txBody>
      </p:sp>
      <p:pic>
        <p:nvPicPr>
          <p:cNvPr id="6" name="Picture 5" descr="A screenshot of the SimCorp Dimension Trade Manager business application with many fields to enter contract specific values.">
            <a:extLst>
              <a:ext uri="{FF2B5EF4-FFF2-40B4-BE49-F238E27FC236}">
                <a16:creationId xmlns:a16="http://schemas.microsoft.com/office/drawing/2014/main" id="{C1B8CD84-3783-480A-ABE7-A681835BC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559" y="1061619"/>
            <a:ext cx="10290662" cy="570187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EFB0FA9-FCC8-42DF-BC01-2CE307A1C5FA}"/>
              </a:ext>
            </a:extLst>
          </p:cNvPr>
          <p:cNvGrpSpPr/>
          <p:nvPr/>
        </p:nvGrpSpPr>
        <p:grpSpPr>
          <a:xfrm>
            <a:off x="1784682" y="1844842"/>
            <a:ext cx="2662989" cy="617622"/>
            <a:chOff x="1784682" y="1844842"/>
            <a:chExt cx="2662989" cy="617622"/>
          </a:xfrm>
        </p:grpSpPr>
        <p:sp>
          <p:nvSpPr>
            <p:cNvPr id="17" name="Arrow: Curved Down 16">
              <a:extLst>
                <a:ext uri="{FF2B5EF4-FFF2-40B4-BE49-F238E27FC236}">
                  <a16:creationId xmlns:a16="http://schemas.microsoft.com/office/drawing/2014/main" id="{E94AAAF7-759D-4262-A3F7-9AF1423FEF8B}"/>
                </a:ext>
              </a:extLst>
            </p:cNvPr>
            <p:cNvSpPr/>
            <p:nvPr/>
          </p:nvSpPr>
          <p:spPr>
            <a:xfrm>
              <a:off x="1973178" y="1844842"/>
              <a:ext cx="2285999" cy="240632"/>
            </a:xfrm>
            <a:prstGeom prst="curved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Arrow: Curved Up 18">
              <a:extLst>
                <a:ext uri="{FF2B5EF4-FFF2-40B4-BE49-F238E27FC236}">
                  <a16:creationId xmlns:a16="http://schemas.microsoft.com/office/drawing/2014/main" id="{790F6E32-D353-4FF1-901E-F4DBD82122F9}"/>
                </a:ext>
              </a:extLst>
            </p:cNvPr>
            <p:cNvSpPr/>
            <p:nvPr/>
          </p:nvSpPr>
          <p:spPr>
            <a:xfrm>
              <a:off x="1784682" y="2221831"/>
              <a:ext cx="2662989" cy="240633"/>
            </a:xfrm>
            <a:prstGeom prst="curved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B1B3FDF-D764-46EC-9865-3CC9B187F4FC}"/>
              </a:ext>
            </a:extLst>
          </p:cNvPr>
          <p:cNvGrpSpPr/>
          <p:nvPr/>
        </p:nvGrpSpPr>
        <p:grpSpPr>
          <a:xfrm>
            <a:off x="1676401" y="2157663"/>
            <a:ext cx="8141365" cy="4005278"/>
            <a:chOff x="1676401" y="2157663"/>
            <a:chExt cx="8141365" cy="4005278"/>
          </a:xfrm>
        </p:grpSpPr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29D3D46-ABC7-447C-BA48-8498C314BF41}"/>
                </a:ext>
              </a:extLst>
            </p:cNvPr>
            <p:cNvCxnSpPr>
              <a:cxnSpLocks/>
            </p:cNvCxnSpPr>
            <p:nvPr/>
          </p:nvCxnSpPr>
          <p:spPr>
            <a:xfrm>
              <a:off x="1973178" y="2776852"/>
              <a:ext cx="2662989" cy="731575"/>
            </a:xfrm>
            <a:prstGeom prst="straightConnector1">
              <a:avLst/>
            </a:prstGeom>
            <a:noFill/>
            <a:ln w="38100">
              <a:solidFill>
                <a:srgbClr val="C00000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7D78801-93FE-416F-A5AA-4C1C9160775B}"/>
                </a:ext>
              </a:extLst>
            </p:cNvPr>
            <p:cNvGrpSpPr/>
            <p:nvPr/>
          </p:nvGrpSpPr>
          <p:grpSpPr>
            <a:xfrm>
              <a:off x="1676401" y="2157663"/>
              <a:ext cx="8141365" cy="4005278"/>
              <a:chOff x="1676401" y="2157663"/>
              <a:chExt cx="8141365" cy="4005278"/>
            </a:xfrm>
          </p:grpSpPr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64C0FD52-0ED0-4A71-8F8B-D1B5F702492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47671" y="2310063"/>
                <a:ext cx="4824666" cy="1652337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BFFE8279-5D9A-4F5E-AD63-D7AD42CBA7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24737" y="2310063"/>
                <a:ext cx="0" cy="1652337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8A6B5A9-0DBD-4D16-80B0-320242B825D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84682" y="2157663"/>
                <a:ext cx="7563855" cy="1804737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17B312B9-83D5-4BD1-9EC1-760100CA54B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70030" y="2157663"/>
                <a:ext cx="2650959" cy="1860884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0924C61D-1064-4E09-9FF7-A8AE9BA641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3178" y="2462464"/>
                <a:ext cx="0" cy="152399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B57328B7-1B60-4997-879F-94CDC3BBB0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3178" y="2462464"/>
                <a:ext cx="2079816" cy="0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E32D6399-B3A7-446E-A118-0D10569939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73178" y="2526632"/>
                <a:ext cx="2079816" cy="240632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80C1E4D5-0424-4D3C-8AA1-4E43979A25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3178" y="2462464"/>
                <a:ext cx="2662989" cy="871159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3942649F-1501-4D10-96EE-D6A8489C62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3779" y="2462463"/>
                <a:ext cx="2947736" cy="871160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4A47E5ED-4E0F-4AD0-8199-104FD7E707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62275" y="2776852"/>
                <a:ext cx="2855491" cy="709171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A92133CF-7584-43BB-B7B0-11A04E1FE3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2652" y="2462464"/>
                <a:ext cx="12031" cy="2606841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43121E51-ADD6-4BCE-8771-375710275D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60883" y="2776851"/>
                <a:ext cx="1002631" cy="2281593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D3FE6DA5-BE92-4162-BC63-E5DC1548D9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70030" y="2776852"/>
                <a:ext cx="1125778" cy="2281592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4" name="Straight Arrow Connector 63">
                <a:extLst>
                  <a:ext uri="{FF2B5EF4-FFF2-40B4-BE49-F238E27FC236}">
                    <a16:creationId xmlns:a16="http://schemas.microsoft.com/office/drawing/2014/main" id="{C4C85A00-3360-4980-9BE7-CDF5F843B0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73779" y="2462464"/>
                <a:ext cx="148384" cy="2595980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847250EC-33EE-432E-B59F-DCB0FC184F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76401" y="2646948"/>
                <a:ext cx="1523998" cy="2411496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0" name="Straight Arrow Connector 69">
                <a:extLst>
                  <a:ext uri="{FF2B5EF4-FFF2-40B4-BE49-F238E27FC236}">
                    <a16:creationId xmlns:a16="http://schemas.microsoft.com/office/drawing/2014/main" id="{C5CDFA91-DC2A-4986-9BCE-3714803C4CE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221078" y="3397790"/>
                <a:ext cx="38099" cy="2297157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3" name="Straight Arrow Connector 72">
                <a:extLst>
                  <a:ext uri="{FF2B5EF4-FFF2-40B4-BE49-F238E27FC236}">
                    <a16:creationId xmlns:a16="http://schemas.microsoft.com/office/drawing/2014/main" id="{27CCCCA5-619D-4018-BE7B-309E99BA2E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59177" y="3397790"/>
                <a:ext cx="92243" cy="2765151"/>
              </a:xfrm>
              <a:prstGeom prst="straightConnector1">
                <a:avLst/>
              </a:prstGeom>
              <a:noFill/>
              <a:ln w="38100">
                <a:solidFill>
                  <a:srgbClr val="C00000"/>
                </a:solidFill>
                <a:tailEnd type="triangle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77" name="Explosion: 14 Points 76">
            <a:extLst>
              <a:ext uri="{FF2B5EF4-FFF2-40B4-BE49-F238E27FC236}">
                <a16:creationId xmlns:a16="http://schemas.microsoft.com/office/drawing/2014/main" id="{E44151E6-24D8-442E-AD16-81967E8D160E}"/>
              </a:ext>
            </a:extLst>
          </p:cNvPr>
          <p:cNvSpPr/>
          <p:nvPr/>
        </p:nvSpPr>
        <p:spPr>
          <a:xfrm>
            <a:off x="6773779" y="3638423"/>
            <a:ext cx="5049250" cy="3077265"/>
          </a:xfrm>
          <a:prstGeom prst="irregularSeal2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Programming this in C# is cumbersome and error prone!</a:t>
            </a:r>
            <a:endParaRPr lang="da-DK" sz="2000" b="1" dirty="0" err="1">
              <a:solidFill>
                <a:schemeClr val="tx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8EE1C07-A075-4E82-AC48-CA2B743BB0B5}"/>
              </a:ext>
            </a:extLst>
          </p:cNvPr>
          <p:cNvCxnSpPr>
            <a:cxnSpLocks/>
          </p:cNvCxnSpPr>
          <p:nvPr/>
        </p:nvCxnSpPr>
        <p:spPr>
          <a:xfrm flipH="1">
            <a:off x="1945110" y="2192975"/>
            <a:ext cx="2053748" cy="28856"/>
          </a:xfrm>
          <a:prstGeom prst="straightConnector1">
            <a:avLst/>
          </a:prstGeom>
          <a:noFill/>
          <a:ln w="3810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73310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39B8BA-9459-43BD-975B-B640D037D7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4FE15-988E-4931-9659-D5FC8A5BB8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 err="1"/>
              <a:t>Spreadsheet</a:t>
            </a:r>
            <a:r>
              <a:rPr lang="en-US" dirty="0"/>
              <a:t>-Like Evaluation Model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ED4A8DF-A3BE-4B1A-B822-5956B446E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ooks </a:t>
            </a:r>
            <a:r>
              <a:rPr lang="da-DK" dirty="0" err="1"/>
              <a:t>Familiar</a:t>
            </a:r>
            <a:r>
              <a:rPr lang="da-DK" dirty="0"/>
              <a:t>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CA716FF-24D2-4EEB-BAFC-A6409022BD54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/>
              <a:t>Fields depend on each other</a:t>
            </a:r>
          </a:p>
          <a:p>
            <a:pPr lvl="1"/>
            <a:r>
              <a:rPr lang="en-US" dirty="0"/>
              <a:t>When the user updates a field, all depending fields must be updated, too.</a:t>
            </a:r>
          </a:p>
          <a:p>
            <a:pPr lvl="1"/>
            <a:r>
              <a:rPr lang="en-US" dirty="0"/>
              <a:t>“Reactive programming”</a:t>
            </a:r>
          </a:p>
          <a:p>
            <a:pPr lvl="1"/>
            <a:r>
              <a:rPr lang="en-US" dirty="0"/>
              <a:t>“Self-adjusting computation”</a:t>
            </a:r>
          </a:p>
          <a:p>
            <a:r>
              <a:rPr lang="en-US" dirty="0"/>
              <a:t>Free of side effects</a:t>
            </a:r>
          </a:p>
          <a:p>
            <a:r>
              <a:rPr lang="en-US" dirty="0"/>
              <a:t>Programming challenge for domain experts</a:t>
            </a:r>
          </a:p>
          <a:p>
            <a:pPr lvl="1"/>
            <a:r>
              <a:rPr lang="en-US" dirty="0"/>
              <a:t>What happens if the user changes the number settlement days?</a:t>
            </a:r>
          </a:p>
          <a:p>
            <a:r>
              <a:rPr lang="en-US" b="1" dirty="0"/>
              <a:t>Solution: pure, type-safe, declarative programming</a:t>
            </a:r>
            <a:endParaRPr lang="da-DK" b="1" dirty="0"/>
          </a:p>
        </p:txBody>
      </p:sp>
      <p:pic>
        <p:nvPicPr>
          <p:cNvPr id="7" name="Picture 6" descr="A screenshot from Microsoft Excel with arrows between cells that illustrate the dependencies.">
            <a:extLst>
              <a:ext uri="{FF2B5EF4-FFF2-40B4-BE49-F238E27FC236}">
                <a16:creationId xmlns:a16="http://schemas.microsoft.com/office/drawing/2014/main" id="{E57B8E33-AC05-435F-BDA5-93B09923B4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4967" y="3010403"/>
            <a:ext cx="4575032" cy="3179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466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EA5F77-2AA0-440B-A8B2-A7C93A5FF3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AD1189-CC0B-4E55-9C68-E54DC446FD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A18E6A3-706D-445E-84D0-422F5D6D0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1C1FD03-66E2-4CDA-B68F-1FB80F9FFD7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98326F-E091-4FA3-BC27-9C4BED818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7737" y="668337"/>
            <a:ext cx="8839198" cy="854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0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F60F49-DA17-45A4-AB7B-0C99EAB92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Describe Business Logic</a:t>
            </a:r>
            <a:endParaRPr lang="da-DK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A6376C-3E39-47C2-B01A-E24FF2FF6A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7BA9DC-3C79-4E58-A4EF-24E1E36C53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Declaratively Compute </a:t>
            </a:r>
            <a:r>
              <a:rPr lang="en-US" dirty="0"/>
              <a:t>Factorial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AC823F-97ED-4403-B0A2-B2102F393113}"/>
              </a:ext>
            </a:extLst>
          </p:cNvPr>
          <p:cNvSpPr txBox="1"/>
          <p:nvPr/>
        </p:nvSpPr>
        <p:spPr>
          <a:xfrm>
            <a:off x="672001" y="1707189"/>
            <a:ext cx="4653978" cy="46945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latin typeface="Consolas" panose="020B0609020204030204" pitchFamily="49" charset="0"/>
              </a:rPr>
              <a:t> t = {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number: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t</a:t>
            </a:r>
            <a:r>
              <a:rPr lang="en-US" sz="1600" dirty="0">
                <a:latin typeface="Consolas" panose="020B0609020204030204" pitchFamily="49" charset="0"/>
              </a:rPr>
              <a:t>;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result: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t</a:t>
            </a:r>
            <a:r>
              <a:rPr lang="en-US" sz="1600" dirty="0">
                <a:latin typeface="Consolas" panose="020B0609020204030204" pitchFamily="49" charset="0"/>
              </a:rPr>
              <a:t> + [</a:t>
            </a:r>
            <a:r>
              <a:rPr lang="en-US" sz="1600" dirty="0" err="1">
                <a:latin typeface="Consolas" panose="020B0609020204030204" pitchFamily="49" charset="0"/>
              </a:rPr>
              <a:t>readonly</a:t>
            </a:r>
            <a:r>
              <a:rPr lang="en-US" sz="1600" dirty="0">
                <a:latin typeface="Consolas" panose="020B0609020204030204" pitchFamily="49" charset="0"/>
              </a:rPr>
              <a:t>]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}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en-US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latin typeface="Consolas" panose="020B0609020204030204" pitchFamily="49" charset="0"/>
              </a:rPr>
              <a:t> rule =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 rec</a:t>
            </a:r>
            <a:r>
              <a:rPr lang="en-US" sz="1600" dirty="0">
                <a:latin typeface="Consolas" panose="020B0609020204030204" pitchFamily="49" charset="0"/>
              </a:rPr>
              <a:t> fact =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unction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| 0 -&gt; 1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| n -&gt; n * fact (n - 1)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</a:t>
            </a:r>
            <a:r>
              <a:rPr lang="en-US" sz="1600" dirty="0" err="1">
                <a:latin typeface="Consolas" panose="020B0609020204030204" pitchFamily="49" charset="0"/>
              </a:rPr>
              <a:t>Rule.update</a:t>
            </a:r>
            <a:endParaRPr lang="en-US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(</a:t>
            </a:r>
            <a:r>
              <a:rPr lang="en-US" sz="1600" dirty="0" err="1">
                <a:latin typeface="Consolas" panose="020B0609020204030204" pitchFamily="49" charset="0"/>
              </a:rPr>
              <a:t>Fields.value</a:t>
            </a:r>
            <a:r>
              <a:rPr lang="en-US" sz="1600" dirty="0">
                <a:latin typeface="Consolas" panose="020B0609020204030204" pitchFamily="49" charset="0"/>
              </a:rPr>
              <a:t> (.number))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(</a:t>
            </a:r>
            <a:r>
              <a:rPr lang="en-US" sz="1600" dirty="0" err="1">
                <a:latin typeface="Consolas" panose="020B0609020204030204" pitchFamily="49" charset="0"/>
              </a:rPr>
              <a:t>Fields.value</a:t>
            </a:r>
            <a:r>
              <a:rPr lang="en-US" sz="1600" dirty="0">
                <a:latin typeface="Consolas" panose="020B0609020204030204" pitchFamily="49" charset="0"/>
              </a:rPr>
              <a:t> (.result))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fact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en-US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latin typeface="Consolas" panose="020B0609020204030204" pitchFamily="49" charset="0"/>
              </a:rPr>
              <a:t> layout =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 open</a:t>
            </a:r>
            <a:r>
              <a:rPr lang="en-US" sz="1600" dirty="0">
                <a:latin typeface="Consolas" panose="020B0609020204030204" pitchFamily="49" charset="0"/>
              </a:rPr>
              <a:t> Layout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box </a:t>
            </a:r>
            <a:r>
              <a:rPr lang="en-US" sz="1600" dirty="0">
                <a:solidFill>
                  <a:schemeClr val="accent5"/>
                </a:solidFill>
                <a:latin typeface="Consolas" panose="020B0609020204030204" pitchFamily="49" charset="0"/>
              </a:rPr>
              <a:t>"Factorial"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  (</a:t>
            </a:r>
            <a:r>
              <a:rPr lang="en-US" sz="1600" dirty="0" err="1">
                <a:latin typeface="Consolas" panose="020B0609020204030204" pitchFamily="49" charset="0"/>
              </a:rPr>
              <a:t>lpick</a:t>
            </a:r>
            <a:r>
              <a:rPr lang="en-US" sz="1600" dirty="0">
                <a:latin typeface="Consolas" panose="020B0609020204030204" pitchFamily="49" charset="0"/>
              </a:rPr>
              <a:t> (.number) % </a:t>
            </a:r>
            <a:r>
              <a:rPr lang="en-US" sz="1600" dirty="0" err="1">
                <a:latin typeface="Consolas" panose="020B0609020204030204" pitchFamily="49" charset="0"/>
              </a:rPr>
              <a:t>lpick</a:t>
            </a:r>
            <a:r>
              <a:rPr lang="en-US" sz="1600" dirty="0">
                <a:latin typeface="Consolas" panose="020B0609020204030204" pitchFamily="49" charset="0"/>
              </a:rPr>
              <a:t> (.result))</a:t>
            </a:r>
            <a:endParaRPr lang="da-DK" sz="1600" dirty="0" err="1">
              <a:latin typeface="Consolas" panose="020B0609020204030204" pitchFamily="49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8DA038-5A1A-4D96-B936-E82AAF9791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" t="7885" r="-121"/>
          <a:stretch/>
        </p:blipFill>
        <p:spPr>
          <a:xfrm>
            <a:off x="5006804" y="4996205"/>
            <a:ext cx="6521094" cy="959533"/>
          </a:xfrm>
          <a:prstGeom prst="rect">
            <a:avLst/>
          </a:prstGeom>
        </p:spPr>
      </p:pic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1A99BA8A-61BF-44D6-9B26-F0994EACAE02}"/>
              </a:ext>
            </a:extLst>
          </p:cNvPr>
          <p:cNvSpPr/>
          <p:nvPr/>
        </p:nvSpPr>
        <p:spPr>
          <a:xfrm>
            <a:off x="4600280" y="1782034"/>
            <a:ext cx="4097963" cy="963507"/>
          </a:xfrm>
          <a:prstGeom prst="wedgeRoundRectCallout">
            <a:avLst>
              <a:gd name="adj1" fmla="val -90074"/>
              <a:gd name="adj2" fmla="val -14404"/>
              <a:gd name="adj3" fmla="val 16667"/>
            </a:avLst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Use record types to declare fields in the business logic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44B4D359-36F4-4E09-B1E0-074123B25804}"/>
              </a:ext>
            </a:extLst>
          </p:cNvPr>
          <p:cNvSpPr/>
          <p:nvPr/>
        </p:nvSpPr>
        <p:spPr>
          <a:xfrm>
            <a:off x="5092046" y="3218415"/>
            <a:ext cx="3458066" cy="561733"/>
          </a:xfrm>
          <a:prstGeom prst="wedgeRoundRectCallout">
            <a:avLst>
              <a:gd name="adj1" fmla="val -90074"/>
              <a:gd name="adj2" fmla="val -14404"/>
              <a:gd name="adj3" fmla="val 16667"/>
            </a:avLst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efine “normal” </a:t>
            </a:r>
            <a:r>
              <a:rPr lang="en-US" sz="1600" dirty="0" err="1">
                <a:solidFill>
                  <a:schemeClr val="tx1"/>
                </a:solidFill>
              </a:rPr>
              <a:t>OCaml</a:t>
            </a:r>
            <a:r>
              <a:rPr lang="en-US" sz="1600" dirty="0">
                <a:solidFill>
                  <a:schemeClr val="tx1"/>
                </a:solidFill>
              </a:rPr>
              <a:t> function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11C7DE57-6824-43FF-8A1A-3B786EDA31B0}"/>
              </a:ext>
            </a:extLst>
          </p:cNvPr>
          <p:cNvSpPr/>
          <p:nvPr/>
        </p:nvSpPr>
        <p:spPr>
          <a:xfrm>
            <a:off x="4920228" y="4107310"/>
            <a:ext cx="3458066" cy="561733"/>
          </a:xfrm>
          <a:prstGeom prst="wedgeRoundRectCallout">
            <a:avLst>
              <a:gd name="adj1" fmla="val -126058"/>
              <a:gd name="adj2" fmla="val -12726"/>
              <a:gd name="adj3" fmla="val 16667"/>
            </a:avLst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Use it as projection in “update” rule.</a:t>
            </a:r>
            <a:endParaRPr lang="da-DK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963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4EFE5-A30B-444B-9F7B-744A640FB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Fields Through Field API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99277E-DC91-4659-AB42-BA74173020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F77EA8-65D7-4040-BCE6-BB61119422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 err="1"/>
              <a:t>Internal</a:t>
            </a:r>
            <a:r>
              <a:rPr lang="da-DK" dirty="0"/>
              <a:t> API for </a:t>
            </a:r>
            <a:r>
              <a:rPr lang="da-DK" dirty="0" err="1"/>
              <a:t>Developing</a:t>
            </a:r>
            <a:r>
              <a:rPr lang="da-DK" dirty="0"/>
              <a:t> Business </a:t>
            </a:r>
            <a:r>
              <a:rPr lang="da-DK" dirty="0" err="1"/>
              <a:t>Logic</a:t>
            </a:r>
            <a:endParaRPr lang="da-DK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7A8E77E-F786-4E2D-86B8-1E29BD19CE9C}"/>
              </a:ext>
            </a:extLst>
          </p:cNvPr>
          <p:cNvSpPr/>
          <p:nvPr/>
        </p:nvSpPr>
        <p:spPr>
          <a:xfrm>
            <a:off x="649138" y="1466405"/>
            <a:ext cx="693877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module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type </a:t>
            </a:r>
            <a:r>
              <a:rPr lang="da-DK" sz="1600" dirty="0">
                <a:latin typeface="Consolas" panose="020B0609020204030204" pitchFamily="49" charset="0"/>
              </a:rPr>
              <a:t>FIELDS</a:t>
            </a:r>
            <a:r>
              <a:rPr lang="da-DK" sz="1600" dirty="0">
                <a:solidFill>
                  <a:srgbClr val="0033CD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=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sig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a) t </a:t>
            </a:r>
            <a:r>
              <a:rPr lang="en-US" sz="1600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(* '</a:t>
            </a:r>
            <a:r>
              <a:rPr lang="en-US" sz="1600" dirty="0" err="1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: type of the root *)</a:t>
            </a:r>
          </a:p>
          <a:p>
            <a:r>
              <a:rPr lang="en-US" sz="1600" dirty="0">
                <a:solidFill>
                  <a:schemeClr val="accent3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                 (* 'a : type of elements pointed to *)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const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: 'a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ttyp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-&gt; 'a -&gt; ('i, 'a)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value    : (</a:t>
            </a:r>
            <a:r>
              <a:rPr lang="da-DK" sz="1600" dirty="0">
                <a:solidFill>
                  <a:srgbClr val="000000"/>
                </a:solidFill>
                <a:latin typeface="CMTT9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a) path -&gt;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a)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enabled  :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_) path -&gt;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bool)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readonly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: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_) path -&gt;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bool)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restrict :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a) path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-&gt; ('i, 'a list) t</a:t>
            </a:r>
          </a:p>
          <a:p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nn-NO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(&amp;)      :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i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a) t -&gt; (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i,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b) t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-&gt; (‘i, 'a * 'b) t</a:t>
            </a: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end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2972D03-D853-4F2B-B49F-683BC9926726}"/>
              </a:ext>
            </a:extLst>
          </p:cNvPr>
          <p:cNvGrpSpPr/>
          <p:nvPr/>
        </p:nvGrpSpPr>
        <p:grpSpPr>
          <a:xfrm>
            <a:off x="7988969" y="1274275"/>
            <a:ext cx="2839452" cy="3858475"/>
            <a:chOff x="7988969" y="377682"/>
            <a:chExt cx="2839452" cy="3858475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568C5DF-1097-4419-A519-E811ACB85A92}"/>
                </a:ext>
              </a:extLst>
            </p:cNvPr>
            <p:cNvSpPr/>
            <p:nvPr/>
          </p:nvSpPr>
          <p:spPr>
            <a:xfrm>
              <a:off x="8622632" y="2743200"/>
              <a:ext cx="1534239" cy="1034716"/>
            </a:xfrm>
            <a:custGeom>
              <a:avLst/>
              <a:gdLst>
                <a:gd name="connsiteX0" fmla="*/ 48126 w 1534239"/>
                <a:gd name="connsiteY0" fmla="*/ 1034716 h 1034716"/>
                <a:gd name="connsiteX1" fmla="*/ 48126 w 1534239"/>
                <a:gd name="connsiteY1" fmla="*/ 1034716 h 1034716"/>
                <a:gd name="connsiteX2" fmla="*/ 160421 w 1534239"/>
                <a:gd name="connsiteY2" fmla="*/ 1002632 h 1034716"/>
                <a:gd name="connsiteX3" fmla="*/ 385010 w 1534239"/>
                <a:gd name="connsiteY3" fmla="*/ 922421 h 1034716"/>
                <a:gd name="connsiteX4" fmla="*/ 762000 w 1534239"/>
                <a:gd name="connsiteY4" fmla="*/ 818147 h 1034716"/>
                <a:gd name="connsiteX5" fmla="*/ 914400 w 1534239"/>
                <a:gd name="connsiteY5" fmla="*/ 794084 h 1034716"/>
                <a:gd name="connsiteX6" fmla="*/ 970547 w 1534239"/>
                <a:gd name="connsiteY6" fmla="*/ 786063 h 1034716"/>
                <a:gd name="connsiteX7" fmla="*/ 1002631 w 1534239"/>
                <a:gd name="connsiteY7" fmla="*/ 770021 h 1034716"/>
                <a:gd name="connsiteX8" fmla="*/ 1443789 w 1534239"/>
                <a:gd name="connsiteY8" fmla="*/ 745958 h 1034716"/>
                <a:gd name="connsiteX9" fmla="*/ 1483894 w 1534239"/>
                <a:gd name="connsiteY9" fmla="*/ 729916 h 1034716"/>
                <a:gd name="connsiteX10" fmla="*/ 1507957 w 1534239"/>
                <a:gd name="connsiteY10" fmla="*/ 721895 h 1034716"/>
                <a:gd name="connsiteX11" fmla="*/ 1524000 w 1534239"/>
                <a:gd name="connsiteY11" fmla="*/ 705853 h 1034716"/>
                <a:gd name="connsiteX12" fmla="*/ 1515979 w 1534239"/>
                <a:gd name="connsiteY12" fmla="*/ 425116 h 1034716"/>
                <a:gd name="connsiteX13" fmla="*/ 1491915 w 1534239"/>
                <a:gd name="connsiteY13" fmla="*/ 288758 h 1034716"/>
                <a:gd name="connsiteX14" fmla="*/ 1467852 w 1534239"/>
                <a:gd name="connsiteY14" fmla="*/ 160421 h 1034716"/>
                <a:gd name="connsiteX15" fmla="*/ 1459831 w 1534239"/>
                <a:gd name="connsiteY15" fmla="*/ 136358 h 1034716"/>
                <a:gd name="connsiteX16" fmla="*/ 1435768 w 1534239"/>
                <a:gd name="connsiteY16" fmla="*/ 56147 h 1034716"/>
                <a:gd name="connsiteX17" fmla="*/ 1427747 w 1534239"/>
                <a:gd name="connsiteY17" fmla="*/ 24063 h 1034716"/>
                <a:gd name="connsiteX18" fmla="*/ 1403684 w 1534239"/>
                <a:gd name="connsiteY18" fmla="*/ 0 h 1034716"/>
                <a:gd name="connsiteX19" fmla="*/ 1331494 w 1534239"/>
                <a:gd name="connsiteY19" fmla="*/ 16042 h 1034716"/>
                <a:gd name="connsiteX20" fmla="*/ 1291389 w 1534239"/>
                <a:gd name="connsiteY20" fmla="*/ 40105 h 1034716"/>
                <a:gd name="connsiteX21" fmla="*/ 1163052 w 1534239"/>
                <a:gd name="connsiteY21" fmla="*/ 128337 h 1034716"/>
                <a:gd name="connsiteX22" fmla="*/ 994610 w 1534239"/>
                <a:gd name="connsiteY22" fmla="*/ 232611 h 1034716"/>
                <a:gd name="connsiteX23" fmla="*/ 930442 w 1534239"/>
                <a:gd name="connsiteY23" fmla="*/ 288758 h 1034716"/>
                <a:gd name="connsiteX24" fmla="*/ 858252 w 1534239"/>
                <a:gd name="connsiteY24" fmla="*/ 320842 h 1034716"/>
                <a:gd name="connsiteX25" fmla="*/ 762000 w 1534239"/>
                <a:gd name="connsiteY25" fmla="*/ 376989 h 1034716"/>
                <a:gd name="connsiteX26" fmla="*/ 745957 w 1534239"/>
                <a:gd name="connsiteY26" fmla="*/ 393032 h 1034716"/>
                <a:gd name="connsiteX27" fmla="*/ 721894 w 1534239"/>
                <a:gd name="connsiteY27" fmla="*/ 441158 h 1034716"/>
                <a:gd name="connsiteX28" fmla="*/ 665747 w 1534239"/>
                <a:gd name="connsiteY28" fmla="*/ 449179 h 1034716"/>
                <a:gd name="connsiteX29" fmla="*/ 585536 w 1534239"/>
                <a:gd name="connsiteY29" fmla="*/ 465221 h 1034716"/>
                <a:gd name="connsiteX30" fmla="*/ 304800 w 1534239"/>
                <a:gd name="connsiteY30" fmla="*/ 505326 h 1034716"/>
                <a:gd name="connsiteX31" fmla="*/ 184484 w 1534239"/>
                <a:gd name="connsiteY31" fmla="*/ 529389 h 1034716"/>
                <a:gd name="connsiteX32" fmla="*/ 160421 w 1534239"/>
                <a:gd name="connsiteY32" fmla="*/ 537411 h 1034716"/>
                <a:gd name="connsiteX33" fmla="*/ 128336 w 1534239"/>
                <a:gd name="connsiteY33" fmla="*/ 641684 h 1034716"/>
                <a:gd name="connsiteX34" fmla="*/ 88231 w 1534239"/>
                <a:gd name="connsiteY34" fmla="*/ 778042 h 1034716"/>
                <a:gd name="connsiteX35" fmla="*/ 64168 w 1534239"/>
                <a:gd name="connsiteY35" fmla="*/ 826168 h 1034716"/>
                <a:gd name="connsiteX36" fmla="*/ 40105 w 1534239"/>
                <a:gd name="connsiteY36" fmla="*/ 850232 h 1034716"/>
                <a:gd name="connsiteX37" fmla="*/ 24063 w 1534239"/>
                <a:gd name="connsiteY37" fmla="*/ 898358 h 1034716"/>
                <a:gd name="connsiteX38" fmla="*/ 16042 w 1534239"/>
                <a:gd name="connsiteY38" fmla="*/ 922421 h 1034716"/>
                <a:gd name="connsiteX39" fmla="*/ 0 w 1534239"/>
                <a:gd name="connsiteY39" fmla="*/ 946484 h 1034716"/>
                <a:gd name="connsiteX40" fmla="*/ 16042 w 1534239"/>
                <a:gd name="connsiteY40" fmla="*/ 970547 h 1034716"/>
                <a:gd name="connsiteX41" fmla="*/ 40105 w 1534239"/>
                <a:gd name="connsiteY41" fmla="*/ 986589 h 1034716"/>
                <a:gd name="connsiteX42" fmla="*/ 48126 w 1534239"/>
                <a:gd name="connsiteY42" fmla="*/ 1010653 h 1034716"/>
                <a:gd name="connsiteX43" fmla="*/ 48126 w 1534239"/>
                <a:gd name="connsiteY43" fmla="*/ 1034716 h 1034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534239" h="1034716">
                  <a:moveTo>
                    <a:pt x="48126" y="1034716"/>
                  </a:moveTo>
                  <a:lnTo>
                    <a:pt x="48126" y="1034716"/>
                  </a:lnTo>
                  <a:cubicBezTo>
                    <a:pt x="85558" y="1024021"/>
                    <a:pt x="123489" y="1014943"/>
                    <a:pt x="160421" y="1002632"/>
                  </a:cubicBezTo>
                  <a:cubicBezTo>
                    <a:pt x="235836" y="977494"/>
                    <a:pt x="308668" y="944585"/>
                    <a:pt x="385010" y="922421"/>
                  </a:cubicBezTo>
                  <a:cubicBezTo>
                    <a:pt x="506677" y="887099"/>
                    <a:pt x="636449" y="846048"/>
                    <a:pt x="762000" y="818147"/>
                  </a:cubicBezTo>
                  <a:cubicBezTo>
                    <a:pt x="833892" y="802171"/>
                    <a:pt x="847646" y="802984"/>
                    <a:pt x="914400" y="794084"/>
                  </a:cubicBezTo>
                  <a:lnTo>
                    <a:pt x="970547" y="786063"/>
                  </a:lnTo>
                  <a:cubicBezTo>
                    <a:pt x="981242" y="780716"/>
                    <a:pt x="991529" y="774462"/>
                    <a:pt x="1002631" y="770021"/>
                  </a:cubicBezTo>
                  <a:cubicBezTo>
                    <a:pt x="1144785" y="713159"/>
                    <a:pt x="1268537" y="749535"/>
                    <a:pt x="1443789" y="745958"/>
                  </a:cubicBezTo>
                  <a:cubicBezTo>
                    <a:pt x="1457157" y="740611"/>
                    <a:pt x="1470413" y="734972"/>
                    <a:pt x="1483894" y="729916"/>
                  </a:cubicBezTo>
                  <a:cubicBezTo>
                    <a:pt x="1491811" y="726947"/>
                    <a:pt x="1500707" y="726245"/>
                    <a:pt x="1507957" y="721895"/>
                  </a:cubicBezTo>
                  <a:cubicBezTo>
                    <a:pt x="1514442" y="718004"/>
                    <a:pt x="1518652" y="711200"/>
                    <a:pt x="1524000" y="705853"/>
                  </a:cubicBezTo>
                  <a:cubicBezTo>
                    <a:pt x="1539890" y="578732"/>
                    <a:pt x="1537339" y="633374"/>
                    <a:pt x="1515979" y="425116"/>
                  </a:cubicBezTo>
                  <a:cubicBezTo>
                    <a:pt x="1509787" y="364745"/>
                    <a:pt x="1501247" y="340083"/>
                    <a:pt x="1491915" y="288758"/>
                  </a:cubicBezTo>
                  <a:cubicBezTo>
                    <a:pt x="1486088" y="256707"/>
                    <a:pt x="1475890" y="184536"/>
                    <a:pt x="1467852" y="160421"/>
                  </a:cubicBezTo>
                  <a:cubicBezTo>
                    <a:pt x="1465178" y="152400"/>
                    <a:pt x="1461665" y="144612"/>
                    <a:pt x="1459831" y="136358"/>
                  </a:cubicBezTo>
                  <a:cubicBezTo>
                    <a:pt x="1430142" y="2757"/>
                    <a:pt x="1473569" y="156951"/>
                    <a:pt x="1435768" y="56147"/>
                  </a:cubicBezTo>
                  <a:cubicBezTo>
                    <a:pt x="1431897" y="45825"/>
                    <a:pt x="1433216" y="33634"/>
                    <a:pt x="1427747" y="24063"/>
                  </a:cubicBezTo>
                  <a:cubicBezTo>
                    <a:pt x="1422119" y="14214"/>
                    <a:pt x="1411705" y="8021"/>
                    <a:pt x="1403684" y="0"/>
                  </a:cubicBezTo>
                  <a:cubicBezTo>
                    <a:pt x="1385200" y="3081"/>
                    <a:pt x="1351240" y="6169"/>
                    <a:pt x="1331494" y="16042"/>
                  </a:cubicBezTo>
                  <a:cubicBezTo>
                    <a:pt x="1317550" y="23014"/>
                    <a:pt x="1304361" y="31457"/>
                    <a:pt x="1291389" y="40105"/>
                  </a:cubicBezTo>
                  <a:cubicBezTo>
                    <a:pt x="1248194" y="68902"/>
                    <a:pt x="1207192" y="101012"/>
                    <a:pt x="1163052" y="128337"/>
                  </a:cubicBezTo>
                  <a:cubicBezTo>
                    <a:pt x="1106905" y="163095"/>
                    <a:pt x="1044307" y="189127"/>
                    <a:pt x="994610" y="232611"/>
                  </a:cubicBezTo>
                  <a:cubicBezTo>
                    <a:pt x="973221" y="251327"/>
                    <a:pt x="954304" y="273318"/>
                    <a:pt x="930442" y="288758"/>
                  </a:cubicBezTo>
                  <a:cubicBezTo>
                    <a:pt x="908334" y="303063"/>
                    <a:pt x="882114" y="309706"/>
                    <a:pt x="858252" y="320842"/>
                  </a:cubicBezTo>
                  <a:cubicBezTo>
                    <a:pt x="833625" y="332335"/>
                    <a:pt x="781251" y="357738"/>
                    <a:pt x="762000" y="376989"/>
                  </a:cubicBezTo>
                  <a:lnTo>
                    <a:pt x="745957" y="393032"/>
                  </a:lnTo>
                  <a:cubicBezTo>
                    <a:pt x="742398" y="403709"/>
                    <a:pt x="734063" y="435750"/>
                    <a:pt x="721894" y="441158"/>
                  </a:cubicBezTo>
                  <a:cubicBezTo>
                    <a:pt x="704618" y="448836"/>
                    <a:pt x="684365" y="445893"/>
                    <a:pt x="665747" y="449179"/>
                  </a:cubicBezTo>
                  <a:cubicBezTo>
                    <a:pt x="638895" y="453917"/>
                    <a:pt x="612528" y="461365"/>
                    <a:pt x="585536" y="465221"/>
                  </a:cubicBezTo>
                  <a:lnTo>
                    <a:pt x="304800" y="505326"/>
                  </a:lnTo>
                  <a:cubicBezTo>
                    <a:pt x="272027" y="510313"/>
                    <a:pt x="221116" y="518922"/>
                    <a:pt x="184484" y="529389"/>
                  </a:cubicBezTo>
                  <a:cubicBezTo>
                    <a:pt x="176354" y="531712"/>
                    <a:pt x="168442" y="534737"/>
                    <a:pt x="160421" y="537411"/>
                  </a:cubicBezTo>
                  <a:cubicBezTo>
                    <a:pt x="144219" y="586018"/>
                    <a:pt x="142124" y="589980"/>
                    <a:pt x="128336" y="641684"/>
                  </a:cubicBezTo>
                  <a:cubicBezTo>
                    <a:pt x="112492" y="701097"/>
                    <a:pt x="111961" y="718717"/>
                    <a:pt x="88231" y="778042"/>
                  </a:cubicBezTo>
                  <a:cubicBezTo>
                    <a:pt x="81570" y="794695"/>
                    <a:pt x="74117" y="811245"/>
                    <a:pt x="64168" y="826168"/>
                  </a:cubicBezTo>
                  <a:cubicBezTo>
                    <a:pt x="57876" y="835607"/>
                    <a:pt x="48126" y="842211"/>
                    <a:pt x="40105" y="850232"/>
                  </a:cubicBezTo>
                  <a:lnTo>
                    <a:pt x="24063" y="898358"/>
                  </a:lnTo>
                  <a:cubicBezTo>
                    <a:pt x="21389" y="906379"/>
                    <a:pt x="20732" y="915386"/>
                    <a:pt x="16042" y="922421"/>
                  </a:cubicBezTo>
                  <a:lnTo>
                    <a:pt x="0" y="946484"/>
                  </a:lnTo>
                  <a:cubicBezTo>
                    <a:pt x="5347" y="954505"/>
                    <a:pt x="9225" y="963730"/>
                    <a:pt x="16042" y="970547"/>
                  </a:cubicBezTo>
                  <a:cubicBezTo>
                    <a:pt x="22859" y="977364"/>
                    <a:pt x="34083" y="979061"/>
                    <a:pt x="40105" y="986589"/>
                  </a:cubicBezTo>
                  <a:cubicBezTo>
                    <a:pt x="45387" y="993191"/>
                    <a:pt x="44986" y="1002803"/>
                    <a:pt x="48126" y="1010653"/>
                  </a:cubicBezTo>
                  <a:cubicBezTo>
                    <a:pt x="50346" y="1016204"/>
                    <a:pt x="48126" y="1030706"/>
                    <a:pt x="48126" y="1034716"/>
                  </a:cubicBez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Isosceles Triangle 7">
              <a:extLst>
                <a:ext uri="{FF2B5EF4-FFF2-40B4-BE49-F238E27FC236}">
                  <a16:creationId xmlns:a16="http://schemas.microsoft.com/office/drawing/2014/main" id="{AA5BA93C-694D-4EDD-A4C6-926C2049E9E1}"/>
                </a:ext>
              </a:extLst>
            </p:cNvPr>
            <p:cNvSpPr/>
            <p:nvPr/>
          </p:nvSpPr>
          <p:spPr>
            <a:xfrm>
              <a:off x="7988969" y="562515"/>
              <a:ext cx="2839452" cy="3673642"/>
            </a:xfrm>
            <a:prstGeom prst="triangle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a-DK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Connector: Curved 9">
              <a:extLst>
                <a:ext uri="{FF2B5EF4-FFF2-40B4-BE49-F238E27FC236}">
                  <a16:creationId xmlns:a16="http://schemas.microsoft.com/office/drawing/2014/main" id="{3E95B9F8-A7E4-4440-B196-5C1517397A37}"/>
                </a:ext>
              </a:extLst>
            </p:cNvPr>
            <p:cNvCxnSpPr>
              <a:cxnSpLocks/>
              <a:stCxn id="8" idx="0"/>
            </p:cNvCxnSpPr>
            <p:nvPr/>
          </p:nvCxnSpPr>
          <p:spPr>
            <a:xfrm rot="16200000" flipH="1">
              <a:off x="8339944" y="1631266"/>
              <a:ext cx="2538556" cy="401055"/>
            </a:xfrm>
            <a:prstGeom prst="curvedConnector3">
              <a:avLst>
                <a:gd name="adj1" fmla="val 41550"/>
              </a:avLst>
            </a:prstGeom>
            <a:noFill/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755A301-8087-44A9-ADCA-E2C4B815DF26}"/>
                </a:ext>
              </a:extLst>
            </p:cNvPr>
            <p:cNvSpPr txBox="1"/>
            <p:nvPr/>
          </p:nvSpPr>
          <p:spPr>
            <a:xfrm>
              <a:off x="9111915" y="377682"/>
              <a:ext cx="184485" cy="4023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r>
                <a:rPr lang="en-US" sz="2400" dirty="0">
                  <a:latin typeface="Consolas" panose="020B0609020204030204" pitchFamily="49" charset="0"/>
                </a:rPr>
                <a:t>a</a:t>
              </a:r>
              <a:endParaRPr lang="da-DK" sz="1600" dirty="0" err="1">
                <a:latin typeface="Consolas" panose="020B0609020204030204" pitchFamily="49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3CC4381-2C84-4C9E-8997-F88FBF3FACFC}"/>
                </a:ext>
              </a:extLst>
            </p:cNvPr>
            <p:cNvSpPr txBox="1"/>
            <p:nvPr/>
          </p:nvSpPr>
          <p:spPr>
            <a:xfrm>
              <a:off x="9717505" y="3542288"/>
              <a:ext cx="184485" cy="4023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indent="0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r>
                <a:rPr lang="en-US" sz="2400" dirty="0">
                  <a:latin typeface="Consolas" panose="020B0609020204030204" pitchFamily="49" charset="0"/>
                </a:rPr>
                <a:t>b</a:t>
              </a:r>
              <a:endParaRPr lang="da-DK" sz="1600" dirty="0" err="1">
                <a:latin typeface="Consolas" panose="020B0609020204030204" pitchFamily="49" charset="0"/>
              </a:endParaRPr>
            </a:p>
          </p:txBody>
        </p: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A19BD023-D561-403C-8AF4-A710EFF3F186}"/>
                </a:ext>
              </a:extLst>
            </p:cNvPr>
            <p:cNvCxnSpPr>
              <a:cxnSpLocks/>
              <a:stCxn id="8" idx="0"/>
            </p:cNvCxnSpPr>
            <p:nvPr/>
          </p:nvCxnSpPr>
          <p:spPr>
            <a:xfrm rot="16200000" flipH="1" flipV="1">
              <a:off x="7573118" y="1870154"/>
              <a:ext cx="3143217" cy="527937"/>
            </a:xfrm>
            <a:prstGeom prst="curvedConnector3">
              <a:avLst>
                <a:gd name="adj1" fmla="val 54227"/>
              </a:avLst>
            </a:prstGeom>
            <a:noFill/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" name="Connector: Curved 21">
              <a:extLst>
                <a:ext uri="{FF2B5EF4-FFF2-40B4-BE49-F238E27FC236}">
                  <a16:creationId xmlns:a16="http://schemas.microsoft.com/office/drawing/2014/main" id="{888518D4-A2FA-4546-87DE-AB7A13C4BC44}"/>
                </a:ext>
              </a:extLst>
            </p:cNvPr>
            <p:cNvCxnSpPr>
              <a:cxnSpLocks/>
              <a:stCxn id="8" idx="0"/>
            </p:cNvCxnSpPr>
            <p:nvPr/>
          </p:nvCxnSpPr>
          <p:spPr>
            <a:xfrm rot="16200000" flipH="1" flipV="1">
              <a:off x="7843467" y="1863773"/>
              <a:ext cx="2866487" cy="263969"/>
            </a:xfrm>
            <a:prstGeom prst="curvedConnector3">
              <a:avLst>
                <a:gd name="adj1" fmla="val 72893"/>
              </a:avLst>
            </a:prstGeom>
            <a:noFill/>
            <a:ln w="127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6F729AB4-FAC5-4B63-BDFA-890DFEDF5512}"/>
              </a:ext>
            </a:extLst>
          </p:cNvPr>
          <p:cNvSpPr txBox="1"/>
          <p:nvPr/>
        </p:nvSpPr>
        <p:spPr>
          <a:xfrm>
            <a:off x="725845" y="4602324"/>
            <a:ext cx="8100054" cy="10347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latin typeface="Consolas" panose="020B0609020204030204" pitchFamily="49" charset="0"/>
              </a:rPr>
              <a:t> vec2d = { x :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loat</a:t>
            </a:r>
            <a:r>
              <a:rPr lang="en-US" sz="1600" dirty="0">
                <a:latin typeface="Consolas" panose="020B0609020204030204" pitchFamily="49" charset="0"/>
              </a:rPr>
              <a:t>; y :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loat</a:t>
            </a:r>
            <a:r>
              <a:rPr lang="en-US" sz="1600" dirty="0">
                <a:latin typeface="Consolas" panose="020B0609020204030204" pitchFamily="49" charset="0"/>
              </a:rPr>
              <a:t> }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latin typeface="Consolas" panose="020B0609020204030204" pitchFamily="49" charset="0"/>
              </a:rPr>
              <a:t> vec3d = { x : vedc2; z :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loat</a:t>
            </a:r>
            <a:r>
              <a:rPr lang="en-US" sz="1600" dirty="0">
                <a:latin typeface="Consolas" panose="020B0609020204030204" pitchFamily="49" charset="0"/>
              </a:rPr>
              <a:t> }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en-US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latin typeface="Consolas" panose="020B0609020204030204" pitchFamily="49" charset="0"/>
              </a:rPr>
              <a:t> f = </a:t>
            </a:r>
            <a:r>
              <a:rPr lang="en-US" sz="1600" dirty="0" err="1">
                <a:latin typeface="Consolas" panose="020B0609020204030204" pitchFamily="49" charset="0"/>
              </a:rPr>
              <a:t>Fields.value</a:t>
            </a:r>
            <a:r>
              <a:rPr lang="en-US" sz="1600" dirty="0">
                <a:latin typeface="Consolas" panose="020B0609020204030204" pitchFamily="49" charset="0"/>
              </a:rPr>
              <a:t> (.</a:t>
            </a:r>
            <a:r>
              <a:rPr lang="en-US" sz="1600" dirty="0" err="1">
                <a:latin typeface="Consolas" panose="020B0609020204030204" pitchFamily="49" charset="0"/>
              </a:rPr>
              <a:t>x.x</a:t>
            </a:r>
            <a:r>
              <a:rPr lang="en-US" sz="1600" dirty="0">
                <a:latin typeface="Consolas" panose="020B0609020204030204" pitchFamily="49" charset="0"/>
              </a:rPr>
              <a:t>) &amp; </a:t>
            </a:r>
            <a:r>
              <a:rPr lang="en-US" sz="1600" dirty="0" err="1">
                <a:latin typeface="Consolas" panose="020B0609020204030204" pitchFamily="49" charset="0"/>
              </a:rPr>
              <a:t>Fields.value</a:t>
            </a:r>
            <a:r>
              <a:rPr lang="en-US" sz="1600" dirty="0">
                <a:latin typeface="Consolas" panose="020B0609020204030204" pitchFamily="49" charset="0"/>
              </a:rPr>
              <a:t> (.</a:t>
            </a:r>
            <a:r>
              <a:rPr lang="en-US" sz="1600" dirty="0" err="1">
                <a:latin typeface="Consolas" panose="020B0609020204030204" pitchFamily="49" charset="0"/>
              </a:rPr>
              <a:t>x.y</a:t>
            </a:r>
            <a:r>
              <a:rPr lang="en-US" sz="1600" dirty="0">
                <a:latin typeface="Consolas" panose="020B0609020204030204" pitchFamily="49" charset="0"/>
              </a:rPr>
              <a:t>) &amp; </a:t>
            </a:r>
            <a:r>
              <a:rPr lang="en-US" sz="1600" dirty="0" err="1">
                <a:latin typeface="Consolas" panose="020B0609020204030204" pitchFamily="49" charset="0"/>
              </a:rPr>
              <a:t>Fields.value</a:t>
            </a:r>
            <a:r>
              <a:rPr lang="en-US" sz="1600" dirty="0">
                <a:latin typeface="Consolas" panose="020B0609020204030204" pitchFamily="49" charset="0"/>
              </a:rPr>
              <a:t> (.z)</a:t>
            </a:r>
            <a:endParaRPr lang="da-DK" sz="1600" dirty="0" err="1">
              <a:latin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370D1F2-3F13-4931-92F2-F7305B06EBD4}"/>
              </a:ext>
            </a:extLst>
          </p:cNvPr>
          <p:cNvSpPr txBox="1"/>
          <p:nvPr/>
        </p:nvSpPr>
        <p:spPr>
          <a:xfrm>
            <a:off x="3384883" y="5831817"/>
            <a:ext cx="4604086" cy="5062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3600" b="1" dirty="0">
                <a:latin typeface="+mn-lt"/>
              </a:rPr>
              <a:t>What is the type of </a:t>
            </a:r>
            <a:r>
              <a:rPr lang="en-US" sz="3600" b="1" dirty="0">
                <a:solidFill>
                  <a:schemeClr val="accent1"/>
                </a:solidFill>
                <a:latin typeface="Consolas" panose="020B0609020204030204" pitchFamily="49" charset="0"/>
              </a:rPr>
              <a:t>f</a:t>
            </a:r>
            <a:r>
              <a:rPr lang="en-US" sz="3600" b="1" dirty="0">
                <a:latin typeface="+mn-lt"/>
              </a:rPr>
              <a:t>?</a:t>
            </a:r>
            <a:endParaRPr lang="da-DK" sz="3600" b="1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941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21A8031E-973D-4AAE-8946-B432E31F728A}"/>
              </a:ext>
            </a:extLst>
          </p:cNvPr>
          <p:cNvSpPr/>
          <p:nvPr/>
        </p:nvSpPr>
        <p:spPr>
          <a:xfrm>
            <a:off x="969157" y="4518632"/>
            <a:ext cx="2335518" cy="991832"/>
          </a:xfrm>
          <a:prstGeom prst="wedgeRoundRectCallout">
            <a:avLst>
              <a:gd name="adj1" fmla="val -18981"/>
              <a:gd name="adj2" fmla="val -12302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somorphism between two fields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491F96DA-91F1-4A37-970B-997D011245B7}"/>
              </a:ext>
            </a:extLst>
          </p:cNvPr>
          <p:cNvSpPr/>
          <p:nvPr/>
        </p:nvSpPr>
        <p:spPr>
          <a:xfrm>
            <a:off x="4395537" y="4067644"/>
            <a:ext cx="2999873" cy="1283369"/>
          </a:xfrm>
          <a:prstGeom prst="wedgeRoundRectCallout">
            <a:avLst>
              <a:gd name="adj1" fmla="val -119763"/>
              <a:gd name="adj2" fmla="val -113750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ift rule of type 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‘a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t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into context of 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‘</a:t>
            </a:r>
            <a:r>
              <a:rPr lang="en-US" sz="1600" b="1" dirty="0" err="1">
                <a:solidFill>
                  <a:schemeClr val="tx1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chemeClr val="tx1"/>
                </a:solidFill>
              </a:rPr>
              <a:t> if path from 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‘</a:t>
            </a:r>
            <a:r>
              <a:rPr lang="en-US" sz="1600" b="1" dirty="0" err="1">
                <a:solidFill>
                  <a:schemeClr val="tx1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chemeClr val="tx1"/>
                </a:solidFill>
              </a:rPr>
              <a:t> to 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‘a</a:t>
            </a:r>
            <a:r>
              <a:rPr lang="en-US" sz="1600" dirty="0">
                <a:solidFill>
                  <a:schemeClr val="tx1"/>
                </a:solidFill>
              </a:rPr>
              <a:t> exists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1AB5C807-41FA-4C6E-A01B-7F2E530709EE}"/>
              </a:ext>
            </a:extLst>
          </p:cNvPr>
          <p:cNvSpPr/>
          <p:nvPr/>
        </p:nvSpPr>
        <p:spPr>
          <a:xfrm>
            <a:off x="7267074" y="3820270"/>
            <a:ext cx="2462463" cy="1050759"/>
          </a:xfrm>
          <a:prstGeom prst="wedgeRoundRectCallout">
            <a:avLst>
              <a:gd name="adj1" fmla="val -249887"/>
              <a:gd name="adj2" fmla="val -15452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heck whether some property holds for given fields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8DE192-6D55-4070-A407-A93A8449649D}"/>
              </a:ext>
            </a:extLst>
          </p:cNvPr>
          <p:cNvSpPr/>
          <p:nvPr/>
        </p:nvSpPr>
        <p:spPr>
          <a:xfrm>
            <a:off x="-280737" y="3312695"/>
            <a:ext cx="12889831" cy="229570"/>
          </a:xfrm>
          <a:prstGeom prst="rect">
            <a:avLst/>
          </a:prstGeom>
          <a:solidFill>
            <a:srgbClr val="DADA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386DBC-075B-4915-B73A-122E9E2B2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ucting Instruments Through Rule API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B66D65-1794-4F4D-9468-74089A088E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0651DB-F83F-4D3E-9CD6-A7F6EC3CA8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 err="1"/>
              <a:t>Internal</a:t>
            </a:r>
            <a:r>
              <a:rPr lang="da-DK" dirty="0"/>
              <a:t> API for </a:t>
            </a:r>
            <a:r>
              <a:rPr lang="da-DK" dirty="0" err="1"/>
              <a:t>Developing</a:t>
            </a:r>
            <a:r>
              <a:rPr lang="da-DK" dirty="0"/>
              <a:t> Business </a:t>
            </a:r>
            <a:r>
              <a:rPr lang="da-DK" dirty="0" err="1"/>
              <a:t>Logic</a:t>
            </a:r>
            <a:endParaRPr lang="da-DK" dirty="0"/>
          </a:p>
          <a:p>
            <a:endParaRPr lang="da-DK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0C7084-5200-4AC0-9DAD-BCBAA6C8E792}"/>
              </a:ext>
            </a:extLst>
          </p:cNvPr>
          <p:cNvSpPr/>
          <p:nvPr/>
        </p:nvSpPr>
        <p:spPr>
          <a:xfrm>
            <a:off x="658371" y="1544883"/>
            <a:ext cx="1043015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module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type </a:t>
            </a:r>
            <a:r>
              <a:rPr lang="da-DK" sz="1600" dirty="0">
                <a:latin typeface="Consolas" panose="020B0609020204030204" pitchFamily="49" charset="0"/>
              </a:rPr>
              <a:t>RULE</a:t>
            </a:r>
            <a:r>
              <a:rPr lang="da-DK" sz="1600" dirty="0">
                <a:solidFill>
                  <a:srgbClr val="0033CD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=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sig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'i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 fields =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 </a:t>
            </a:r>
            <a:r>
              <a:rPr lang="en-US" sz="1600" dirty="0">
                <a:latin typeface="Consolas" panose="020B0609020204030204" pitchFamily="49" charset="0"/>
              </a:rPr>
              <a:t>Fields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.t</a:t>
            </a:r>
          </a:p>
          <a:p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nn-NO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update   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fields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b)fields -&gt; ('a -&gt; 'b) -&gt; 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t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validate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: ('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,'a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)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fields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-&gt; ('a -&gt;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option) -&gt; 'i t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button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 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fields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b)fields -&gt; ('a -&gt; 'b)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,unit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)path -&gt; 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t</a:t>
            </a:r>
          </a:p>
          <a:p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subpath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 :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tpath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-&gt; 'a t -&gt; 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t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all      : 'i t list -&gt; 'i t</a:t>
            </a:r>
          </a:p>
          <a:p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iso      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fields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b)fields </a:t>
            </a:r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-&gt; ('a -&gt; 'b) -&gt; ('b -&gt; 'a) -&gt; 'i t</a:t>
            </a:r>
          </a:p>
          <a:p>
            <a:r>
              <a:rPr lang="da-DK" sz="1600" dirty="0">
                <a:solidFill>
                  <a:srgbClr val="000000"/>
                </a:solidFill>
                <a:latin typeface="Consolas" panose="020B0609020204030204" pitchFamily="49" charset="0"/>
              </a:rPr>
              <a:t>  ...</a:t>
            </a: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e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5B90A3-9DEA-4042-85AF-E5871A66FA31}"/>
              </a:ext>
            </a:extLst>
          </p:cNvPr>
          <p:cNvSpPr txBox="1"/>
          <p:nvPr/>
        </p:nvSpPr>
        <p:spPr>
          <a:xfrm>
            <a:off x="1235242" y="5802000"/>
            <a:ext cx="8911389" cy="393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2800" b="1" dirty="0">
                <a:latin typeface="+mn-lt"/>
              </a:rPr>
              <a:t>What does function </a:t>
            </a:r>
            <a:r>
              <a:rPr lang="en-US" sz="2800" b="1" dirty="0">
                <a:solidFill>
                  <a:schemeClr val="accent1"/>
                </a:solidFill>
                <a:latin typeface="Consolas" panose="020B0609020204030204" pitchFamily="49" charset="0"/>
              </a:rPr>
              <a:t>all : ‘</a:t>
            </a:r>
            <a:r>
              <a:rPr lang="en-US" sz="2800" b="1" dirty="0" err="1">
                <a:solidFill>
                  <a:schemeClr val="accent1"/>
                </a:solidFill>
                <a:latin typeface="Consolas" panose="020B0609020204030204" pitchFamily="49" charset="0"/>
              </a:rPr>
              <a:t>i</a:t>
            </a:r>
            <a:r>
              <a:rPr lang="en-US" sz="2800" b="1" dirty="0">
                <a:solidFill>
                  <a:schemeClr val="accent1"/>
                </a:solidFill>
                <a:latin typeface="Consolas" panose="020B0609020204030204" pitchFamily="49" charset="0"/>
              </a:rPr>
              <a:t> t list -&gt; ‘</a:t>
            </a:r>
            <a:r>
              <a:rPr lang="en-US" sz="2800" b="1" dirty="0" err="1">
                <a:solidFill>
                  <a:schemeClr val="accent1"/>
                </a:solidFill>
                <a:latin typeface="Consolas" panose="020B0609020204030204" pitchFamily="49" charset="0"/>
              </a:rPr>
              <a:t>i</a:t>
            </a:r>
            <a:r>
              <a:rPr lang="en-US" sz="2800" b="1" dirty="0">
                <a:solidFill>
                  <a:schemeClr val="accent1"/>
                </a:solidFill>
                <a:latin typeface="Consolas" panose="020B0609020204030204" pitchFamily="49" charset="0"/>
              </a:rPr>
              <a:t> t</a:t>
            </a:r>
            <a:r>
              <a:rPr lang="en-US" sz="28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en-US" sz="2800" b="1" dirty="0">
                <a:latin typeface="+mn-lt"/>
              </a:rPr>
              <a:t>do?</a:t>
            </a:r>
            <a:endParaRPr lang="da-DK" sz="2800" b="1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866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8" grpId="0" animBg="1"/>
      <p:bldP spid="12" grpId="0" animBg="1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84361-84D4-453F-90C7-8DDCFC39F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 Execution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4CA5F4-9180-4FC8-B2F4-7FB1096AF7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95B133-18B5-41D2-BF7E-B778C913F7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Interpeter</a:t>
            </a:r>
            <a:r>
              <a:rPr lang="en-US" dirty="0"/>
              <a:t> Implemented in </a:t>
            </a:r>
            <a:r>
              <a:rPr lang="en-US" dirty="0" err="1"/>
              <a:t>.Net</a:t>
            </a:r>
            <a:r>
              <a:rPr lang="en-US" dirty="0"/>
              <a:t> – Business Rules in </a:t>
            </a:r>
            <a:r>
              <a:rPr lang="en-US" dirty="0" err="1"/>
              <a:t>OCaml</a:t>
            </a:r>
            <a:endParaRPr lang="da-DK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293082-F393-44FC-9E7B-3448E1C86A91}"/>
              </a:ext>
            </a:extLst>
          </p:cNvPr>
          <p:cNvGrpSpPr/>
          <p:nvPr/>
        </p:nvGrpSpPr>
        <p:grpSpPr>
          <a:xfrm>
            <a:off x="8065771" y="1993052"/>
            <a:ext cx="3035365" cy="2944695"/>
            <a:chOff x="8065771" y="1993052"/>
            <a:chExt cx="3035365" cy="2944695"/>
          </a:xfrm>
        </p:grpSpPr>
        <p:pic>
          <p:nvPicPr>
            <p:cNvPr id="7" name="Picture 6" descr="OCaml logo">
              <a:extLst>
                <a:ext uri="{FF2B5EF4-FFF2-40B4-BE49-F238E27FC236}">
                  <a16:creationId xmlns:a16="http://schemas.microsoft.com/office/drawing/2014/main" id="{3D7460A1-E758-438F-8548-984174EEE6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8176"/>
            <a:stretch/>
          </p:blipFill>
          <p:spPr>
            <a:xfrm>
              <a:off x="8216216" y="1993052"/>
              <a:ext cx="1985112" cy="1714202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86602F3-F9CF-4CA0-A442-88C01806E642}"/>
                </a:ext>
              </a:extLst>
            </p:cNvPr>
            <p:cNvSpPr txBox="1"/>
            <p:nvPr/>
          </p:nvSpPr>
          <p:spPr>
            <a:xfrm>
              <a:off x="8065771" y="3959714"/>
              <a:ext cx="3035365" cy="9780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Business rules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Mapping of database fields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Construction of search maps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GUI Layout</a:t>
              </a:r>
              <a:endParaRPr lang="da-DK" sz="1600" dirty="0" err="1">
                <a:latin typeface="+mn-lt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2369BA4-24C2-49C8-8D81-4955E7CA55A7}"/>
              </a:ext>
            </a:extLst>
          </p:cNvPr>
          <p:cNvGrpSpPr/>
          <p:nvPr/>
        </p:nvGrpSpPr>
        <p:grpSpPr>
          <a:xfrm>
            <a:off x="1162568" y="1843905"/>
            <a:ext cx="3152273" cy="3401100"/>
            <a:chOff x="1162568" y="1843905"/>
            <a:chExt cx="3152273" cy="340110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21D63F8-B4FA-4B0C-8F9C-BB81757AC0DD}"/>
                </a:ext>
              </a:extLst>
            </p:cNvPr>
            <p:cNvSpPr txBox="1"/>
            <p:nvPr/>
          </p:nvSpPr>
          <p:spPr>
            <a:xfrm>
              <a:off x="1162568" y="4022807"/>
              <a:ext cx="3152273" cy="1222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Rule interpreter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Ordering of execution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GUI generation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Database connection</a:t>
              </a:r>
            </a:p>
            <a:p>
              <a:pPr marL="285750" indent="-285750" defTabSz="179388">
                <a:buClr>
                  <a:srgbClr val="00DEE6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Input handling</a:t>
              </a:r>
              <a:endParaRPr lang="da-DK" sz="1600" dirty="0" err="1">
                <a:latin typeface="+mn-lt"/>
              </a:endParaRPr>
            </a:p>
          </p:txBody>
        </p:sp>
        <p:pic>
          <p:nvPicPr>
            <p:cNvPr id="1026" name="Picture 2" descr="Dot Net Logo">
              <a:extLst>
                <a:ext uri="{FF2B5EF4-FFF2-40B4-BE49-F238E27FC236}">
                  <a16:creationId xmlns:a16="http://schemas.microsoft.com/office/drawing/2014/main" id="{078D0985-F48D-4A37-86B8-29E6E11117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1494" y="1843905"/>
              <a:ext cx="1791854" cy="1791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60ED0C1-4661-45DA-B094-61A882108782}"/>
              </a:ext>
            </a:extLst>
          </p:cNvPr>
          <p:cNvGrpSpPr/>
          <p:nvPr/>
        </p:nvGrpSpPr>
        <p:grpSpPr>
          <a:xfrm>
            <a:off x="4782272" y="1458385"/>
            <a:ext cx="1666875" cy="5264176"/>
            <a:chOff x="4782272" y="1458385"/>
            <a:chExt cx="1666875" cy="526417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FAE95E3-BF7B-4808-BFCA-39ACF95D7B23}"/>
                </a:ext>
              </a:extLst>
            </p:cNvPr>
            <p:cNvSpPr txBox="1"/>
            <p:nvPr/>
          </p:nvSpPr>
          <p:spPr>
            <a:xfrm>
              <a:off x="5124566" y="1458385"/>
              <a:ext cx="1062874" cy="526417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endParaRPr lang="en-US" sz="1600" dirty="0">
                <a:latin typeface="+mn-lt"/>
              </a:endParaRPr>
            </a:p>
            <a:p>
              <a:pPr marL="0" indent="0" algn="ctr" defTabSz="179388">
                <a:buClr>
                  <a:srgbClr val="00DEE6"/>
                </a:buClr>
                <a:buFont typeface="Arial" panose="020B0604020202020204" pitchFamily="34" charset="0"/>
                <a:buNone/>
              </a:pPr>
              <a:r>
                <a:rPr lang="en-US" sz="1600" dirty="0" err="1">
                  <a:latin typeface="+mn-lt"/>
                </a:rPr>
                <a:t>OCaml</a:t>
              </a:r>
              <a:r>
                <a:rPr lang="en-US" sz="1600" dirty="0">
                  <a:latin typeface="+mn-lt"/>
                </a:rPr>
                <a:t>-C# Interop</a:t>
              </a:r>
              <a:endParaRPr lang="da-DK" sz="1600" dirty="0" err="1">
                <a:latin typeface="+mn-lt"/>
              </a:endParaRPr>
            </a:p>
          </p:txBody>
        </p:sp>
        <p:pic>
          <p:nvPicPr>
            <p:cNvPr id="5" name="Picture 4" descr="LexiFi logo">
              <a:extLst>
                <a:ext uri="{FF2B5EF4-FFF2-40B4-BE49-F238E27FC236}">
                  <a16:creationId xmlns:a16="http://schemas.microsoft.com/office/drawing/2014/main" id="{1A7759C0-C536-42C9-8498-55E0796A6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82272" y="5489575"/>
              <a:ext cx="1666875" cy="43815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1D9F996-C211-4D44-976B-A37915142C16}"/>
              </a:ext>
            </a:extLst>
          </p:cNvPr>
          <p:cNvGrpSpPr/>
          <p:nvPr/>
        </p:nvGrpSpPr>
        <p:grpSpPr>
          <a:xfrm>
            <a:off x="3072098" y="2359844"/>
            <a:ext cx="4993673" cy="402300"/>
            <a:chOff x="3072098" y="2321744"/>
            <a:chExt cx="4993673" cy="402300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9FCF2848-E902-43AE-AECA-66231F95EF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72098" y="2525250"/>
              <a:ext cx="4993673" cy="0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24DB11-21C5-46AB-B751-D681B1EE2C17}"/>
                </a:ext>
              </a:extLst>
            </p:cNvPr>
            <p:cNvSpPr/>
            <p:nvPr/>
          </p:nvSpPr>
          <p:spPr>
            <a:xfrm>
              <a:off x="4932767" y="2321744"/>
              <a:ext cx="1359774" cy="4023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DB bindings</a:t>
              </a:r>
              <a:endParaRPr lang="da-DK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3B726B6-C2E1-4094-B1EF-14D19719A588}"/>
              </a:ext>
            </a:extLst>
          </p:cNvPr>
          <p:cNvGrpSpPr/>
          <p:nvPr/>
        </p:nvGrpSpPr>
        <p:grpSpPr>
          <a:xfrm>
            <a:off x="3072098" y="3442017"/>
            <a:ext cx="4993673" cy="402300"/>
            <a:chOff x="3072098" y="2954204"/>
            <a:chExt cx="4993673" cy="402300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1CBA8440-6A21-47F0-B7E6-F867066855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2098" y="3147060"/>
              <a:ext cx="4993673" cy="8294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7B559DC-6A9C-4FA6-B9E5-B5815EA774F9}"/>
                </a:ext>
              </a:extLst>
            </p:cNvPr>
            <p:cNvSpPr/>
            <p:nvPr/>
          </p:nvSpPr>
          <p:spPr>
            <a:xfrm>
              <a:off x="4902286" y="2954204"/>
              <a:ext cx="1440871" cy="4023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Function calls</a:t>
              </a:r>
              <a:endParaRPr lang="da-DK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A0583E9-4FF1-4BD6-A340-1A558D0D2E60}"/>
              </a:ext>
            </a:extLst>
          </p:cNvPr>
          <p:cNvGrpSpPr/>
          <p:nvPr/>
        </p:nvGrpSpPr>
        <p:grpSpPr>
          <a:xfrm>
            <a:off x="3072097" y="1899681"/>
            <a:ext cx="4993673" cy="402300"/>
            <a:chOff x="3072098" y="2321744"/>
            <a:chExt cx="4993673" cy="402300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5CCA57C4-1854-45F3-AFAC-7CE9622ABC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72098" y="2525250"/>
              <a:ext cx="4993673" cy="0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782CB59-DCB4-4DBD-B20F-EE1D0918A989}"/>
                </a:ext>
              </a:extLst>
            </p:cNvPr>
            <p:cNvSpPr/>
            <p:nvPr/>
          </p:nvSpPr>
          <p:spPr>
            <a:xfrm>
              <a:off x="4932767" y="2321744"/>
              <a:ext cx="1359774" cy="4023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Rule data</a:t>
              </a:r>
              <a:endParaRPr lang="da-DK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D6150DE-5777-4336-B939-37E04B32C3F0}"/>
              </a:ext>
            </a:extLst>
          </p:cNvPr>
          <p:cNvGrpSpPr/>
          <p:nvPr/>
        </p:nvGrpSpPr>
        <p:grpSpPr>
          <a:xfrm>
            <a:off x="3072098" y="2826224"/>
            <a:ext cx="4993673" cy="402300"/>
            <a:chOff x="3072098" y="2321744"/>
            <a:chExt cx="4993673" cy="402300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53A3316D-DEC6-4D8F-953D-DE5FD1C346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72098" y="2525250"/>
              <a:ext cx="4993673" cy="0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77CAFC2-9FD6-4A03-98C0-0F97C73246D8}"/>
                </a:ext>
              </a:extLst>
            </p:cNvPr>
            <p:cNvSpPr/>
            <p:nvPr/>
          </p:nvSpPr>
          <p:spPr>
            <a:xfrm>
              <a:off x="4932767" y="2321744"/>
              <a:ext cx="1359774" cy="4023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Layout</a:t>
              </a:r>
              <a:endParaRPr lang="da-DK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E394D0B1-F12E-40B1-9EFE-BE460433D4D3}"/>
              </a:ext>
            </a:extLst>
          </p:cNvPr>
          <p:cNvSpPr/>
          <p:nvPr/>
        </p:nvSpPr>
        <p:spPr>
          <a:xfrm>
            <a:off x="6954451" y="5947221"/>
            <a:ext cx="2748414" cy="818314"/>
          </a:xfrm>
          <a:prstGeom prst="wedgeRoundRectCallout">
            <a:avLst>
              <a:gd name="adj1" fmla="val -76779"/>
              <a:gd name="adj2" fmla="val 7609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ithub.com/</a:t>
            </a:r>
            <a:r>
              <a:rPr lang="en-US" dirty="0" err="1">
                <a:solidFill>
                  <a:schemeClr val="tx1"/>
                </a:solidFill>
              </a:rPr>
              <a:t>LexiFi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csml</a:t>
            </a:r>
            <a:endParaRPr lang="da-DK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808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064F15-C23A-4CA7-8C02-89B694F17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e speak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18331E-4B79-4ADA-A246-942E56E796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b="1" dirty="0"/>
              <a:t>ITU </a:t>
            </a:r>
            <a:r>
              <a:rPr lang="da-DK" b="1" dirty="0" err="1"/>
              <a:t>alumn</a:t>
            </a:r>
            <a:endParaRPr lang="da-DK" b="1" dirty="0"/>
          </a:p>
          <a:p>
            <a:pPr lvl="1"/>
            <a:r>
              <a:rPr lang="da-DK" dirty="0" err="1"/>
              <a:t>M.Sc</a:t>
            </a:r>
            <a:r>
              <a:rPr lang="da-DK" dirty="0"/>
              <a:t>. in Software Development (2014)</a:t>
            </a:r>
          </a:p>
          <a:p>
            <a:pPr lvl="1"/>
            <a:r>
              <a:rPr lang="da-DK" dirty="0" err="1"/>
              <a:t>Ph.D.</a:t>
            </a:r>
            <a:r>
              <a:rPr lang="da-DK" dirty="0"/>
              <a:t> on parallel, </a:t>
            </a:r>
            <a:r>
              <a:rPr lang="da-DK" dirty="0" err="1"/>
              <a:t>functional</a:t>
            </a:r>
            <a:r>
              <a:rPr lang="da-DK" dirty="0"/>
              <a:t> </a:t>
            </a:r>
            <a:r>
              <a:rPr lang="da-DK" dirty="0" err="1"/>
              <a:t>programming</a:t>
            </a:r>
            <a:r>
              <a:rPr lang="da-DK" dirty="0"/>
              <a:t> (2018)</a:t>
            </a:r>
          </a:p>
          <a:p>
            <a:pPr lvl="2"/>
            <a:r>
              <a:rPr lang="en-US" dirty="0"/>
              <a:t>“Data Parallel Spreadsheet Programming”</a:t>
            </a:r>
          </a:p>
          <a:p>
            <a:r>
              <a:rPr lang="en-US" b="1" dirty="0"/>
              <a:t>Developer at </a:t>
            </a:r>
            <a:r>
              <a:rPr lang="en-US" b="1" dirty="0" err="1"/>
              <a:t>SimCorp</a:t>
            </a:r>
            <a:r>
              <a:rPr lang="en-US" b="1" dirty="0"/>
              <a:t> since August 2018</a:t>
            </a:r>
          </a:p>
          <a:p>
            <a:pPr lvl="1"/>
            <a:r>
              <a:rPr lang="en-US" dirty="0"/>
              <a:t>IBOR Agile Release Train</a:t>
            </a:r>
          </a:p>
          <a:p>
            <a:pPr lvl="1"/>
            <a:r>
              <a:rPr lang="en-US" dirty="0"/>
              <a:t>C# and </a:t>
            </a:r>
            <a:r>
              <a:rPr lang="en-US" dirty="0" err="1"/>
              <a:t>OCaml</a:t>
            </a:r>
            <a:endParaRPr lang="en-US" dirty="0"/>
          </a:p>
          <a:p>
            <a:pPr lvl="1"/>
            <a:r>
              <a:rPr lang="en-US" dirty="0"/>
              <a:t>Financial contracts, derivatives, OTC</a:t>
            </a:r>
            <a:endParaRPr lang="da-DK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925DFF-3C48-42DF-BEAB-5433F56F4A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Florian Biermann</a:t>
            </a:r>
            <a:endParaRPr lang="da-DK" dirty="0"/>
          </a:p>
        </p:txBody>
      </p:sp>
      <p:pic>
        <p:nvPicPr>
          <p:cNvPr id="7" name="Picture 6" descr="Racket logo">
            <a:extLst>
              <a:ext uri="{FF2B5EF4-FFF2-40B4-BE49-F238E27FC236}">
                <a16:creationId xmlns:a16="http://schemas.microsoft.com/office/drawing/2014/main" id="{9631AD32-5699-4FEA-8D76-0AEC496B84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7473" y="4518837"/>
            <a:ext cx="1352778" cy="1352778"/>
          </a:xfrm>
          <a:prstGeom prst="rect">
            <a:avLst/>
          </a:prstGeom>
        </p:spPr>
      </p:pic>
      <p:pic>
        <p:nvPicPr>
          <p:cNvPr id="8" name="Picture 7" descr="F# logo">
            <a:extLst>
              <a:ext uri="{FF2B5EF4-FFF2-40B4-BE49-F238E27FC236}">
                <a16:creationId xmlns:a16="http://schemas.microsoft.com/office/drawing/2014/main" id="{616A5E6D-F348-4CF1-B2DF-DA2306047C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771" y="2235747"/>
            <a:ext cx="1668182" cy="1668182"/>
          </a:xfrm>
          <a:prstGeom prst="rect">
            <a:avLst/>
          </a:prstGeom>
        </p:spPr>
      </p:pic>
      <p:pic>
        <p:nvPicPr>
          <p:cNvPr id="9" name="Picture 8" descr="OCaml logo">
            <a:extLst>
              <a:ext uri="{FF2B5EF4-FFF2-40B4-BE49-F238E27FC236}">
                <a16:creationId xmlns:a16="http://schemas.microsoft.com/office/drawing/2014/main" id="{7FB5C72C-1D7B-40C9-805A-F9A5D7744E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8176"/>
          <a:stretch/>
        </p:blipFill>
        <p:spPr>
          <a:xfrm>
            <a:off x="8317943" y="553453"/>
            <a:ext cx="1491838" cy="1288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667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68AC7-ACAF-4443-8247-BDA4B2813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adic Rule API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D00F78-2C38-42D3-9566-472AD70EA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695C99-6600-463B-8E66-7C236E5ED5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Built-In FFI Requires Deferral of Computations</a:t>
            </a:r>
            <a:endParaRPr lang="da-D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316B32-6154-40B9-B904-3583629C7DD2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err="1"/>
              <a:t>MLFi</a:t>
            </a:r>
            <a:r>
              <a:rPr lang="en-US" dirty="0"/>
              <a:t> run-time is not reentrant.</a:t>
            </a:r>
          </a:p>
          <a:p>
            <a:r>
              <a:rPr lang="en-US" dirty="0"/>
              <a:t>Data base access &amp; FFI calls are bottlenecks.</a:t>
            </a:r>
          </a:p>
          <a:p>
            <a:r>
              <a:rPr lang="en-US" dirty="0"/>
              <a:t>Defer computations, allows for optimizations.</a:t>
            </a:r>
            <a:endParaRPr lang="da-DK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FC0DE75-DCAE-452D-9080-5B706B9D27E1}"/>
              </a:ext>
            </a:extLst>
          </p:cNvPr>
          <p:cNvSpPr/>
          <p:nvPr/>
        </p:nvSpPr>
        <p:spPr>
          <a:xfrm>
            <a:off x="1852274" y="3110330"/>
            <a:ext cx="847248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n-NO" sz="1600" dirty="0">
                <a:solidFill>
                  <a:schemeClr val="accent1"/>
                </a:solidFill>
                <a:latin typeface="Consolas" panose="020B0609020204030204" pitchFamily="49" charset="0"/>
              </a:rPr>
              <a:t>module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nn-NO" sz="1600" dirty="0">
                <a:latin typeface="Consolas" panose="020B0609020204030204" pitchFamily="49" charset="0"/>
              </a:rPr>
              <a:t>Rules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: </a:t>
            </a:r>
            <a:r>
              <a:rPr lang="nn-NO" sz="1600" dirty="0">
                <a:solidFill>
                  <a:schemeClr val="accent1"/>
                </a:solidFill>
                <a:latin typeface="Consolas" panose="020B0609020204030204" pitchFamily="49" charset="0"/>
              </a:rPr>
              <a:t>sig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=</a:t>
            </a:r>
          </a:p>
          <a:p>
            <a:endParaRPr lang="nn-NO" sz="1600" dirty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  <a:r>
              <a:rPr lang="nn-NO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nn-NO" sz="16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nn-NO" sz="1600" dirty="0">
                <a:solidFill>
                  <a:srgbClr val="000000"/>
                </a:solidFill>
                <a:latin typeface="Consolas" panose="020B0609020204030204" pitchFamily="49" charset="0"/>
              </a:rPr>
              <a:t>update_m 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fields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b)fields -&gt; ('a -&gt; 'b m) -&gt; 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t</a:t>
            </a:r>
          </a:p>
          <a:p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en-US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update   :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a)fields -&gt; (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,'b)fields -&gt; ('a -&gt; 'b)   -&gt; '</a:t>
            </a:r>
            <a:r>
              <a:rPr lang="en-US" sz="1600" dirty="0" err="1">
                <a:solidFill>
                  <a:srgbClr val="000000"/>
                </a:solidFill>
                <a:latin typeface="Consolas" panose="020B0609020204030204" pitchFamily="49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 t</a:t>
            </a:r>
          </a:p>
          <a:p>
            <a:endParaRPr lang="da-DK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end</a:t>
            </a:r>
            <a:r>
              <a:rPr lang="da-DK" sz="1600" dirty="0">
                <a:latin typeface="Consolas" panose="020B0609020204030204" pitchFamily="49" charset="0"/>
              </a:rPr>
              <a:t> = </a:t>
            </a:r>
            <a:r>
              <a:rPr lang="da-DK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struct</a:t>
            </a:r>
            <a:endParaRPr lang="da-DK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endParaRPr lang="da-DK" sz="1600" dirty="0">
              <a:solidFill>
                <a:schemeClr val="accent1"/>
              </a:solidFill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  let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update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src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tgt</a:t>
            </a:r>
            <a:r>
              <a:rPr lang="da-DK" sz="1600" dirty="0">
                <a:latin typeface="Consolas" panose="020B0609020204030204" pitchFamily="49" charset="0"/>
              </a:rPr>
              <a:t> f =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  </a:t>
            </a:r>
            <a:r>
              <a:rPr lang="da-DK" sz="1600" dirty="0" err="1">
                <a:latin typeface="Consolas" panose="020B0609020204030204" pitchFamily="49" charset="0"/>
              </a:rPr>
              <a:t>update_m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src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tgt</a:t>
            </a:r>
            <a:r>
              <a:rPr lang="da-DK" sz="1600" dirty="0">
                <a:latin typeface="Consolas" panose="020B0609020204030204" pitchFamily="49" charset="0"/>
              </a:rPr>
              <a:t> (</a:t>
            </a:r>
            <a:r>
              <a:rPr lang="da-DK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fun</a:t>
            </a:r>
            <a:r>
              <a:rPr lang="da-DK" sz="1600" dirty="0">
                <a:latin typeface="Consolas" panose="020B0609020204030204" pitchFamily="49" charset="0"/>
              </a:rPr>
              <a:t> x -&gt; </a:t>
            </a:r>
            <a:r>
              <a:rPr lang="da-DK" sz="1600" dirty="0" err="1">
                <a:latin typeface="Consolas" panose="020B0609020204030204" pitchFamily="49" charset="0"/>
              </a:rPr>
              <a:t>return</a:t>
            </a:r>
            <a:r>
              <a:rPr lang="da-DK" sz="1600" dirty="0">
                <a:latin typeface="Consolas" panose="020B0609020204030204" pitchFamily="49" charset="0"/>
              </a:rPr>
              <a:t> (f x))</a:t>
            </a:r>
          </a:p>
          <a:p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end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9D0D8D0B-6DAB-448C-9387-34E46D03AC1B}"/>
              </a:ext>
            </a:extLst>
          </p:cNvPr>
          <p:cNvSpPr/>
          <p:nvPr/>
        </p:nvSpPr>
        <p:spPr>
          <a:xfrm>
            <a:off x="7635240" y="1943100"/>
            <a:ext cx="2171700" cy="1004776"/>
          </a:xfrm>
          <a:prstGeom prst="wedgeRoundRectCallout">
            <a:avLst>
              <a:gd name="adj1" fmla="val 1255"/>
              <a:gd name="adj2" fmla="val 12013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onadic type </a:t>
            </a:r>
            <a:r>
              <a:rPr lang="en-US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a m</a:t>
            </a:r>
            <a:r>
              <a:rPr lang="en-US" sz="1600" dirty="0">
                <a:solidFill>
                  <a:schemeClr val="tx1"/>
                </a:solidFill>
              </a:rPr>
              <a:t>!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A0A8E816-4360-4B70-8349-2F1A7EF10E10}"/>
              </a:ext>
            </a:extLst>
          </p:cNvPr>
          <p:cNvSpPr/>
          <p:nvPr/>
        </p:nvSpPr>
        <p:spPr>
          <a:xfrm>
            <a:off x="5775960" y="5818503"/>
            <a:ext cx="3131820" cy="742320"/>
          </a:xfrm>
          <a:prstGeom prst="wedgeRoundRectCallout">
            <a:avLst>
              <a:gd name="adj1" fmla="val -48953"/>
              <a:gd name="adj2" fmla="val -11184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err="1">
                <a:solidFill>
                  <a:schemeClr val="tx1"/>
                </a:solidFill>
                <a:latin typeface="Consolas" panose="020B0609020204030204" pitchFamily="49" charset="0"/>
              </a:rPr>
              <a:t>val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return :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a -&gt; </a:t>
            </a:r>
            <a:r>
              <a:rPr lang="en-US" sz="1600" dirty="0">
                <a:solidFill>
                  <a:srgbClr val="000000"/>
                </a:solidFill>
                <a:latin typeface="Consolas" panose="020B0609020204030204" pitchFamily="49" charset="0"/>
              </a:rPr>
              <a:t>'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a m</a:t>
            </a:r>
            <a:endParaRPr lang="da-DK" sz="1600" dirty="0" err="1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860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18D9A-0C16-4D8C-A515-23D39765A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eparation of </a:t>
            </a:r>
            <a:r>
              <a:rPr lang="da-DK" dirty="0" err="1"/>
              <a:t>ConCerns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B114B6-32D4-41D6-A4A6-73AA2CDAB6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A154DD-7151-498F-B182-4432FB966B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GUI Layout Generation Via Layout AP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A55C85-4A46-4B35-A2C7-D95CFA49309F}"/>
              </a:ext>
            </a:extLst>
          </p:cNvPr>
          <p:cNvSpPr/>
          <p:nvPr/>
        </p:nvSpPr>
        <p:spPr>
          <a:xfrm>
            <a:off x="672000" y="1625226"/>
            <a:ext cx="766187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latin typeface="Consolas" panose="020B0609020204030204" pitchFamily="49" charset="0"/>
              </a:rPr>
              <a:t> base = </a:t>
            </a:r>
            <a:r>
              <a:rPr lang="da-DK" sz="1600" dirty="0" err="1">
                <a:latin typeface="Consolas" panose="020B0609020204030204" pitchFamily="49" charset="0"/>
              </a:rPr>
              <a:t>Number</a:t>
            </a:r>
            <a:r>
              <a:rPr lang="da-DK" sz="1600" dirty="0">
                <a:latin typeface="Consolas" panose="020B0609020204030204" pitchFamily="49" charset="0"/>
              </a:rPr>
              <a:t> | Button | </a:t>
            </a:r>
            <a:r>
              <a:rPr lang="da-DK" sz="1600" dirty="0" err="1">
                <a:latin typeface="Consolas" panose="020B0609020204030204" pitchFamily="49" charset="0"/>
              </a:rPr>
              <a:t>CheckBox</a:t>
            </a:r>
            <a:r>
              <a:rPr lang="da-DK" sz="1600" dirty="0">
                <a:latin typeface="Consolas" panose="020B0609020204030204" pitchFamily="49" charset="0"/>
              </a:rPr>
              <a:t> | </a:t>
            </a:r>
            <a:r>
              <a:rPr lang="da-DK" sz="1600" dirty="0" err="1">
                <a:latin typeface="Consolas" panose="020B0609020204030204" pitchFamily="49" charset="0"/>
              </a:rPr>
              <a:t>TextBox</a:t>
            </a:r>
            <a:r>
              <a:rPr lang="da-DK" sz="1600" dirty="0">
                <a:latin typeface="Consolas" panose="020B0609020204030204" pitchFamily="49" charset="0"/>
              </a:rPr>
              <a:t> | Date | </a:t>
            </a:r>
            <a:r>
              <a:rPr lang="da-DK" sz="1600" dirty="0" err="1">
                <a:latin typeface="Consolas" panose="020B0609020204030204" pitchFamily="49" charset="0"/>
              </a:rPr>
              <a:t>DropDown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latin typeface="Consolas" panose="020B0609020204030204" pitchFamily="49" charset="0"/>
              </a:rPr>
              <a:t>  </a:t>
            </a:r>
          </a:p>
          <a:p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da-DK" sz="1600" dirty="0">
                <a:latin typeface="Consolas" panose="020B0609020204030204" pitchFamily="49" charset="0"/>
              </a:rPr>
              <a:t> ‘p t =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Pick</a:t>
            </a:r>
            <a:r>
              <a:rPr lang="da-DK" sz="1600" dirty="0">
                <a:latin typeface="Consolas" panose="020B0609020204030204" pitchFamily="49" charset="0"/>
              </a:rPr>
              <a:t>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access_path</a:t>
            </a:r>
            <a:r>
              <a:rPr lang="da-DK" sz="1600" dirty="0">
                <a:latin typeface="Consolas" panose="020B0609020204030204" pitchFamily="49" charset="0"/>
              </a:rPr>
              <a:t> * </a:t>
            </a:r>
            <a:r>
              <a:rPr lang="da-DK" sz="1600" dirty="0" err="1">
                <a:latin typeface="Consolas" panose="020B0609020204030204" pitchFamily="49" charset="0"/>
              </a:rPr>
              <a:t>string</a:t>
            </a:r>
            <a:r>
              <a:rPr lang="da-DK" sz="1600" dirty="0">
                <a:latin typeface="Consolas" panose="020B0609020204030204" pitchFamily="49" charset="0"/>
              </a:rPr>
              <a:t> option * base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Hseq</a:t>
            </a:r>
            <a:r>
              <a:rPr lang="da-DK" sz="1600" dirty="0">
                <a:latin typeface="Consolas" panose="020B0609020204030204" pitchFamily="49" charset="0"/>
              </a:rPr>
              <a:t>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'p t * ‘p t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Vseq</a:t>
            </a:r>
            <a:r>
              <a:rPr lang="da-DK" sz="1600" dirty="0">
                <a:latin typeface="Consolas" panose="020B0609020204030204" pitchFamily="49" charset="0"/>
              </a:rPr>
              <a:t>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'p t * 'p t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Halign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halign</a:t>
            </a:r>
            <a:r>
              <a:rPr lang="da-DK" sz="1600" dirty="0">
                <a:latin typeface="Consolas" panose="020B0609020204030204" pitchFamily="49" charset="0"/>
              </a:rPr>
              <a:t> * 'p t 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Valign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valign</a:t>
            </a:r>
            <a:r>
              <a:rPr lang="da-DK" sz="1600" dirty="0">
                <a:latin typeface="Consolas" panose="020B0609020204030204" pitchFamily="49" charset="0"/>
              </a:rPr>
              <a:t> * 'p t</a:t>
            </a: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Text</a:t>
            </a:r>
            <a:r>
              <a:rPr lang="da-DK" sz="1600" dirty="0">
                <a:latin typeface="Consolas" panose="020B0609020204030204" pitchFamily="49" charset="0"/>
              </a:rPr>
              <a:t>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string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latin typeface="Consolas" panose="020B0609020204030204" pitchFamily="49" charset="0"/>
              </a:rPr>
              <a:t>NamedButton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string</a:t>
            </a:r>
            <a:endParaRPr lang="da-DK" sz="1600" dirty="0">
              <a:latin typeface="Consolas" panose="020B0609020204030204" pitchFamily="49" charset="0"/>
            </a:endParaRPr>
          </a:p>
          <a:p>
            <a:r>
              <a:rPr lang="da-DK" sz="1600" dirty="0">
                <a:latin typeface="Consolas" panose="020B0609020204030204" pitchFamily="49" charset="0"/>
              </a:rPr>
              <a:t>  | Box   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da-DK" sz="1600" dirty="0">
                <a:latin typeface="Consolas" panose="020B0609020204030204" pitchFamily="49" charset="0"/>
              </a:rPr>
              <a:t> </a:t>
            </a:r>
            <a:r>
              <a:rPr lang="da-DK" sz="1600" dirty="0" err="1">
                <a:latin typeface="Consolas" panose="020B0609020204030204" pitchFamily="49" charset="0"/>
              </a:rPr>
              <a:t>string</a:t>
            </a:r>
            <a:r>
              <a:rPr lang="da-DK" sz="1600" dirty="0">
                <a:latin typeface="Consolas" panose="020B0609020204030204" pitchFamily="49" charset="0"/>
              </a:rPr>
              <a:t> * ‘p t</a:t>
            </a:r>
          </a:p>
          <a:p>
            <a:endParaRPr lang="da-DK" sz="1600" dirty="0">
              <a:latin typeface="Consolas" panose="020B0609020204030204" pitchFamily="49" charset="0"/>
            </a:endParaRPr>
          </a:p>
          <a:p>
            <a:endParaRPr lang="da-DK" sz="1600" dirty="0">
              <a:latin typeface="Consolas" panose="020B0609020204030204" pitchFamily="49" charset="0"/>
            </a:endParaRPr>
          </a:p>
          <a:p>
            <a:endParaRPr lang="da-DK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latin typeface="Consolas" panose="020B0609020204030204" pitchFamily="49" charset="0"/>
              </a:rPr>
              <a:t> layout =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 open</a:t>
            </a:r>
            <a:r>
              <a:rPr lang="en-US" sz="1600" dirty="0">
                <a:latin typeface="Consolas" panose="020B0609020204030204" pitchFamily="49" charset="0"/>
              </a:rPr>
              <a:t> Layout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in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box </a:t>
            </a:r>
            <a:r>
              <a:rPr lang="en-US" sz="1600" dirty="0">
                <a:solidFill>
                  <a:schemeClr val="accent5"/>
                </a:solidFill>
                <a:latin typeface="Consolas" panose="020B0609020204030204" pitchFamily="49" charset="0"/>
              </a:rPr>
              <a:t>"Factorial"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      (</a:t>
            </a:r>
            <a:r>
              <a:rPr lang="en-US" sz="1600" dirty="0" err="1">
                <a:latin typeface="Consolas" panose="020B0609020204030204" pitchFamily="49" charset="0"/>
              </a:rPr>
              <a:t>lpick</a:t>
            </a:r>
            <a:r>
              <a:rPr lang="en-US" sz="1600" dirty="0">
                <a:latin typeface="Consolas" panose="020B0609020204030204" pitchFamily="49" charset="0"/>
              </a:rPr>
              <a:t> (.number) % </a:t>
            </a:r>
            <a:r>
              <a:rPr lang="en-US" sz="1600" dirty="0" err="1">
                <a:latin typeface="Consolas" panose="020B0609020204030204" pitchFamily="49" charset="0"/>
              </a:rPr>
              <a:t>lpick</a:t>
            </a:r>
            <a:r>
              <a:rPr lang="en-US" sz="1600" dirty="0">
                <a:latin typeface="Consolas" panose="020B0609020204030204" pitchFamily="49" charset="0"/>
              </a:rPr>
              <a:t> (.result))</a:t>
            </a:r>
            <a:endParaRPr lang="da-DK" sz="1600" dirty="0">
              <a:latin typeface="Consolas" panose="020B0609020204030204" pitchFamily="49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E5BC20-2202-4985-A0F0-1A07F661B7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1" t="7885" r="-121"/>
          <a:stretch/>
        </p:blipFill>
        <p:spPr>
          <a:xfrm>
            <a:off x="5536194" y="4900960"/>
            <a:ext cx="6521094" cy="959533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73A71E24-D399-46F5-A530-F970F0E3D8C6}"/>
              </a:ext>
            </a:extLst>
          </p:cNvPr>
          <p:cNvSpPr/>
          <p:nvPr/>
        </p:nvSpPr>
        <p:spPr>
          <a:xfrm>
            <a:off x="3682496" y="5067955"/>
            <a:ext cx="1852863" cy="625542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327A57B3-7474-499E-80E9-581AC33E71EE}"/>
              </a:ext>
            </a:extLst>
          </p:cNvPr>
          <p:cNvSpPr/>
          <p:nvPr/>
        </p:nvSpPr>
        <p:spPr>
          <a:xfrm>
            <a:off x="4626404" y="2717050"/>
            <a:ext cx="4237470" cy="631725"/>
          </a:xfrm>
          <a:prstGeom prst="wedgeRoundRectCallout">
            <a:avLst>
              <a:gd name="adj1" fmla="val -68930"/>
              <a:gd name="adj2" fmla="val 37450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onsolas" panose="020B0609020204030204" pitchFamily="49" charset="0"/>
              </a:rPr>
              <a:t>type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halign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= Left | Center | Right</a:t>
            </a:r>
            <a:endParaRPr lang="da-DK" sz="1600" dirty="0" err="1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16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7EB80-4E20-4D1E-A3B6-0FE5DDE4B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Well Does This Work In Practice?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E9E1980-FB70-436F-A963-E3EDB3B3C5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99D726-9160-41E9-971C-A02AF35029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High Re-Use, Fast Time-To-Market</a:t>
            </a:r>
            <a:endParaRPr lang="da-DK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9AB8D5-3FA1-47EF-B77A-5214C48F58E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71513" y="1620838"/>
            <a:ext cx="5340350" cy="4568825"/>
          </a:xfrm>
        </p:spPr>
        <p:txBody>
          <a:bodyPr/>
          <a:lstStyle/>
          <a:p>
            <a:r>
              <a:rPr lang="en-US" sz="2000" dirty="0"/>
              <a:t>Plug-in system using </a:t>
            </a:r>
            <a:r>
              <a:rPr lang="en-US" sz="2000" dirty="0" err="1"/>
              <a:t>OCaml</a:t>
            </a:r>
            <a:r>
              <a:rPr lang="en-US" sz="2000" dirty="0"/>
              <a:t> </a:t>
            </a:r>
            <a:r>
              <a:rPr lang="en-US" sz="2000" dirty="0" err="1"/>
              <a:t>Functors</a:t>
            </a:r>
            <a:r>
              <a:rPr lang="en-US" sz="2000" dirty="0"/>
              <a:t>:</a:t>
            </a:r>
          </a:p>
          <a:p>
            <a:pPr lvl="1"/>
            <a:r>
              <a:rPr lang="en-US" dirty="0"/>
              <a:t>A system to generate modules from other modules.</a:t>
            </a:r>
          </a:p>
          <a:p>
            <a:pPr lvl="1"/>
            <a:r>
              <a:rPr lang="en-US" dirty="0"/>
              <a:t>Highly composable, type safe, no run-time overhead.</a:t>
            </a:r>
          </a:p>
          <a:p>
            <a:pPr lvl="1"/>
            <a:r>
              <a:rPr lang="en-US" dirty="0"/>
              <a:t>Rule composition possible thanks to purity!</a:t>
            </a:r>
          </a:p>
          <a:p>
            <a:endParaRPr lang="en-US" dirty="0"/>
          </a:p>
          <a:p>
            <a:r>
              <a:rPr lang="en-US" sz="2000" dirty="0"/>
              <a:t>Many business rules are generic!</a:t>
            </a:r>
          </a:p>
          <a:p>
            <a:pPr lvl="1"/>
            <a:r>
              <a:rPr lang="da-DK" dirty="0" err="1"/>
              <a:t>E.g</a:t>
            </a:r>
            <a:r>
              <a:rPr lang="da-DK" dirty="0"/>
              <a:t>. business </a:t>
            </a:r>
            <a:r>
              <a:rPr lang="da-DK" dirty="0" err="1"/>
              <a:t>calendar</a:t>
            </a:r>
            <a:r>
              <a:rPr lang="da-DK" dirty="0"/>
              <a:t> </a:t>
            </a:r>
            <a:r>
              <a:rPr lang="da-DK" dirty="0" err="1"/>
              <a:t>functionality</a:t>
            </a:r>
            <a:r>
              <a:rPr lang="da-DK" dirty="0"/>
              <a:t>.</a:t>
            </a:r>
          </a:p>
          <a:p>
            <a:pPr lvl="1"/>
            <a:r>
              <a:rPr lang="da-DK" dirty="0"/>
              <a:t>Financial instruments </a:t>
            </a:r>
            <a:r>
              <a:rPr lang="da-DK" dirty="0" err="1"/>
              <a:t>differ</a:t>
            </a:r>
            <a:r>
              <a:rPr lang="da-DK" dirty="0"/>
              <a:t> </a:t>
            </a:r>
            <a:r>
              <a:rPr lang="da-DK" dirty="0" err="1"/>
              <a:t>only</a:t>
            </a:r>
            <a:r>
              <a:rPr lang="da-DK" dirty="0"/>
              <a:t> in </a:t>
            </a:r>
            <a:r>
              <a:rPr lang="da-DK" dirty="0" err="1"/>
              <a:t>few</a:t>
            </a:r>
            <a:r>
              <a:rPr lang="da-DK" dirty="0"/>
              <a:t> </a:t>
            </a:r>
            <a:r>
              <a:rPr lang="da-DK" dirty="0" err="1"/>
              <a:t>places</a:t>
            </a:r>
            <a:r>
              <a:rPr lang="da-DK" dirty="0"/>
              <a:t>.</a:t>
            </a:r>
          </a:p>
          <a:p>
            <a:endParaRPr lang="da-DK" dirty="0"/>
          </a:p>
          <a:p>
            <a:r>
              <a:rPr lang="da-DK" sz="2000" dirty="0"/>
              <a:t>Re-</a:t>
            </a:r>
            <a:r>
              <a:rPr lang="da-DK" sz="2000" dirty="0" err="1"/>
              <a:t>use</a:t>
            </a:r>
            <a:r>
              <a:rPr lang="da-DK" sz="2000" dirty="0"/>
              <a:t> factor for business </a:t>
            </a:r>
            <a:r>
              <a:rPr lang="da-DK" sz="2000" dirty="0" err="1"/>
              <a:t>rules</a:t>
            </a:r>
            <a:r>
              <a:rPr lang="da-DK" sz="2000" dirty="0"/>
              <a:t> is </a:t>
            </a:r>
            <a:r>
              <a:rPr lang="da-DK" sz="2800" b="1" dirty="0"/>
              <a:t>~10</a:t>
            </a:r>
            <a:endParaRPr lang="da-DK" sz="2000" b="1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C03DF5-8D7B-4260-AF2F-AFB978D44BD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25389" y="2568957"/>
            <a:ext cx="4657892" cy="187634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a-DK" sz="2000" b="1" dirty="0"/>
              <a:t>274</a:t>
            </a:r>
            <a:r>
              <a:rPr lang="en-US" sz="2000" b="1" dirty="0"/>
              <a:t>’</a:t>
            </a:r>
            <a:r>
              <a:rPr lang="da-DK" sz="2000" b="1" dirty="0"/>
              <a:t>845 </a:t>
            </a:r>
            <a:r>
              <a:rPr lang="da-DK" sz="2000" dirty="0"/>
              <a:t>lines of </a:t>
            </a:r>
            <a:r>
              <a:rPr lang="da-DK" sz="2000" dirty="0" err="1"/>
              <a:t>OCaml</a:t>
            </a:r>
            <a:r>
              <a:rPr lang="da-DK" sz="2000" dirty="0"/>
              <a:t> </a:t>
            </a:r>
            <a:r>
              <a:rPr lang="da-DK" sz="2000" dirty="0" err="1"/>
              <a:t>code</a:t>
            </a:r>
            <a:endParaRPr lang="da-DK" sz="2000" dirty="0"/>
          </a:p>
          <a:p>
            <a:r>
              <a:rPr lang="da-DK" sz="2000" b="1" dirty="0"/>
              <a:t>428’771</a:t>
            </a:r>
            <a:r>
              <a:rPr lang="da-DK" sz="2000" dirty="0"/>
              <a:t> business </a:t>
            </a:r>
            <a:r>
              <a:rPr lang="da-DK" sz="2000" dirty="0" err="1"/>
              <a:t>rules</a:t>
            </a:r>
            <a:r>
              <a:rPr lang="da-DK" sz="2000" dirty="0"/>
              <a:t> in </a:t>
            </a:r>
            <a:r>
              <a:rPr lang="da-DK" sz="2000" dirty="0" err="1"/>
              <a:t>production</a:t>
            </a:r>
            <a:endParaRPr lang="da-DK" sz="2000" dirty="0"/>
          </a:p>
          <a:p>
            <a:r>
              <a:rPr lang="da-DK" sz="2000" b="1" dirty="0"/>
              <a:t>42’132</a:t>
            </a:r>
            <a:r>
              <a:rPr lang="da-DK" sz="2000" dirty="0"/>
              <a:t> </a:t>
            </a:r>
            <a:r>
              <a:rPr lang="da-DK" sz="2000" dirty="0" err="1"/>
              <a:t>unique</a:t>
            </a:r>
            <a:r>
              <a:rPr lang="da-DK" sz="2000" dirty="0"/>
              <a:t> business </a:t>
            </a:r>
            <a:r>
              <a:rPr lang="da-DK" sz="2000" dirty="0" err="1"/>
              <a:t>rules</a:t>
            </a:r>
            <a:endParaRPr lang="da-DK" sz="2000" dirty="0"/>
          </a:p>
          <a:p>
            <a:r>
              <a:rPr lang="da-DK" sz="2000" dirty="0"/>
              <a:t>Over </a:t>
            </a:r>
            <a:r>
              <a:rPr lang="da-DK" sz="2000" b="1" dirty="0"/>
              <a:t>100</a:t>
            </a:r>
            <a:r>
              <a:rPr lang="da-DK" sz="2000" dirty="0"/>
              <a:t> </a:t>
            </a:r>
            <a:r>
              <a:rPr lang="da-DK" sz="2000" dirty="0" err="1"/>
              <a:t>financial</a:t>
            </a:r>
            <a:r>
              <a:rPr lang="da-DK" sz="2000" dirty="0"/>
              <a:t> instruments</a:t>
            </a: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14152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5CC613-CC06-4C82-9A2B-452C43C20D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413D405-3E58-47E3-8433-F399DFC7C37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Functional Programming at </a:t>
            </a:r>
            <a:r>
              <a:rPr lang="en-US" dirty="0" err="1"/>
              <a:t>SimCorp</a:t>
            </a:r>
            <a:endParaRPr lang="da-DK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99AA809-33F7-4996-BA42-5B0E2997D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092589-DB7F-41C6-A0FB-A7CF78D0524E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b="1" dirty="0"/>
              <a:t>Combinator library for modelling financial contracts</a:t>
            </a:r>
          </a:p>
          <a:p>
            <a:pPr lvl="1"/>
            <a:r>
              <a:rPr lang="en-US" dirty="0"/>
              <a:t>Every-day business for us, revolutionary for the finance sector.</a:t>
            </a:r>
          </a:p>
          <a:p>
            <a:pPr lvl="1"/>
            <a:r>
              <a:rPr lang="en-US" dirty="0"/>
              <a:t>Domain experts model contracts.</a:t>
            </a:r>
          </a:p>
          <a:p>
            <a:r>
              <a:rPr lang="en-US" b="1" dirty="0"/>
              <a:t>Declarative business logic for type-safe GUI programming</a:t>
            </a:r>
          </a:p>
          <a:p>
            <a:pPr lvl="1"/>
            <a:r>
              <a:rPr lang="en-US" dirty="0"/>
              <a:t>Similar to constructing a spreadsheet.</a:t>
            </a:r>
          </a:p>
          <a:p>
            <a:pPr lvl="1"/>
            <a:r>
              <a:rPr lang="en-US" dirty="0"/>
              <a:t>Focus on </a:t>
            </a:r>
            <a:r>
              <a:rPr lang="en-US" i="1" dirty="0"/>
              <a:t>what</a:t>
            </a:r>
            <a:r>
              <a:rPr lang="en-US" dirty="0"/>
              <a:t>, not how. </a:t>
            </a:r>
          </a:p>
          <a:p>
            <a:r>
              <a:rPr lang="en-US" b="1" dirty="0"/>
              <a:t>Challenges ahead</a:t>
            </a:r>
          </a:p>
          <a:p>
            <a:pPr lvl="1"/>
            <a:r>
              <a:rPr lang="en-US" dirty="0"/>
              <a:t>You </a:t>
            </a:r>
            <a:r>
              <a:rPr lang="en-US" dirty="0" err="1"/>
              <a:t>gotta</a:t>
            </a:r>
            <a:r>
              <a:rPr lang="en-US" dirty="0"/>
              <a:t> know your stuff: </a:t>
            </a:r>
          </a:p>
          <a:p>
            <a:pPr lvl="2"/>
            <a:r>
              <a:rPr lang="en-US" dirty="0"/>
              <a:t>Polymorphism, existential types, phantom types</a:t>
            </a:r>
          </a:p>
          <a:p>
            <a:pPr lvl="2"/>
            <a:r>
              <a:rPr lang="en-US" dirty="0"/>
              <a:t>Monads &amp; API design</a:t>
            </a:r>
          </a:p>
          <a:p>
            <a:pPr lvl="2"/>
            <a:r>
              <a:rPr lang="en-US" dirty="0"/>
              <a:t>Compositionality &amp; </a:t>
            </a:r>
            <a:r>
              <a:rPr lang="en-US" dirty="0" err="1"/>
              <a:t>catamorphisms</a:t>
            </a:r>
            <a:endParaRPr lang="en-US" dirty="0"/>
          </a:p>
          <a:p>
            <a:pPr marL="198438" lvl="1" indent="0">
              <a:buNone/>
            </a:pPr>
            <a:endParaRPr lang="en-US" dirty="0">
              <a:latin typeface="Consolas" panose="020B0609020204030204" pitchFamily="49" charset="0"/>
            </a:endParaRP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1F2992E1-7022-4A86-A106-84394D6DD687}"/>
              </a:ext>
            </a:extLst>
          </p:cNvPr>
          <p:cNvSpPr/>
          <p:nvPr/>
        </p:nvSpPr>
        <p:spPr>
          <a:xfrm>
            <a:off x="6376737" y="4822430"/>
            <a:ext cx="4034590" cy="1043739"/>
          </a:xfrm>
          <a:prstGeom prst="wedgeRoundRectCallout">
            <a:avLst>
              <a:gd name="adj1" fmla="val -96380"/>
              <a:gd name="adj2" fmla="val 5404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 rec </a:t>
            </a:r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flatten =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unction</a:t>
            </a:r>
          </a:p>
          <a:p>
            <a:r>
              <a:rPr lang="en-US" sz="1600" dirty="0">
                <a:solidFill>
                  <a:schemeClr val="tx1"/>
                </a:solidFill>
                <a:latin typeface="Consolas" panose="020B0609020204030204" pitchFamily="49" charset="0"/>
              </a:rPr>
              <a:t>  | []</a:t>
            </a:r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-&gt; []</a:t>
            </a:r>
          </a:p>
          <a:p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 | </a:t>
            </a:r>
            <a:r>
              <a:rPr lang="da-DK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xs</a:t>
            </a:r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:: </a:t>
            </a:r>
            <a:r>
              <a:rPr lang="da-DK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xxs</a:t>
            </a:r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-&gt; </a:t>
            </a:r>
            <a:r>
              <a:rPr lang="da-DK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xs</a:t>
            </a:r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@ </a:t>
            </a:r>
            <a:r>
              <a:rPr lang="da-DK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flatten</a:t>
            </a:r>
            <a:r>
              <a:rPr lang="da-DK" sz="160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da-DK" sz="1600" dirty="0" err="1">
                <a:solidFill>
                  <a:schemeClr val="tx1"/>
                </a:solidFill>
                <a:latin typeface="Consolas" panose="020B0609020204030204" pitchFamily="49" charset="0"/>
              </a:rPr>
              <a:t>xss</a:t>
            </a:r>
            <a:endParaRPr lang="da-DK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134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1D39F39-8439-4C3D-88BE-B23FC55AB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cap="none" dirty="0"/>
              <a:t>Thank you!</a:t>
            </a:r>
          </a:p>
          <a:p>
            <a:pPr algn="ctr"/>
            <a:endParaRPr lang="en-US" dirty="0"/>
          </a:p>
          <a:p>
            <a:pPr algn="ctr"/>
            <a:r>
              <a:rPr lang="en-US" sz="2400" cap="none" dirty="0"/>
              <a:t>FLBM@SimCorp.com</a:t>
            </a:r>
            <a:endParaRPr lang="da-DK" sz="2400" cap="non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122BD6-4FBF-4387-921E-CFEF3F35A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54719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7203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6" name="Gruppe 4" descr="World map over SimCorp offices.">
            <a:extLst>
              <a:ext uri="{FF2B5EF4-FFF2-40B4-BE49-F238E27FC236}">
                <a16:creationId xmlns:a16="http://schemas.microsoft.com/office/drawing/2014/main" id="{DB5D6C47-7092-4119-A8F2-AE98D7A2E8C4}"/>
              </a:ext>
            </a:extLst>
          </p:cNvPr>
          <p:cNvGrpSpPr/>
          <p:nvPr/>
        </p:nvGrpSpPr>
        <p:grpSpPr>
          <a:xfrm>
            <a:off x="4272940" y="1411429"/>
            <a:ext cx="7769754" cy="3502362"/>
            <a:chOff x="5026478" y="2061826"/>
            <a:chExt cx="6902098" cy="3111250"/>
          </a:xfrm>
        </p:grpSpPr>
        <p:grpSp>
          <p:nvGrpSpPr>
            <p:cNvPr id="207" name="Group 4">
              <a:extLst>
                <a:ext uri="{FF2B5EF4-FFF2-40B4-BE49-F238E27FC236}">
                  <a16:creationId xmlns:a16="http://schemas.microsoft.com/office/drawing/2014/main" id="{2B9495B6-EFF3-45ED-8D5B-888864294265}"/>
                </a:ext>
              </a:extLst>
            </p:cNvPr>
            <p:cNvGrpSpPr/>
            <p:nvPr/>
          </p:nvGrpSpPr>
          <p:grpSpPr>
            <a:xfrm>
              <a:off x="5026478" y="2061826"/>
              <a:ext cx="6902098" cy="3111250"/>
              <a:chOff x="138113" y="1274763"/>
              <a:chExt cx="8916987" cy="4398963"/>
            </a:xfrm>
            <a:solidFill>
              <a:schemeClr val="bg1">
                <a:lumMod val="85000"/>
              </a:schemeClr>
            </a:solidFill>
          </p:grpSpPr>
          <p:sp>
            <p:nvSpPr>
              <p:cNvPr id="228" name="Freeform 6">
                <a:extLst>
                  <a:ext uri="{FF2B5EF4-FFF2-40B4-BE49-F238E27FC236}">
                    <a16:creationId xmlns:a16="http://schemas.microsoft.com/office/drawing/2014/main" id="{E20ED336-E8D0-4A69-9EE6-20ED5549A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450" y="4543425"/>
                <a:ext cx="314325" cy="314325"/>
              </a:xfrm>
              <a:custGeom>
                <a:avLst/>
                <a:gdLst>
                  <a:gd name="T0" fmla="*/ 53 w 143"/>
                  <a:gd name="T1" fmla="*/ 137 h 143"/>
                  <a:gd name="T2" fmla="*/ 59 w 143"/>
                  <a:gd name="T3" fmla="*/ 134 h 143"/>
                  <a:gd name="T4" fmla="*/ 65 w 143"/>
                  <a:gd name="T5" fmla="*/ 142 h 143"/>
                  <a:gd name="T6" fmla="*/ 80 w 143"/>
                  <a:gd name="T7" fmla="*/ 141 h 143"/>
                  <a:gd name="T8" fmla="*/ 87 w 143"/>
                  <a:gd name="T9" fmla="*/ 134 h 143"/>
                  <a:gd name="T10" fmla="*/ 87 w 143"/>
                  <a:gd name="T11" fmla="*/ 60 h 143"/>
                  <a:gd name="T12" fmla="*/ 98 w 143"/>
                  <a:gd name="T13" fmla="*/ 55 h 143"/>
                  <a:gd name="T14" fmla="*/ 98 w 143"/>
                  <a:gd name="T15" fmla="*/ 17 h 143"/>
                  <a:gd name="T16" fmla="*/ 109 w 143"/>
                  <a:gd name="T17" fmla="*/ 15 h 143"/>
                  <a:gd name="T18" fmla="*/ 122 w 143"/>
                  <a:gd name="T19" fmla="*/ 12 h 143"/>
                  <a:gd name="T20" fmla="*/ 128 w 143"/>
                  <a:gd name="T21" fmla="*/ 16 h 143"/>
                  <a:gd name="T22" fmla="*/ 136 w 143"/>
                  <a:gd name="T23" fmla="*/ 11 h 143"/>
                  <a:gd name="T24" fmla="*/ 143 w 143"/>
                  <a:gd name="T25" fmla="*/ 9 h 143"/>
                  <a:gd name="T26" fmla="*/ 142 w 143"/>
                  <a:gd name="T27" fmla="*/ 7 h 143"/>
                  <a:gd name="T28" fmla="*/ 119 w 143"/>
                  <a:gd name="T29" fmla="*/ 9 h 143"/>
                  <a:gd name="T30" fmla="*/ 101 w 143"/>
                  <a:gd name="T31" fmla="*/ 10 h 143"/>
                  <a:gd name="T32" fmla="*/ 76 w 143"/>
                  <a:gd name="T33" fmla="*/ 10 h 143"/>
                  <a:gd name="T34" fmla="*/ 72 w 143"/>
                  <a:gd name="T35" fmla="*/ 6 h 143"/>
                  <a:gd name="T36" fmla="*/ 33 w 143"/>
                  <a:gd name="T37" fmla="*/ 6 h 143"/>
                  <a:gd name="T38" fmla="*/ 23 w 143"/>
                  <a:gd name="T39" fmla="*/ 3 h 143"/>
                  <a:gd name="T40" fmla="*/ 13 w 143"/>
                  <a:gd name="T41" fmla="*/ 2 h 143"/>
                  <a:gd name="T42" fmla="*/ 7 w 143"/>
                  <a:gd name="T43" fmla="*/ 0 h 143"/>
                  <a:gd name="T44" fmla="*/ 4 w 143"/>
                  <a:gd name="T45" fmla="*/ 3 h 143"/>
                  <a:gd name="T46" fmla="*/ 0 w 143"/>
                  <a:gd name="T47" fmla="*/ 4 h 143"/>
                  <a:gd name="T48" fmla="*/ 6 w 143"/>
                  <a:gd name="T49" fmla="*/ 19 h 143"/>
                  <a:gd name="T50" fmla="*/ 17 w 143"/>
                  <a:gd name="T51" fmla="*/ 42 h 143"/>
                  <a:gd name="T52" fmla="*/ 29 w 143"/>
                  <a:gd name="T53" fmla="*/ 65 h 143"/>
                  <a:gd name="T54" fmla="*/ 29 w 143"/>
                  <a:gd name="T55" fmla="*/ 84 h 143"/>
                  <a:gd name="T56" fmla="*/ 33 w 143"/>
                  <a:gd name="T57" fmla="*/ 102 h 143"/>
                  <a:gd name="T58" fmla="*/ 41 w 143"/>
                  <a:gd name="T59" fmla="*/ 129 h 143"/>
                  <a:gd name="T60" fmla="*/ 48 w 143"/>
                  <a:gd name="T61" fmla="*/ 138 h 143"/>
                  <a:gd name="T62" fmla="*/ 53 w 143"/>
                  <a:gd name="T63" fmla="*/ 137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3" h="143">
                    <a:moveTo>
                      <a:pt x="53" y="137"/>
                    </a:moveTo>
                    <a:cubicBezTo>
                      <a:pt x="53" y="135"/>
                      <a:pt x="57" y="130"/>
                      <a:pt x="59" y="134"/>
                    </a:cubicBezTo>
                    <a:cubicBezTo>
                      <a:pt x="62" y="137"/>
                      <a:pt x="61" y="142"/>
                      <a:pt x="65" y="142"/>
                    </a:cubicBezTo>
                    <a:cubicBezTo>
                      <a:pt x="70" y="142"/>
                      <a:pt x="78" y="143"/>
                      <a:pt x="80" y="141"/>
                    </a:cubicBezTo>
                    <a:cubicBezTo>
                      <a:pt x="81" y="139"/>
                      <a:pt x="87" y="138"/>
                      <a:pt x="87" y="134"/>
                    </a:cubicBezTo>
                    <a:cubicBezTo>
                      <a:pt x="87" y="130"/>
                      <a:pt x="87" y="62"/>
                      <a:pt x="87" y="60"/>
                    </a:cubicBezTo>
                    <a:cubicBezTo>
                      <a:pt x="87" y="57"/>
                      <a:pt x="98" y="60"/>
                      <a:pt x="98" y="55"/>
                    </a:cubicBezTo>
                    <a:cubicBezTo>
                      <a:pt x="98" y="51"/>
                      <a:pt x="98" y="17"/>
                      <a:pt x="98" y="17"/>
                    </a:cubicBezTo>
                    <a:cubicBezTo>
                      <a:pt x="98" y="17"/>
                      <a:pt x="107" y="16"/>
                      <a:pt x="109" y="15"/>
                    </a:cubicBezTo>
                    <a:cubicBezTo>
                      <a:pt x="111" y="15"/>
                      <a:pt x="120" y="10"/>
                      <a:pt x="122" y="12"/>
                    </a:cubicBezTo>
                    <a:cubicBezTo>
                      <a:pt x="124" y="13"/>
                      <a:pt x="126" y="18"/>
                      <a:pt x="128" y="16"/>
                    </a:cubicBezTo>
                    <a:cubicBezTo>
                      <a:pt x="129" y="14"/>
                      <a:pt x="132" y="11"/>
                      <a:pt x="136" y="11"/>
                    </a:cubicBezTo>
                    <a:cubicBezTo>
                      <a:pt x="137" y="11"/>
                      <a:pt x="140" y="10"/>
                      <a:pt x="143" y="9"/>
                    </a:cubicBezTo>
                    <a:cubicBezTo>
                      <a:pt x="143" y="8"/>
                      <a:pt x="142" y="8"/>
                      <a:pt x="142" y="7"/>
                    </a:cubicBezTo>
                    <a:cubicBezTo>
                      <a:pt x="142" y="4"/>
                      <a:pt x="122" y="7"/>
                      <a:pt x="119" y="9"/>
                    </a:cubicBezTo>
                    <a:cubicBezTo>
                      <a:pt x="115" y="10"/>
                      <a:pt x="104" y="11"/>
                      <a:pt x="101" y="10"/>
                    </a:cubicBezTo>
                    <a:cubicBezTo>
                      <a:pt x="98" y="8"/>
                      <a:pt x="76" y="10"/>
                      <a:pt x="76" y="10"/>
                    </a:cubicBezTo>
                    <a:cubicBezTo>
                      <a:pt x="72" y="6"/>
                      <a:pt x="72" y="6"/>
                      <a:pt x="72" y="6"/>
                    </a:cubicBezTo>
                    <a:cubicBezTo>
                      <a:pt x="72" y="6"/>
                      <a:pt x="37" y="6"/>
                      <a:pt x="33" y="6"/>
                    </a:cubicBezTo>
                    <a:cubicBezTo>
                      <a:pt x="29" y="6"/>
                      <a:pt x="27" y="5"/>
                      <a:pt x="23" y="3"/>
                    </a:cubicBezTo>
                    <a:cubicBezTo>
                      <a:pt x="20" y="1"/>
                      <a:pt x="16" y="1"/>
                      <a:pt x="13" y="2"/>
                    </a:cubicBezTo>
                    <a:cubicBezTo>
                      <a:pt x="9" y="4"/>
                      <a:pt x="10" y="0"/>
                      <a:pt x="7" y="0"/>
                    </a:cubicBezTo>
                    <a:cubicBezTo>
                      <a:pt x="5" y="0"/>
                      <a:pt x="4" y="3"/>
                      <a:pt x="4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7"/>
                      <a:pt x="3" y="14"/>
                      <a:pt x="6" y="19"/>
                    </a:cubicBezTo>
                    <a:cubicBezTo>
                      <a:pt x="10" y="24"/>
                      <a:pt x="15" y="33"/>
                      <a:pt x="17" y="42"/>
                    </a:cubicBezTo>
                    <a:cubicBezTo>
                      <a:pt x="20" y="50"/>
                      <a:pt x="27" y="59"/>
                      <a:pt x="29" y="65"/>
                    </a:cubicBezTo>
                    <a:cubicBezTo>
                      <a:pt x="31" y="71"/>
                      <a:pt x="28" y="80"/>
                      <a:pt x="29" y="84"/>
                    </a:cubicBezTo>
                    <a:cubicBezTo>
                      <a:pt x="31" y="88"/>
                      <a:pt x="32" y="95"/>
                      <a:pt x="33" y="102"/>
                    </a:cubicBezTo>
                    <a:cubicBezTo>
                      <a:pt x="34" y="109"/>
                      <a:pt x="35" y="123"/>
                      <a:pt x="41" y="129"/>
                    </a:cubicBezTo>
                    <a:cubicBezTo>
                      <a:pt x="43" y="131"/>
                      <a:pt x="46" y="135"/>
                      <a:pt x="48" y="138"/>
                    </a:cubicBezTo>
                    <a:cubicBezTo>
                      <a:pt x="51" y="138"/>
                      <a:pt x="53" y="139"/>
                      <a:pt x="53" y="13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29" name="Freeform 7">
                <a:extLst>
                  <a:ext uri="{FF2B5EF4-FFF2-40B4-BE49-F238E27FC236}">
                    <a16:creationId xmlns:a16="http://schemas.microsoft.com/office/drawing/2014/main" id="{243796F8-6D37-40F8-8552-5B437E054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0775" y="4508500"/>
                <a:ext cx="196850" cy="173038"/>
              </a:xfrm>
              <a:custGeom>
                <a:avLst/>
                <a:gdLst>
                  <a:gd name="T0" fmla="*/ 60 w 90"/>
                  <a:gd name="T1" fmla="*/ 4 h 79"/>
                  <a:gd name="T2" fmla="*/ 58 w 90"/>
                  <a:gd name="T3" fmla="*/ 0 h 79"/>
                  <a:gd name="T4" fmla="*/ 49 w 90"/>
                  <a:gd name="T5" fmla="*/ 1 h 79"/>
                  <a:gd name="T6" fmla="*/ 42 w 90"/>
                  <a:gd name="T7" fmla="*/ 6 h 79"/>
                  <a:gd name="T8" fmla="*/ 32 w 90"/>
                  <a:gd name="T9" fmla="*/ 14 h 79"/>
                  <a:gd name="T10" fmla="*/ 20 w 90"/>
                  <a:gd name="T11" fmla="*/ 27 h 79"/>
                  <a:gd name="T12" fmla="*/ 6 w 90"/>
                  <a:gd name="T13" fmla="*/ 25 h 79"/>
                  <a:gd name="T14" fmla="*/ 0 w 90"/>
                  <a:gd name="T15" fmla="*/ 25 h 79"/>
                  <a:gd name="T16" fmla="*/ 7 w 90"/>
                  <a:gd name="T17" fmla="*/ 32 h 79"/>
                  <a:gd name="T18" fmla="*/ 13 w 90"/>
                  <a:gd name="T19" fmla="*/ 45 h 79"/>
                  <a:gd name="T20" fmla="*/ 24 w 90"/>
                  <a:gd name="T21" fmla="*/ 53 h 79"/>
                  <a:gd name="T22" fmla="*/ 29 w 90"/>
                  <a:gd name="T23" fmla="*/ 62 h 79"/>
                  <a:gd name="T24" fmla="*/ 36 w 90"/>
                  <a:gd name="T25" fmla="*/ 70 h 79"/>
                  <a:gd name="T26" fmla="*/ 44 w 90"/>
                  <a:gd name="T27" fmla="*/ 74 h 79"/>
                  <a:gd name="T28" fmla="*/ 55 w 90"/>
                  <a:gd name="T29" fmla="*/ 76 h 79"/>
                  <a:gd name="T30" fmla="*/ 68 w 90"/>
                  <a:gd name="T31" fmla="*/ 79 h 79"/>
                  <a:gd name="T32" fmla="*/ 79 w 90"/>
                  <a:gd name="T33" fmla="*/ 67 h 79"/>
                  <a:gd name="T34" fmla="*/ 82 w 90"/>
                  <a:gd name="T35" fmla="*/ 56 h 79"/>
                  <a:gd name="T36" fmla="*/ 88 w 90"/>
                  <a:gd name="T37" fmla="*/ 48 h 79"/>
                  <a:gd name="T38" fmla="*/ 85 w 90"/>
                  <a:gd name="T39" fmla="*/ 39 h 79"/>
                  <a:gd name="T40" fmla="*/ 88 w 90"/>
                  <a:gd name="T41" fmla="*/ 29 h 79"/>
                  <a:gd name="T42" fmla="*/ 87 w 90"/>
                  <a:gd name="T43" fmla="*/ 12 h 79"/>
                  <a:gd name="T44" fmla="*/ 74 w 90"/>
                  <a:gd name="T45" fmla="*/ 7 h 79"/>
                  <a:gd name="T46" fmla="*/ 60 w 90"/>
                  <a:gd name="T47" fmla="*/ 4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0" h="79">
                    <a:moveTo>
                      <a:pt x="60" y="4"/>
                    </a:moveTo>
                    <a:cubicBezTo>
                      <a:pt x="58" y="0"/>
                      <a:pt x="58" y="0"/>
                      <a:pt x="58" y="0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42" y="2"/>
                      <a:pt x="42" y="4"/>
                      <a:pt x="42" y="6"/>
                    </a:cubicBezTo>
                    <a:cubicBezTo>
                      <a:pt x="42" y="8"/>
                      <a:pt x="36" y="13"/>
                      <a:pt x="32" y="14"/>
                    </a:cubicBezTo>
                    <a:cubicBezTo>
                      <a:pt x="28" y="16"/>
                      <a:pt x="23" y="26"/>
                      <a:pt x="20" y="27"/>
                    </a:cubicBezTo>
                    <a:cubicBezTo>
                      <a:pt x="18" y="28"/>
                      <a:pt x="9" y="25"/>
                      <a:pt x="6" y="25"/>
                    </a:cubicBezTo>
                    <a:cubicBezTo>
                      <a:pt x="5" y="24"/>
                      <a:pt x="2" y="25"/>
                      <a:pt x="0" y="25"/>
                    </a:cubicBezTo>
                    <a:cubicBezTo>
                      <a:pt x="2" y="28"/>
                      <a:pt x="5" y="32"/>
                      <a:pt x="7" y="32"/>
                    </a:cubicBezTo>
                    <a:cubicBezTo>
                      <a:pt x="8" y="32"/>
                      <a:pt x="9" y="44"/>
                      <a:pt x="13" y="45"/>
                    </a:cubicBezTo>
                    <a:cubicBezTo>
                      <a:pt x="17" y="47"/>
                      <a:pt x="24" y="51"/>
                      <a:pt x="24" y="53"/>
                    </a:cubicBezTo>
                    <a:cubicBezTo>
                      <a:pt x="24" y="56"/>
                      <a:pt x="29" y="58"/>
                      <a:pt x="29" y="62"/>
                    </a:cubicBezTo>
                    <a:cubicBezTo>
                      <a:pt x="29" y="65"/>
                      <a:pt x="33" y="70"/>
                      <a:pt x="36" y="70"/>
                    </a:cubicBezTo>
                    <a:cubicBezTo>
                      <a:pt x="44" y="69"/>
                      <a:pt x="44" y="72"/>
                      <a:pt x="44" y="74"/>
                    </a:cubicBezTo>
                    <a:cubicBezTo>
                      <a:pt x="44" y="76"/>
                      <a:pt x="54" y="74"/>
                      <a:pt x="55" y="76"/>
                    </a:cubicBezTo>
                    <a:cubicBezTo>
                      <a:pt x="56" y="78"/>
                      <a:pt x="66" y="78"/>
                      <a:pt x="68" y="79"/>
                    </a:cubicBezTo>
                    <a:cubicBezTo>
                      <a:pt x="72" y="75"/>
                      <a:pt x="77" y="70"/>
                      <a:pt x="79" y="67"/>
                    </a:cubicBezTo>
                    <a:cubicBezTo>
                      <a:pt x="82" y="63"/>
                      <a:pt x="80" y="58"/>
                      <a:pt x="82" y="56"/>
                    </a:cubicBezTo>
                    <a:cubicBezTo>
                      <a:pt x="85" y="55"/>
                      <a:pt x="90" y="48"/>
                      <a:pt x="88" y="48"/>
                    </a:cubicBezTo>
                    <a:cubicBezTo>
                      <a:pt x="86" y="47"/>
                      <a:pt x="88" y="42"/>
                      <a:pt x="85" y="39"/>
                    </a:cubicBezTo>
                    <a:cubicBezTo>
                      <a:pt x="82" y="36"/>
                      <a:pt x="88" y="35"/>
                      <a:pt x="88" y="29"/>
                    </a:cubicBezTo>
                    <a:cubicBezTo>
                      <a:pt x="87" y="24"/>
                      <a:pt x="89" y="13"/>
                      <a:pt x="87" y="12"/>
                    </a:cubicBezTo>
                    <a:cubicBezTo>
                      <a:pt x="86" y="11"/>
                      <a:pt x="79" y="10"/>
                      <a:pt x="74" y="7"/>
                    </a:cubicBezTo>
                    <a:cubicBezTo>
                      <a:pt x="70" y="4"/>
                      <a:pt x="60" y="4"/>
                      <a:pt x="60" y="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0" name="Freeform 8">
                <a:extLst>
                  <a:ext uri="{FF2B5EF4-FFF2-40B4-BE49-F238E27FC236}">
                    <a16:creationId xmlns:a16="http://schemas.microsoft.com/office/drawing/2014/main" id="{A4986A14-2EC2-41AC-B789-3B4923CD5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4564063"/>
                <a:ext cx="220662" cy="241300"/>
              </a:xfrm>
              <a:custGeom>
                <a:avLst/>
                <a:gdLst>
                  <a:gd name="T0" fmla="*/ 92 w 100"/>
                  <a:gd name="T1" fmla="*/ 45 h 110"/>
                  <a:gd name="T2" fmla="*/ 85 w 100"/>
                  <a:gd name="T3" fmla="*/ 37 h 110"/>
                  <a:gd name="T4" fmla="*/ 80 w 100"/>
                  <a:gd name="T5" fmla="*/ 28 h 110"/>
                  <a:gd name="T6" fmla="*/ 69 w 100"/>
                  <a:gd name="T7" fmla="*/ 20 h 110"/>
                  <a:gd name="T8" fmla="*/ 63 w 100"/>
                  <a:gd name="T9" fmla="*/ 7 h 110"/>
                  <a:gd name="T10" fmla="*/ 56 w 100"/>
                  <a:gd name="T11" fmla="*/ 0 h 110"/>
                  <a:gd name="T12" fmla="*/ 49 w 100"/>
                  <a:gd name="T13" fmla="*/ 2 h 110"/>
                  <a:gd name="T14" fmla="*/ 41 w 100"/>
                  <a:gd name="T15" fmla="*/ 7 h 110"/>
                  <a:gd name="T16" fmla="*/ 35 w 100"/>
                  <a:gd name="T17" fmla="*/ 3 h 110"/>
                  <a:gd name="T18" fmla="*/ 22 w 100"/>
                  <a:gd name="T19" fmla="*/ 6 h 110"/>
                  <a:gd name="T20" fmla="*/ 11 w 100"/>
                  <a:gd name="T21" fmla="*/ 8 h 110"/>
                  <a:gd name="T22" fmla="*/ 11 w 100"/>
                  <a:gd name="T23" fmla="*/ 46 h 110"/>
                  <a:gd name="T24" fmla="*/ 0 w 100"/>
                  <a:gd name="T25" fmla="*/ 51 h 110"/>
                  <a:gd name="T26" fmla="*/ 0 w 100"/>
                  <a:gd name="T27" fmla="*/ 84 h 110"/>
                  <a:gd name="T28" fmla="*/ 5 w 100"/>
                  <a:gd name="T29" fmla="*/ 87 h 110"/>
                  <a:gd name="T30" fmla="*/ 9 w 100"/>
                  <a:gd name="T31" fmla="*/ 100 h 110"/>
                  <a:gd name="T32" fmla="*/ 7 w 100"/>
                  <a:gd name="T33" fmla="*/ 103 h 110"/>
                  <a:gd name="T34" fmla="*/ 9 w 100"/>
                  <a:gd name="T35" fmla="*/ 108 h 110"/>
                  <a:gd name="T36" fmla="*/ 20 w 100"/>
                  <a:gd name="T37" fmla="*/ 107 h 110"/>
                  <a:gd name="T38" fmla="*/ 30 w 100"/>
                  <a:gd name="T39" fmla="*/ 95 h 110"/>
                  <a:gd name="T40" fmla="*/ 38 w 100"/>
                  <a:gd name="T41" fmla="*/ 89 h 110"/>
                  <a:gd name="T42" fmla="*/ 51 w 100"/>
                  <a:gd name="T43" fmla="*/ 94 h 110"/>
                  <a:gd name="T44" fmla="*/ 62 w 100"/>
                  <a:gd name="T45" fmla="*/ 89 h 110"/>
                  <a:gd name="T46" fmla="*/ 66 w 100"/>
                  <a:gd name="T47" fmla="*/ 80 h 110"/>
                  <a:gd name="T48" fmla="*/ 76 w 100"/>
                  <a:gd name="T49" fmla="*/ 73 h 110"/>
                  <a:gd name="T50" fmla="*/ 81 w 100"/>
                  <a:gd name="T51" fmla="*/ 66 h 110"/>
                  <a:gd name="T52" fmla="*/ 90 w 100"/>
                  <a:gd name="T53" fmla="*/ 59 h 110"/>
                  <a:gd name="T54" fmla="*/ 97 w 100"/>
                  <a:gd name="T55" fmla="*/ 55 h 110"/>
                  <a:gd name="T56" fmla="*/ 100 w 100"/>
                  <a:gd name="T57" fmla="*/ 49 h 110"/>
                  <a:gd name="T58" fmla="*/ 100 w 100"/>
                  <a:gd name="T59" fmla="*/ 49 h 110"/>
                  <a:gd name="T60" fmla="*/ 92 w 100"/>
                  <a:gd name="T61" fmla="*/ 4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0" h="110">
                    <a:moveTo>
                      <a:pt x="92" y="45"/>
                    </a:moveTo>
                    <a:cubicBezTo>
                      <a:pt x="89" y="45"/>
                      <a:pt x="85" y="40"/>
                      <a:pt x="85" y="37"/>
                    </a:cubicBezTo>
                    <a:cubicBezTo>
                      <a:pt x="85" y="33"/>
                      <a:pt x="80" y="31"/>
                      <a:pt x="80" y="28"/>
                    </a:cubicBezTo>
                    <a:cubicBezTo>
                      <a:pt x="80" y="26"/>
                      <a:pt x="73" y="22"/>
                      <a:pt x="69" y="20"/>
                    </a:cubicBezTo>
                    <a:cubicBezTo>
                      <a:pt x="65" y="19"/>
                      <a:pt x="64" y="7"/>
                      <a:pt x="63" y="7"/>
                    </a:cubicBezTo>
                    <a:cubicBezTo>
                      <a:pt x="61" y="7"/>
                      <a:pt x="58" y="3"/>
                      <a:pt x="56" y="0"/>
                    </a:cubicBezTo>
                    <a:cubicBezTo>
                      <a:pt x="53" y="1"/>
                      <a:pt x="50" y="2"/>
                      <a:pt x="49" y="2"/>
                    </a:cubicBezTo>
                    <a:cubicBezTo>
                      <a:pt x="45" y="2"/>
                      <a:pt x="42" y="5"/>
                      <a:pt x="41" y="7"/>
                    </a:cubicBezTo>
                    <a:cubicBezTo>
                      <a:pt x="39" y="9"/>
                      <a:pt x="37" y="4"/>
                      <a:pt x="35" y="3"/>
                    </a:cubicBezTo>
                    <a:cubicBezTo>
                      <a:pt x="33" y="1"/>
                      <a:pt x="24" y="6"/>
                      <a:pt x="22" y="6"/>
                    </a:cubicBezTo>
                    <a:cubicBezTo>
                      <a:pt x="20" y="7"/>
                      <a:pt x="11" y="8"/>
                      <a:pt x="11" y="8"/>
                    </a:cubicBezTo>
                    <a:cubicBezTo>
                      <a:pt x="11" y="8"/>
                      <a:pt x="11" y="42"/>
                      <a:pt x="11" y="46"/>
                    </a:cubicBezTo>
                    <a:cubicBezTo>
                      <a:pt x="11" y="51"/>
                      <a:pt x="0" y="48"/>
                      <a:pt x="0" y="51"/>
                    </a:cubicBezTo>
                    <a:cubicBezTo>
                      <a:pt x="0" y="52"/>
                      <a:pt x="0" y="67"/>
                      <a:pt x="0" y="84"/>
                    </a:cubicBezTo>
                    <a:cubicBezTo>
                      <a:pt x="2" y="85"/>
                      <a:pt x="5" y="86"/>
                      <a:pt x="5" y="87"/>
                    </a:cubicBezTo>
                    <a:cubicBezTo>
                      <a:pt x="7" y="91"/>
                      <a:pt x="10" y="98"/>
                      <a:pt x="9" y="100"/>
                    </a:cubicBezTo>
                    <a:cubicBezTo>
                      <a:pt x="8" y="102"/>
                      <a:pt x="7" y="101"/>
                      <a:pt x="7" y="103"/>
                    </a:cubicBezTo>
                    <a:cubicBezTo>
                      <a:pt x="7" y="105"/>
                      <a:pt x="5" y="108"/>
                      <a:pt x="9" y="108"/>
                    </a:cubicBezTo>
                    <a:cubicBezTo>
                      <a:pt x="12" y="108"/>
                      <a:pt x="18" y="110"/>
                      <a:pt x="20" y="107"/>
                    </a:cubicBezTo>
                    <a:cubicBezTo>
                      <a:pt x="22" y="104"/>
                      <a:pt x="30" y="98"/>
                      <a:pt x="30" y="95"/>
                    </a:cubicBezTo>
                    <a:cubicBezTo>
                      <a:pt x="31" y="92"/>
                      <a:pt x="32" y="86"/>
                      <a:pt x="38" y="89"/>
                    </a:cubicBezTo>
                    <a:cubicBezTo>
                      <a:pt x="44" y="93"/>
                      <a:pt x="44" y="94"/>
                      <a:pt x="51" y="94"/>
                    </a:cubicBezTo>
                    <a:cubicBezTo>
                      <a:pt x="59" y="94"/>
                      <a:pt x="61" y="93"/>
                      <a:pt x="62" y="89"/>
                    </a:cubicBezTo>
                    <a:cubicBezTo>
                      <a:pt x="63" y="84"/>
                      <a:pt x="62" y="80"/>
                      <a:pt x="66" y="80"/>
                    </a:cubicBezTo>
                    <a:cubicBezTo>
                      <a:pt x="71" y="80"/>
                      <a:pt x="76" y="76"/>
                      <a:pt x="76" y="73"/>
                    </a:cubicBezTo>
                    <a:cubicBezTo>
                      <a:pt x="76" y="70"/>
                      <a:pt x="78" y="66"/>
                      <a:pt x="81" y="66"/>
                    </a:cubicBezTo>
                    <a:cubicBezTo>
                      <a:pt x="83" y="66"/>
                      <a:pt x="89" y="62"/>
                      <a:pt x="90" y="59"/>
                    </a:cubicBezTo>
                    <a:cubicBezTo>
                      <a:pt x="90" y="56"/>
                      <a:pt x="95" y="57"/>
                      <a:pt x="97" y="55"/>
                    </a:cubicBezTo>
                    <a:cubicBezTo>
                      <a:pt x="97" y="54"/>
                      <a:pt x="99" y="52"/>
                      <a:pt x="100" y="49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00" y="47"/>
                      <a:pt x="100" y="44"/>
                      <a:pt x="92" y="4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1" name="Freeform 9">
                <a:extLst>
                  <a:ext uri="{FF2B5EF4-FFF2-40B4-BE49-F238E27FC236}">
                    <a16:creationId xmlns:a16="http://schemas.microsoft.com/office/drawing/2014/main" id="{278E15ED-0F47-4F13-A752-2C5E47609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713" y="4770438"/>
                <a:ext cx="33337" cy="41275"/>
              </a:xfrm>
              <a:custGeom>
                <a:avLst/>
                <a:gdLst>
                  <a:gd name="T0" fmla="*/ 8 w 15"/>
                  <a:gd name="T1" fmla="*/ 0 h 19"/>
                  <a:gd name="T2" fmla="*/ 0 w 15"/>
                  <a:gd name="T3" fmla="*/ 9 h 19"/>
                  <a:gd name="T4" fmla="*/ 7 w 15"/>
                  <a:gd name="T5" fmla="*/ 19 h 19"/>
                  <a:gd name="T6" fmla="*/ 14 w 15"/>
                  <a:gd name="T7" fmla="*/ 16 h 19"/>
                  <a:gd name="T8" fmla="*/ 15 w 15"/>
                  <a:gd name="T9" fmla="*/ 13 h 19"/>
                  <a:gd name="T10" fmla="*/ 14 w 15"/>
                  <a:gd name="T11" fmla="*/ 4 h 19"/>
                  <a:gd name="T12" fmla="*/ 8 w 1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9">
                    <a:moveTo>
                      <a:pt x="8" y="0"/>
                    </a:moveTo>
                    <a:cubicBezTo>
                      <a:pt x="5" y="0"/>
                      <a:pt x="0" y="7"/>
                      <a:pt x="0" y="9"/>
                    </a:cubicBezTo>
                    <a:cubicBezTo>
                      <a:pt x="0" y="10"/>
                      <a:pt x="4" y="19"/>
                      <a:pt x="7" y="19"/>
                    </a:cubicBezTo>
                    <a:cubicBezTo>
                      <a:pt x="11" y="19"/>
                      <a:pt x="13" y="19"/>
                      <a:pt x="14" y="16"/>
                    </a:cubicBezTo>
                    <a:cubicBezTo>
                      <a:pt x="14" y="15"/>
                      <a:pt x="15" y="14"/>
                      <a:pt x="15" y="13"/>
                    </a:cubicBezTo>
                    <a:cubicBezTo>
                      <a:pt x="15" y="11"/>
                      <a:pt x="15" y="7"/>
                      <a:pt x="14" y="4"/>
                    </a:cubicBezTo>
                    <a:cubicBezTo>
                      <a:pt x="12" y="2"/>
                      <a:pt x="10" y="0"/>
                      <a:pt x="8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2" name="Freeform 10">
                <a:extLst>
                  <a:ext uri="{FF2B5EF4-FFF2-40B4-BE49-F238E27FC236}">
                    <a16:creationId xmlns:a16="http://schemas.microsoft.com/office/drawing/2014/main" id="{5931F9AA-716A-4DFD-ADCE-51C065DB3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8400" y="4841875"/>
                <a:ext cx="55562" cy="60325"/>
              </a:xfrm>
              <a:custGeom>
                <a:avLst/>
                <a:gdLst>
                  <a:gd name="T0" fmla="*/ 18 w 25"/>
                  <a:gd name="T1" fmla="*/ 2 h 27"/>
                  <a:gd name="T2" fmla="*/ 6 w 25"/>
                  <a:gd name="T3" fmla="*/ 7 h 27"/>
                  <a:gd name="T4" fmla="*/ 0 w 25"/>
                  <a:gd name="T5" fmla="*/ 17 h 27"/>
                  <a:gd name="T6" fmla="*/ 6 w 25"/>
                  <a:gd name="T7" fmla="*/ 26 h 27"/>
                  <a:gd name="T8" fmla="*/ 11 w 25"/>
                  <a:gd name="T9" fmla="*/ 27 h 27"/>
                  <a:gd name="T10" fmla="*/ 14 w 25"/>
                  <a:gd name="T11" fmla="*/ 21 h 27"/>
                  <a:gd name="T12" fmla="*/ 21 w 25"/>
                  <a:gd name="T13" fmla="*/ 19 h 27"/>
                  <a:gd name="T14" fmla="*/ 25 w 25"/>
                  <a:gd name="T15" fmla="*/ 11 h 27"/>
                  <a:gd name="T16" fmla="*/ 18 w 25"/>
                  <a:gd name="T17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27">
                    <a:moveTo>
                      <a:pt x="18" y="2"/>
                    </a:moveTo>
                    <a:cubicBezTo>
                      <a:pt x="16" y="0"/>
                      <a:pt x="8" y="4"/>
                      <a:pt x="6" y="7"/>
                    </a:cubicBezTo>
                    <a:cubicBezTo>
                      <a:pt x="5" y="10"/>
                      <a:pt x="0" y="17"/>
                      <a:pt x="0" y="1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1" y="27"/>
                      <a:pt x="12" y="24"/>
                      <a:pt x="14" y="21"/>
                    </a:cubicBezTo>
                    <a:cubicBezTo>
                      <a:pt x="15" y="18"/>
                      <a:pt x="21" y="22"/>
                      <a:pt x="21" y="19"/>
                    </a:cubicBezTo>
                    <a:cubicBezTo>
                      <a:pt x="21" y="16"/>
                      <a:pt x="25" y="14"/>
                      <a:pt x="25" y="11"/>
                    </a:cubicBezTo>
                    <a:cubicBezTo>
                      <a:pt x="25" y="8"/>
                      <a:pt x="19" y="5"/>
                      <a:pt x="18" y="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3" name="Freeform 11">
                <a:extLst>
                  <a:ext uri="{FF2B5EF4-FFF2-40B4-BE49-F238E27FC236}">
                    <a16:creationId xmlns:a16="http://schemas.microsoft.com/office/drawing/2014/main" id="{4F376CA8-0E95-4512-BE1D-8B7CA4F158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1225" y="4672013"/>
                <a:ext cx="398462" cy="350838"/>
              </a:xfrm>
              <a:custGeom>
                <a:avLst/>
                <a:gdLst>
                  <a:gd name="T0" fmla="*/ 173 w 181"/>
                  <a:gd name="T1" fmla="*/ 60 h 160"/>
                  <a:gd name="T2" fmla="*/ 172 w 181"/>
                  <a:gd name="T3" fmla="*/ 58 h 160"/>
                  <a:gd name="T4" fmla="*/ 171 w 181"/>
                  <a:gd name="T5" fmla="*/ 61 h 160"/>
                  <a:gd name="T6" fmla="*/ 164 w 181"/>
                  <a:gd name="T7" fmla="*/ 64 h 160"/>
                  <a:gd name="T8" fmla="*/ 157 w 181"/>
                  <a:gd name="T9" fmla="*/ 54 h 160"/>
                  <a:gd name="T10" fmla="*/ 165 w 181"/>
                  <a:gd name="T11" fmla="*/ 45 h 160"/>
                  <a:gd name="T12" fmla="*/ 171 w 181"/>
                  <a:gd name="T13" fmla="*/ 49 h 160"/>
                  <a:gd name="T14" fmla="*/ 171 w 181"/>
                  <a:gd name="T15" fmla="*/ 47 h 160"/>
                  <a:gd name="T16" fmla="*/ 170 w 181"/>
                  <a:gd name="T17" fmla="*/ 26 h 160"/>
                  <a:gd name="T18" fmla="*/ 163 w 181"/>
                  <a:gd name="T19" fmla="*/ 5 h 160"/>
                  <a:gd name="T20" fmla="*/ 150 w 181"/>
                  <a:gd name="T21" fmla="*/ 2 h 160"/>
                  <a:gd name="T22" fmla="*/ 139 w 181"/>
                  <a:gd name="T23" fmla="*/ 0 h 160"/>
                  <a:gd name="T24" fmla="*/ 136 w 181"/>
                  <a:gd name="T25" fmla="*/ 6 h 160"/>
                  <a:gd name="T26" fmla="*/ 129 w 181"/>
                  <a:gd name="T27" fmla="*/ 10 h 160"/>
                  <a:gd name="T28" fmla="*/ 120 w 181"/>
                  <a:gd name="T29" fmla="*/ 17 h 160"/>
                  <a:gd name="T30" fmla="*/ 115 w 181"/>
                  <a:gd name="T31" fmla="*/ 24 h 160"/>
                  <a:gd name="T32" fmla="*/ 105 w 181"/>
                  <a:gd name="T33" fmla="*/ 31 h 160"/>
                  <a:gd name="T34" fmla="*/ 101 w 181"/>
                  <a:gd name="T35" fmla="*/ 40 h 160"/>
                  <a:gd name="T36" fmla="*/ 90 w 181"/>
                  <a:gd name="T37" fmla="*/ 45 h 160"/>
                  <a:gd name="T38" fmla="*/ 77 w 181"/>
                  <a:gd name="T39" fmla="*/ 40 h 160"/>
                  <a:gd name="T40" fmla="*/ 69 w 181"/>
                  <a:gd name="T41" fmla="*/ 46 h 160"/>
                  <a:gd name="T42" fmla="*/ 59 w 181"/>
                  <a:gd name="T43" fmla="*/ 58 h 160"/>
                  <a:gd name="T44" fmla="*/ 48 w 181"/>
                  <a:gd name="T45" fmla="*/ 59 h 160"/>
                  <a:gd name="T46" fmla="*/ 46 w 181"/>
                  <a:gd name="T47" fmla="*/ 54 h 160"/>
                  <a:gd name="T48" fmla="*/ 48 w 181"/>
                  <a:gd name="T49" fmla="*/ 51 h 160"/>
                  <a:gd name="T50" fmla="*/ 44 w 181"/>
                  <a:gd name="T51" fmla="*/ 38 h 160"/>
                  <a:gd name="T52" fmla="*/ 39 w 181"/>
                  <a:gd name="T53" fmla="*/ 35 h 160"/>
                  <a:gd name="T54" fmla="*/ 39 w 181"/>
                  <a:gd name="T55" fmla="*/ 76 h 160"/>
                  <a:gd name="T56" fmla="*/ 32 w 181"/>
                  <a:gd name="T57" fmla="*/ 83 h 160"/>
                  <a:gd name="T58" fmla="*/ 17 w 181"/>
                  <a:gd name="T59" fmla="*/ 84 h 160"/>
                  <a:gd name="T60" fmla="*/ 11 w 181"/>
                  <a:gd name="T61" fmla="*/ 76 h 160"/>
                  <a:gd name="T62" fmla="*/ 5 w 181"/>
                  <a:gd name="T63" fmla="*/ 79 h 160"/>
                  <a:gd name="T64" fmla="*/ 0 w 181"/>
                  <a:gd name="T65" fmla="*/ 80 h 160"/>
                  <a:gd name="T66" fmla="*/ 9 w 181"/>
                  <a:gd name="T67" fmla="*/ 98 h 160"/>
                  <a:gd name="T68" fmla="*/ 19 w 181"/>
                  <a:gd name="T69" fmla="*/ 120 h 160"/>
                  <a:gd name="T70" fmla="*/ 19 w 181"/>
                  <a:gd name="T71" fmla="*/ 131 h 160"/>
                  <a:gd name="T72" fmla="*/ 20 w 181"/>
                  <a:gd name="T73" fmla="*/ 140 h 160"/>
                  <a:gd name="T74" fmla="*/ 23 w 181"/>
                  <a:gd name="T75" fmla="*/ 150 h 160"/>
                  <a:gd name="T76" fmla="*/ 28 w 181"/>
                  <a:gd name="T77" fmla="*/ 153 h 160"/>
                  <a:gd name="T78" fmla="*/ 34 w 181"/>
                  <a:gd name="T79" fmla="*/ 157 h 160"/>
                  <a:gd name="T80" fmla="*/ 41 w 181"/>
                  <a:gd name="T81" fmla="*/ 157 h 160"/>
                  <a:gd name="T82" fmla="*/ 55 w 181"/>
                  <a:gd name="T83" fmla="*/ 153 h 160"/>
                  <a:gd name="T84" fmla="*/ 65 w 181"/>
                  <a:gd name="T85" fmla="*/ 149 h 160"/>
                  <a:gd name="T86" fmla="*/ 82 w 181"/>
                  <a:gd name="T87" fmla="*/ 149 h 160"/>
                  <a:gd name="T88" fmla="*/ 93 w 181"/>
                  <a:gd name="T89" fmla="*/ 148 h 160"/>
                  <a:gd name="T90" fmla="*/ 100 w 181"/>
                  <a:gd name="T91" fmla="*/ 146 h 160"/>
                  <a:gd name="T92" fmla="*/ 110 w 181"/>
                  <a:gd name="T93" fmla="*/ 143 h 160"/>
                  <a:gd name="T94" fmla="*/ 133 w 181"/>
                  <a:gd name="T95" fmla="*/ 128 h 160"/>
                  <a:gd name="T96" fmla="*/ 160 w 181"/>
                  <a:gd name="T97" fmla="*/ 96 h 160"/>
                  <a:gd name="T98" fmla="*/ 176 w 181"/>
                  <a:gd name="T99" fmla="*/ 78 h 160"/>
                  <a:gd name="T100" fmla="*/ 181 w 181"/>
                  <a:gd name="T101" fmla="*/ 59 h 160"/>
                  <a:gd name="T102" fmla="*/ 173 w 181"/>
                  <a:gd name="T103" fmla="*/ 60 h 160"/>
                  <a:gd name="T104" fmla="*/ 138 w 181"/>
                  <a:gd name="T105" fmla="*/ 97 h 160"/>
                  <a:gd name="T106" fmla="*/ 131 w 181"/>
                  <a:gd name="T107" fmla="*/ 99 h 160"/>
                  <a:gd name="T108" fmla="*/ 128 w 181"/>
                  <a:gd name="T109" fmla="*/ 105 h 160"/>
                  <a:gd name="T110" fmla="*/ 123 w 181"/>
                  <a:gd name="T111" fmla="*/ 104 h 160"/>
                  <a:gd name="T112" fmla="*/ 117 w 181"/>
                  <a:gd name="T113" fmla="*/ 95 h 160"/>
                  <a:gd name="T114" fmla="*/ 123 w 181"/>
                  <a:gd name="T115" fmla="*/ 85 h 160"/>
                  <a:gd name="T116" fmla="*/ 135 w 181"/>
                  <a:gd name="T117" fmla="*/ 80 h 160"/>
                  <a:gd name="T118" fmla="*/ 142 w 181"/>
                  <a:gd name="T119" fmla="*/ 89 h 160"/>
                  <a:gd name="T120" fmla="*/ 138 w 181"/>
                  <a:gd name="T121" fmla="*/ 9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1" h="160">
                    <a:moveTo>
                      <a:pt x="173" y="60"/>
                    </a:moveTo>
                    <a:cubicBezTo>
                      <a:pt x="173" y="60"/>
                      <a:pt x="173" y="59"/>
                      <a:pt x="172" y="58"/>
                    </a:cubicBezTo>
                    <a:cubicBezTo>
                      <a:pt x="172" y="59"/>
                      <a:pt x="171" y="60"/>
                      <a:pt x="171" y="61"/>
                    </a:cubicBezTo>
                    <a:cubicBezTo>
                      <a:pt x="170" y="64"/>
                      <a:pt x="168" y="64"/>
                      <a:pt x="164" y="64"/>
                    </a:cubicBezTo>
                    <a:cubicBezTo>
                      <a:pt x="161" y="64"/>
                      <a:pt x="157" y="55"/>
                      <a:pt x="157" y="54"/>
                    </a:cubicBezTo>
                    <a:cubicBezTo>
                      <a:pt x="157" y="52"/>
                      <a:pt x="162" y="45"/>
                      <a:pt x="165" y="45"/>
                    </a:cubicBezTo>
                    <a:cubicBezTo>
                      <a:pt x="167" y="45"/>
                      <a:pt x="169" y="47"/>
                      <a:pt x="171" y="49"/>
                    </a:cubicBezTo>
                    <a:cubicBezTo>
                      <a:pt x="171" y="48"/>
                      <a:pt x="171" y="47"/>
                      <a:pt x="171" y="47"/>
                    </a:cubicBezTo>
                    <a:cubicBezTo>
                      <a:pt x="172" y="45"/>
                      <a:pt x="173" y="28"/>
                      <a:pt x="170" y="26"/>
                    </a:cubicBezTo>
                    <a:cubicBezTo>
                      <a:pt x="167" y="24"/>
                      <a:pt x="164" y="7"/>
                      <a:pt x="163" y="5"/>
                    </a:cubicBezTo>
                    <a:cubicBezTo>
                      <a:pt x="162" y="3"/>
                      <a:pt x="151" y="4"/>
                      <a:pt x="150" y="2"/>
                    </a:cubicBezTo>
                    <a:cubicBezTo>
                      <a:pt x="149" y="0"/>
                      <a:pt x="140" y="2"/>
                      <a:pt x="139" y="0"/>
                    </a:cubicBezTo>
                    <a:cubicBezTo>
                      <a:pt x="138" y="3"/>
                      <a:pt x="136" y="5"/>
                      <a:pt x="136" y="6"/>
                    </a:cubicBezTo>
                    <a:cubicBezTo>
                      <a:pt x="134" y="8"/>
                      <a:pt x="129" y="7"/>
                      <a:pt x="129" y="10"/>
                    </a:cubicBezTo>
                    <a:cubicBezTo>
                      <a:pt x="128" y="13"/>
                      <a:pt x="122" y="17"/>
                      <a:pt x="120" y="17"/>
                    </a:cubicBezTo>
                    <a:cubicBezTo>
                      <a:pt x="117" y="17"/>
                      <a:pt x="115" y="21"/>
                      <a:pt x="115" y="24"/>
                    </a:cubicBezTo>
                    <a:cubicBezTo>
                      <a:pt x="115" y="27"/>
                      <a:pt x="110" y="31"/>
                      <a:pt x="105" y="31"/>
                    </a:cubicBezTo>
                    <a:cubicBezTo>
                      <a:pt x="101" y="31"/>
                      <a:pt x="102" y="35"/>
                      <a:pt x="101" y="40"/>
                    </a:cubicBezTo>
                    <a:cubicBezTo>
                      <a:pt x="100" y="44"/>
                      <a:pt x="98" y="45"/>
                      <a:pt x="90" y="45"/>
                    </a:cubicBezTo>
                    <a:cubicBezTo>
                      <a:pt x="83" y="45"/>
                      <a:pt x="83" y="44"/>
                      <a:pt x="77" y="40"/>
                    </a:cubicBezTo>
                    <a:cubicBezTo>
                      <a:pt x="71" y="37"/>
                      <a:pt x="70" y="43"/>
                      <a:pt x="69" y="46"/>
                    </a:cubicBezTo>
                    <a:cubicBezTo>
                      <a:pt x="69" y="49"/>
                      <a:pt x="61" y="55"/>
                      <a:pt x="59" y="58"/>
                    </a:cubicBezTo>
                    <a:cubicBezTo>
                      <a:pt x="57" y="61"/>
                      <a:pt x="51" y="59"/>
                      <a:pt x="48" y="59"/>
                    </a:cubicBezTo>
                    <a:cubicBezTo>
                      <a:pt x="44" y="59"/>
                      <a:pt x="46" y="56"/>
                      <a:pt x="46" y="54"/>
                    </a:cubicBezTo>
                    <a:cubicBezTo>
                      <a:pt x="46" y="52"/>
                      <a:pt x="47" y="53"/>
                      <a:pt x="48" y="51"/>
                    </a:cubicBezTo>
                    <a:cubicBezTo>
                      <a:pt x="49" y="49"/>
                      <a:pt x="46" y="42"/>
                      <a:pt x="44" y="38"/>
                    </a:cubicBezTo>
                    <a:cubicBezTo>
                      <a:pt x="44" y="37"/>
                      <a:pt x="41" y="36"/>
                      <a:pt x="39" y="35"/>
                    </a:cubicBezTo>
                    <a:cubicBezTo>
                      <a:pt x="39" y="54"/>
                      <a:pt x="39" y="74"/>
                      <a:pt x="39" y="76"/>
                    </a:cubicBezTo>
                    <a:cubicBezTo>
                      <a:pt x="39" y="80"/>
                      <a:pt x="33" y="81"/>
                      <a:pt x="32" y="83"/>
                    </a:cubicBezTo>
                    <a:cubicBezTo>
                      <a:pt x="30" y="85"/>
                      <a:pt x="22" y="84"/>
                      <a:pt x="17" y="84"/>
                    </a:cubicBezTo>
                    <a:cubicBezTo>
                      <a:pt x="13" y="84"/>
                      <a:pt x="14" y="79"/>
                      <a:pt x="11" y="76"/>
                    </a:cubicBezTo>
                    <a:cubicBezTo>
                      <a:pt x="9" y="72"/>
                      <a:pt x="5" y="77"/>
                      <a:pt x="5" y="79"/>
                    </a:cubicBezTo>
                    <a:cubicBezTo>
                      <a:pt x="5" y="81"/>
                      <a:pt x="3" y="80"/>
                      <a:pt x="0" y="80"/>
                    </a:cubicBezTo>
                    <a:cubicBezTo>
                      <a:pt x="4" y="86"/>
                      <a:pt x="7" y="93"/>
                      <a:pt x="9" y="98"/>
                    </a:cubicBezTo>
                    <a:cubicBezTo>
                      <a:pt x="11" y="107"/>
                      <a:pt x="18" y="115"/>
                      <a:pt x="19" y="120"/>
                    </a:cubicBezTo>
                    <a:cubicBezTo>
                      <a:pt x="21" y="126"/>
                      <a:pt x="23" y="130"/>
                      <a:pt x="19" y="131"/>
                    </a:cubicBezTo>
                    <a:cubicBezTo>
                      <a:pt x="16" y="131"/>
                      <a:pt x="16" y="134"/>
                      <a:pt x="20" y="140"/>
                    </a:cubicBezTo>
                    <a:cubicBezTo>
                      <a:pt x="23" y="146"/>
                      <a:pt x="20" y="149"/>
                      <a:pt x="23" y="150"/>
                    </a:cubicBezTo>
                    <a:cubicBezTo>
                      <a:pt x="26" y="150"/>
                      <a:pt x="25" y="152"/>
                      <a:pt x="28" y="153"/>
                    </a:cubicBezTo>
                    <a:cubicBezTo>
                      <a:pt x="30" y="153"/>
                      <a:pt x="32" y="155"/>
                      <a:pt x="34" y="157"/>
                    </a:cubicBezTo>
                    <a:cubicBezTo>
                      <a:pt x="36" y="160"/>
                      <a:pt x="39" y="160"/>
                      <a:pt x="41" y="157"/>
                    </a:cubicBezTo>
                    <a:cubicBezTo>
                      <a:pt x="43" y="154"/>
                      <a:pt x="49" y="153"/>
                      <a:pt x="55" y="153"/>
                    </a:cubicBezTo>
                    <a:cubicBezTo>
                      <a:pt x="60" y="153"/>
                      <a:pt x="59" y="151"/>
                      <a:pt x="65" y="149"/>
                    </a:cubicBezTo>
                    <a:cubicBezTo>
                      <a:pt x="71" y="148"/>
                      <a:pt x="77" y="147"/>
                      <a:pt x="82" y="149"/>
                    </a:cubicBezTo>
                    <a:cubicBezTo>
                      <a:pt x="87" y="151"/>
                      <a:pt x="91" y="149"/>
                      <a:pt x="93" y="148"/>
                    </a:cubicBezTo>
                    <a:cubicBezTo>
                      <a:pt x="95" y="146"/>
                      <a:pt x="100" y="150"/>
                      <a:pt x="100" y="146"/>
                    </a:cubicBezTo>
                    <a:cubicBezTo>
                      <a:pt x="101" y="142"/>
                      <a:pt x="105" y="143"/>
                      <a:pt x="110" y="143"/>
                    </a:cubicBezTo>
                    <a:cubicBezTo>
                      <a:pt x="114" y="143"/>
                      <a:pt x="124" y="136"/>
                      <a:pt x="133" y="128"/>
                    </a:cubicBezTo>
                    <a:cubicBezTo>
                      <a:pt x="141" y="121"/>
                      <a:pt x="155" y="103"/>
                      <a:pt x="160" y="96"/>
                    </a:cubicBezTo>
                    <a:cubicBezTo>
                      <a:pt x="164" y="88"/>
                      <a:pt x="172" y="81"/>
                      <a:pt x="176" y="78"/>
                    </a:cubicBezTo>
                    <a:cubicBezTo>
                      <a:pt x="179" y="75"/>
                      <a:pt x="180" y="66"/>
                      <a:pt x="181" y="59"/>
                    </a:cubicBezTo>
                    <a:cubicBezTo>
                      <a:pt x="177" y="59"/>
                      <a:pt x="173" y="60"/>
                      <a:pt x="173" y="60"/>
                    </a:cubicBezTo>
                    <a:close/>
                    <a:moveTo>
                      <a:pt x="138" y="97"/>
                    </a:moveTo>
                    <a:cubicBezTo>
                      <a:pt x="138" y="100"/>
                      <a:pt x="132" y="96"/>
                      <a:pt x="131" y="99"/>
                    </a:cubicBezTo>
                    <a:cubicBezTo>
                      <a:pt x="129" y="102"/>
                      <a:pt x="128" y="105"/>
                      <a:pt x="128" y="105"/>
                    </a:cubicBezTo>
                    <a:cubicBezTo>
                      <a:pt x="123" y="104"/>
                      <a:pt x="123" y="104"/>
                      <a:pt x="123" y="104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17" y="95"/>
                      <a:pt x="122" y="88"/>
                      <a:pt x="123" y="85"/>
                    </a:cubicBezTo>
                    <a:cubicBezTo>
                      <a:pt x="125" y="82"/>
                      <a:pt x="133" y="78"/>
                      <a:pt x="135" y="80"/>
                    </a:cubicBezTo>
                    <a:cubicBezTo>
                      <a:pt x="136" y="83"/>
                      <a:pt x="142" y="86"/>
                      <a:pt x="142" y="89"/>
                    </a:cubicBezTo>
                    <a:cubicBezTo>
                      <a:pt x="142" y="92"/>
                      <a:pt x="138" y="94"/>
                      <a:pt x="138" y="9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4" name="Freeform 12">
                <a:extLst>
                  <a:ext uri="{FF2B5EF4-FFF2-40B4-BE49-F238E27FC236}">
                    <a16:creationId xmlns:a16="http://schemas.microsoft.com/office/drawing/2014/main" id="{6B2B29DB-135B-49B4-8E75-A6D32DF7E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450" y="4260850"/>
                <a:ext cx="288925" cy="307975"/>
              </a:xfrm>
              <a:custGeom>
                <a:avLst/>
                <a:gdLst>
                  <a:gd name="T0" fmla="*/ 7 w 132"/>
                  <a:gd name="T1" fmla="*/ 129 h 140"/>
                  <a:gd name="T2" fmla="*/ 13 w 132"/>
                  <a:gd name="T3" fmla="*/ 131 h 140"/>
                  <a:gd name="T4" fmla="*/ 23 w 132"/>
                  <a:gd name="T5" fmla="*/ 132 h 140"/>
                  <a:gd name="T6" fmla="*/ 33 w 132"/>
                  <a:gd name="T7" fmla="*/ 135 h 140"/>
                  <a:gd name="T8" fmla="*/ 72 w 132"/>
                  <a:gd name="T9" fmla="*/ 135 h 140"/>
                  <a:gd name="T10" fmla="*/ 76 w 132"/>
                  <a:gd name="T11" fmla="*/ 139 h 140"/>
                  <a:gd name="T12" fmla="*/ 101 w 132"/>
                  <a:gd name="T13" fmla="*/ 139 h 140"/>
                  <a:gd name="T14" fmla="*/ 119 w 132"/>
                  <a:gd name="T15" fmla="*/ 138 h 140"/>
                  <a:gd name="T16" fmla="*/ 122 w 132"/>
                  <a:gd name="T17" fmla="*/ 137 h 140"/>
                  <a:gd name="T18" fmla="*/ 109 w 132"/>
                  <a:gd name="T19" fmla="*/ 119 h 140"/>
                  <a:gd name="T20" fmla="*/ 110 w 132"/>
                  <a:gd name="T21" fmla="*/ 82 h 140"/>
                  <a:gd name="T22" fmla="*/ 127 w 132"/>
                  <a:gd name="T23" fmla="*/ 82 h 140"/>
                  <a:gd name="T24" fmla="*/ 130 w 132"/>
                  <a:gd name="T25" fmla="*/ 79 h 140"/>
                  <a:gd name="T26" fmla="*/ 132 w 132"/>
                  <a:gd name="T27" fmla="*/ 57 h 140"/>
                  <a:gd name="T28" fmla="*/ 129 w 132"/>
                  <a:gd name="T29" fmla="*/ 57 h 140"/>
                  <a:gd name="T30" fmla="*/ 119 w 132"/>
                  <a:gd name="T31" fmla="*/ 58 h 140"/>
                  <a:gd name="T32" fmla="*/ 113 w 132"/>
                  <a:gd name="T33" fmla="*/ 61 h 140"/>
                  <a:gd name="T34" fmla="*/ 113 w 132"/>
                  <a:gd name="T35" fmla="*/ 52 h 140"/>
                  <a:gd name="T36" fmla="*/ 107 w 132"/>
                  <a:gd name="T37" fmla="*/ 43 h 140"/>
                  <a:gd name="T38" fmla="*/ 109 w 132"/>
                  <a:gd name="T39" fmla="*/ 27 h 140"/>
                  <a:gd name="T40" fmla="*/ 107 w 132"/>
                  <a:gd name="T41" fmla="*/ 18 h 140"/>
                  <a:gd name="T42" fmla="*/ 99 w 132"/>
                  <a:gd name="T43" fmla="*/ 16 h 140"/>
                  <a:gd name="T44" fmla="*/ 94 w 132"/>
                  <a:gd name="T45" fmla="*/ 14 h 140"/>
                  <a:gd name="T46" fmla="*/ 85 w 132"/>
                  <a:gd name="T47" fmla="*/ 14 h 140"/>
                  <a:gd name="T48" fmla="*/ 80 w 132"/>
                  <a:gd name="T49" fmla="*/ 24 h 140"/>
                  <a:gd name="T50" fmla="*/ 67 w 132"/>
                  <a:gd name="T51" fmla="*/ 26 h 140"/>
                  <a:gd name="T52" fmla="*/ 58 w 132"/>
                  <a:gd name="T53" fmla="*/ 19 h 140"/>
                  <a:gd name="T54" fmla="*/ 53 w 132"/>
                  <a:gd name="T55" fmla="*/ 10 h 140"/>
                  <a:gd name="T56" fmla="*/ 51 w 132"/>
                  <a:gd name="T57" fmla="*/ 1 h 140"/>
                  <a:gd name="T58" fmla="*/ 15 w 132"/>
                  <a:gd name="T59" fmla="*/ 1 h 140"/>
                  <a:gd name="T60" fmla="*/ 8 w 132"/>
                  <a:gd name="T61" fmla="*/ 4 h 140"/>
                  <a:gd name="T62" fmla="*/ 18 w 132"/>
                  <a:gd name="T63" fmla="*/ 28 h 140"/>
                  <a:gd name="T64" fmla="*/ 17 w 132"/>
                  <a:gd name="T65" fmla="*/ 40 h 140"/>
                  <a:gd name="T66" fmla="*/ 24 w 132"/>
                  <a:gd name="T67" fmla="*/ 63 h 140"/>
                  <a:gd name="T68" fmla="*/ 16 w 132"/>
                  <a:gd name="T69" fmla="*/ 80 h 140"/>
                  <a:gd name="T70" fmla="*/ 7 w 132"/>
                  <a:gd name="T71" fmla="*/ 101 h 140"/>
                  <a:gd name="T72" fmla="*/ 2 w 132"/>
                  <a:gd name="T73" fmla="*/ 117 h 140"/>
                  <a:gd name="T74" fmla="*/ 0 w 132"/>
                  <a:gd name="T75" fmla="*/ 132 h 140"/>
                  <a:gd name="T76" fmla="*/ 0 w 132"/>
                  <a:gd name="T77" fmla="*/ 133 h 140"/>
                  <a:gd name="T78" fmla="*/ 4 w 132"/>
                  <a:gd name="T79" fmla="*/ 132 h 140"/>
                  <a:gd name="T80" fmla="*/ 7 w 132"/>
                  <a:gd name="T81" fmla="*/ 12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2" h="140">
                    <a:moveTo>
                      <a:pt x="7" y="129"/>
                    </a:moveTo>
                    <a:cubicBezTo>
                      <a:pt x="10" y="129"/>
                      <a:pt x="9" y="133"/>
                      <a:pt x="13" y="131"/>
                    </a:cubicBezTo>
                    <a:cubicBezTo>
                      <a:pt x="16" y="130"/>
                      <a:pt x="20" y="130"/>
                      <a:pt x="23" y="132"/>
                    </a:cubicBezTo>
                    <a:cubicBezTo>
                      <a:pt x="27" y="134"/>
                      <a:pt x="29" y="135"/>
                      <a:pt x="33" y="135"/>
                    </a:cubicBezTo>
                    <a:cubicBezTo>
                      <a:pt x="37" y="135"/>
                      <a:pt x="72" y="135"/>
                      <a:pt x="72" y="135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9"/>
                      <a:pt x="98" y="137"/>
                      <a:pt x="101" y="139"/>
                    </a:cubicBezTo>
                    <a:cubicBezTo>
                      <a:pt x="104" y="140"/>
                      <a:pt x="115" y="139"/>
                      <a:pt x="119" y="138"/>
                    </a:cubicBezTo>
                    <a:cubicBezTo>
                      <a:pt x="119" y="137"/>
                      <a:pt x="120" y="137"/>
                      <a:pt x="122" y="137"/>
                    </a:cubicBezTo>
                    <a:cubicBezTo>
                      <a:pt x="109" y="119"/>
                      <a:pt x="109" y="119"/>
                      <a:pt x="109" y="119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27" y="82"/>
                      <a:pt x="127" y="82"/>
                      <a:pt x="127" y="82"/>
                    </a:cubicBezTo>
                    <a:cubicBezTo>
                      <a:pt x="130" y="79"/>
                      <a:pt x="130" y="79"/>
                      <a:pt x="130" y="79"/>
                    </a:cubicBezTo>
                    <a:cubicBezTo>
                      <a:pt x="132" y="57"/>
                      <a:pt x="132" y="57"/>
                      <a:pt x="132" y="57"/>
                    </a:cubicBezTo>
                    <a:cubicBezTo>
                      <a:pt x="131" y="57"/>
                      <a:pt x="130" y="56"/>
                      <a:pt x="129" y="57"/>
                    </a:cubicBezTo>
                    <a:cubicBezTo>
                      <a:pt x="125" y="58"/>
                      <a:pt x="122" y="58"/>
                      <a:pt x="119" y="58"/>
                    </a:cubicBezTo>
                    <a:cubicBezTo>
                      <a:pt x="115" y="58"/>
                      <a:pt x="115" y="61"/>
                      <a:pt x="113" y="61"/>
                    </a:cubicBezTo>
                    <a:cubicBezTo>
                      <a:pt x="111" y="60"/>
                      <a:pt x="112" y="54"/>
                      <a:pt x="113" y="52"/>
                    </a:cubicBezTo>
                    <a:cubicBezTo>
                      <a:pt x="113" y="49"/>
                      <a:pt x="110" y="45"/>
                      <a:pt x="107" y="43"/>
                    </a:cubicBezTo>
                    <a:cubicBezTo>
                      <a:pt x="105" y="41"/>
                      <a:pt x="110" y="28"/>
                      <a:pt x="109" y="27"/>
                    </a:cubicBezTo>
                    <a:cubicBezTo>
                      <a:pt x="107" y="25"/>
                      <a:pt x="107" y="21"/>
                      <a:pt x="107" y="18"/>
                    </a:cubicBezTo>
                    <a:cubicBezTo>
                      <a:pt x="107" y="14"/>
                      <a:pt x="104" y="16"/>
                      <a:pt x="99" y="16"/>
                    </a:cubicBezTo>
                    <a:cubicBezTo>
                      <a:pt x="94" y="16"/>
                      <a:pt x="94" y="14"/>
                      <a:pt x="94" y="14"/>
                    </a:cubicBezTo>
                    <a:cubicBezTo>
                      <a:pt x="94" y="14"/>
                      <a:pt x="88" y="12"/>
                      <a:pt x="85" y="14"/>
                    </a:cubicBezTo>
                    <a:cubicBezTo>
                      <a:pt x="82" y="15"/>
                      <a:pt x="82" y="24"/>
                      <a:pt x="80" y="24"/>
                    </a:cubicBezTo>
                    <a:cubicBezTo>
                      <a:pt x="78" y="23"/>
                      <a:pt x="72" y="24"/>
                      <a:pt x="67" y="26"/>
                    </a:cubicBezTo>
                    <a:cubicBezTo>
                      <a:pt x="62" y="27"/>
                      <a:pt x="60" y="25"/>
                      <a:pt x="58" y="19"/>
                    </a:cubicBezTo>
                    <a:cubicBezTo>
                      <a:pt x="55" y="13"/>
                      <a:pt x="52" y="15"/>
                      <a:pt x="53" y="10"/>
                    </a:cubicBezTo>
                    <a:cubicBezTo>
                      <a:pt x="54" y="6"/>
                      <a:pt x="51" y="1"/>
                      <a:pt x="51" y="1"/>
                    </a:cubicBezTo>
                    <a:cubicBezTo>
                      <a:pt x="51" y="1"/>
                      <a:pt x="18" y="0"/>
                      <a:pt x="15" y="1"/>
                    </a:cubicBezTo>
                    <a:cubicBezTo>
                      <a:pt x="13" y="1"/>
                      <a:pt x="11" y="3"/>
                      <a:pt x="8" y="4"/>
                    </a:cubicBezTo>
                    <a:cubicBezTo>
                      <a:pt x="11" y="12"/>
                      <a:pt x="17" y="25"/>
                      <a:pt x="18" y="28"/>
                    </a:cubicBezTo>
                    <a:cubicBezTo>
                      <a:pt x="20" y="31"/>
                      <a:pt x="17" y="34"/>
                      <a:pt x="17" y="40"/>
                    </a:cubicBezTo>
                    <a:cubicBezTo>
                      <a:pt x="17" y="46"/>
                      <a:pt x="23" y="56"/>
                      <a:pt x="24" y="63"/>
                    </a:cubicBezTo>
                    <a:cubicBezTo>
                      <a:pt x="24" y="71"/>
                      <a:pt x="20" y="75"/>
                      <a:pt x="16" y="80"/>
                    </a:cubicBezTo>
                    <a:cubicBezTo>
                      <a:pt x="12" y="84"/>
                      <a:pt x="7" y="95"/>
                      <a:pt x="7" y="101"/>
                    </a:cubicBezTo>
                    <a:cubicBezTo>
                      <a:pt x="7" y="108"/>
                      <a:pt x="1" y="114"/>
                      <a:pt x="2" y="117"/>
                    </a:cubicBezTo>
                    <a:cubicBezTo>
                      <a:pt x="2" y="120"/>
                      <a:pt x="1" y="129"/>
                      <a:pt x="0" y="132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4" y="132"/>
                      <a:pt x="5" y="129"/>
                      <a:pt x="7" y="12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5" name="Freeform 13">
                <a:extLst>
                  <a:ext uri="{FF2B5EF4-FFF2-40B4-BE49-F238E27FC236}">
                    <a16:creationId xmlns:a16="http://schemas.microsoft.com/office/drawing/2014/main" id="{80A34392-C6EE-4F9A-8C82-3228011B4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6163" y="4319588"/>
                <a:ext cx="284162" cy="250825"/>
              </a:xfrm>
              <a:custGeom>
                <a:avLst/>
                <a:gdLst>
                  <a:gd name="T0" fmla="*/ 100 w 130"/>
                  <a:gd name="T1" fmla="*/ 5 h 114"/>
                  <a:gd name="T2" fmla="*/ 91 w 130"/>
                  <a:gd name="T3" fmla="*/ 0 h 114"/>
                  <a:gd name="T4" fmla="*/ 78 w 130"/>
                  <a:gd name="T5" fmla="*/ 2 h 114"/>
                  <a:gd name="T6" fmla="*/ 75 w 130"/>
                  <a:gd name="T7" fmla="*/ 9 h 114"/>
                  <a:gd name="T8" fmla="*/ 73 w 130"/>
                  <a:gd name="T9" fmla="*/ 15 h 114"/>
                  <a:gd name="T10" fmla="*/ 73 w 130"/>
                  <a:gd name="T11" fmla="*/ 28 h 114"/>
                  <a:gd name="T12" fmla="*/ 70 w 130"/>
                  <a:gd name="T13" fmla="*/ 38 h 114"/>
                  <a:gd name="T14" fmla="*/ 78 w 130"/>
                  <a:gd name="T15" fmla="*/ 47 h 114"/>
                  <a:gd name="T16" fmla="*/ 85 w 130"/>
                  <a:gd name="T17" fmla="*/ 45 h 114"/>
                  <a:gd name="T18" fmla="*/ 87 w 130"/>
                  <a:gd name="T19" fmla="*/ 53 h 114"/>
                  <a:gd name="T20" fmla="*/ 85 w 130"/>
                  <a:gd name="T21" fmla="*/ 58 h 114"/>
                  <a:gd name="T22" fmla="*/ 77 w 130"/>
                  <a:gd name="T23" fmla="*/ 58 h 114"/>
                  <a:gd name="T24" fmla="*/ 72 w 130"/>
                  <a:gd name="T25" fmla="*/ 48 h 114"/>
                  <a:gd name="T26" fmla="*/ 64 w 130"/>
                  <a:gd name="T27" fmla="*/ 46 h 114"/>
                  <a:gd name="T28" fmla="*/ 58 w 130"/>
                  <a:gd name="T29" fmla="*/ 40 h 114"/>
                  <a:gd name="T30" fmla="*/ 54 w 130"/>
                  <a:gd name="T31" fmla="*/ 42 h 114"/>
                  <a:gd name="T32" fmla="*/ 49 w 130"/>
                  <a:gd name="T33" fmla="*/ 43 h 114"/>
                  <a:gd name="T34" fmla="*/ 39 w 130"/>
                  <a:gd name="T35" fmla="*/ 40 h 114"/>
                  <a:gd name="T36" fmla="*/ 36 w 130"/>
                  <a:gd name="T37" fmla="*/ 35 h 114"/>
                  <a:gd name="T38" fmla="*/ 29 w 130"/>
                  <a:gd name="T39" fmla="*/ 35 h 114"/>
                  <a:gd name="T40" fmla="*/ 26 w 130"/>
                  <a:gd name="T41" fmla="*/ 33 h 114"/>
                  <a:gd name="T42" fmla="*/ 23 w 130"/>
                  <a:gd name="T43" fmla="*/ 30 h 114"/>
                  <a:gd name="T44" fmla="*/ 21 w 130"/>
                  <a:gd name="T45" fmla="*/ 52 h 114"/>
                  <a:gd name="T46" fmla="*/ 18 w 130"/>
                  <a:gd name="T47" fmla="*/ 55 h 114"/>
                  <a:gd name="T48" fmla="*/ 1 w 130"/>
                  <a:gd name="T49" fmla="*/ 55 h 114"/>
                  <a:gd name="T50" fmla="*/ 0 w 130"/>
                  <a:gd name="T51" fmla="*/ 92 h 114"/>
                  <a:gd name="T52" fmla="*/ 13 w 130"/>
                  <a:gd name="T53" fmla="*/ 110 h 114"/>
                  <a:gd name="T54" fmla="*/ 33 w 130"/>
                  <a:gd name="T55" fmla="*/ 109 h 114"/>
                  <a:gd name="T56" fmla="*/ 34 w 130"/>
                  <a:gd name="T57" fmla="*/ 111 h 114"/>
                  <a:gd name="T58" fmla="*/ 40 w 130"/>
                  <a:gd name="T59" fmla="*/ 111 h 114"/>
                  <a:gd name="T60" fmla="*/ 54 w 130"/>
                  <a:gd name="T61" fmla="*/ 113 h 114"/>
                  <a:gd name="T62" fmla="*/ 66 w 130"/>
                  <a:gd name="T63" fmla="*/ 100 h 114"/>
                  <a:gd name="T64" fmla="*/ 76 w 130"/>
                  <a:gd name="T65" fmla="*/ 92 h 114"/>
                  <a:gd name="T66" fmla="*/ 83 w 130"/>
                  <a:gd name="T67" fmla="*/ 87 h 114"/>
                  <a:gd name="T68" fmla="*/ 92 w 130"/>
                  <a:gd name="T69" fmla="*/ 86 h 114"/>
                  <a:gd name="T70" fmla="*/ 93 w 130"/>
                  <a:gd name="T71" fmla="*/ 86 h 114"/>
                  <a:gd name="T72" fmla="*/ 91 w 130"/>
                  <a:gd name="T73" fmla="*/ 78 h 114"/>
                  <a:gd name="T74" fmla="*/ 122 w 130"/>
                  <a:gd name="T75" fmla="*/ 67 h 114"/>
                  <a:gd name="T76" fmla="*/ 120 w 130"/>
                  <a:gd name="T77" fmla="*/ 62 h 114"/>
                  <a:gd name="T78" fmla="*/ 121 w 130"/>
                  <a:gd name="T79" fmla="*/ 51 h 114"/>
                  <a:gd name="T80" fmla="*/ 126 w 130"/>
                  <a:gd name="T81" fmla="*/ 48 h 114"/>
                  <a:gd name="T82" fmla="*/ 126 w 130"/>
                  <a:gd name="T83" fmla="*/ 29 h 114"/>
                  <a:gd name="T84" fmla="*/ 130 w 130"/>
                  <a:gd name="T85" fmla="*/ 27 h 114"/>
                  <a:gd name="T86" fmla="*/ 124 w 130"/>
                  <a:gd name="T87" fmla="*/ 15 h 114"/>
                  <a:gd name="T88" fmla="*/ 110 w 130"/>
                  <a:gd name="T89" fmla="*/ 9 h 114"/>
                  <a:gd name="T90" fmla="*/ 100 w 130"/>
                  <a:gd name="T91" fmla="*/ 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0" h="114">
                    <a:moveTo>
                      <a:pt x="100" y="5"/>
                    </a:moveTo>
                    <a:cubicBezTo>
                      <a:pt x="98" y="5"/>
                      <a:pt x="94" y="2"/>
                      <a:pt x="91" y="0"/>
                    </a:cubicBezTo>
                    <a:cubicBezTo>
                      <a:pt x="89" y="2"/>
                      <a:pt x="82" y="2"/>
                      <a:pt x="78" y="2"/>
                    </a:cubicBezTo>
                    <a:cubicBezTo>
                      <a:pt x="74" y="2"/>
                      <a:pt x="77" y="7"/>
                      <a:pt x="75" y="9"/>
                    </a:cubicBezTo>
                    <a:cubicBezTo>
                      <a:pt x="72" y="11"/>
                      <a:pt x="71" y="14"/>
                      <a:pt x="73" y="15"/>
                    </a:cubicBezTo>
                    <a:cubicBezTo>
                      <a:pt x="75" y="16"/>
                      <a:pt x="73" y="25"/>
                      <a:pt x="73" y="28"/>
                    </a:cubicBezTo>
                    <a:cubicBezTo>
                      <a:pt x="73" y="31"/>
                      <a:pt x="69" y="37"/>
                      <a:pt x="70" y="38"/>
                    </a:cubicBezTo>
                    <a:cubicBezTo>
                      <a:pt x="72" y="39"/>
                      <a:pt x="74" y="46"/>
                      <a:pt x="78" y="47"/>
                    </a:cubicBezTo>
                    <a:cubicBezTo>
                      <a:pt x="81" y="48"/>
                      <a:pt x="84" y="45"/>
                      <a:pt x="85" y="45"/>
                    </a:cubicBezTo>
                    <a:cubicBezTo>
                      <a:pt x="87" y="45"/>
                      <a:pt x="87" y="49"/>
                      <a:pt x="87" y="53"/>
                    </a:cubicBezTo>
                    <a:cubicBezTo>
                      <a:pt x="87" y="56"/>
                      <a:pt x="85" y="58"/>
                      <a:pt x="85" y="58"/>
                    </a:cubicBezTo>
                    <a:cubicBezTo>
                      <a:pt x="85" y="58"/>
                      <a:pt x="79" y="60"/>
                      <a:pt x="77" y="58"/>
                    </a:cubicBezTo>
                    <a:cubicBezTo>
                      <a:pt x="74" y="56"/>
                      <a:pt x="72" y="50"/>
                      <a:pt x="72" y="48"/>
                    </a:cubicBezTo>
                    <a:cubicBezTo>
                      <a:pt x="72" y="46"/>
                      <a:pt x="66" y="46"/>
                      <a:pt x="64" y="46"/>
                    </a:cubicBezTo>
                    <a:cubicBezTo>
                      <a:pt x="61" y="46"/>
                      <a:pt x="59" y="42"/>
                      <a:pt x="58" y="40"/>
                    </a:cubicBezTo>
                    <a:cubicBezTo>
                      <a:pt x="57" y="38"/>
                      <a:pt x="54" y="40"/>
                      <a:pt x="54" y="42"/>
                    </a:cubicBezTo>
                    <a:cubicBezTo>
                      <a:pt x="54" y="43"/>
                      <a:pt x="51" y="43"/>
                      <a:pt x="49" y="43"/>
                    </a:cubicBezTo>
                    <a:cubicBezTo>
                      <a:pt x="46" y="43"/>
                      <a:pt x="41" y="39"/>
                      <a:pt x="39" y="40"/>
                    </a:cubicBezTo>
                    <a:cubicBezTo>
                      <a:pt x="37" y="41"/>
                      <a:pt x="35" y="37"/>
                      <a:pt x="36" y="35"/>
                    </a:cubicBezTo>
                    <a:cubicBezTo>
                      <a:pt x="36" y="33"/>
                      <a:pt x="31" y="34"/>
                      <a:pt x="29" y="35"/>
                    </a:cubicBezTo>
                    <a:cubicBezTo>
                      <a:pt x="27" y="36"/>
                      <a:pt x="26" y="33"/>
                      <a:pt x="26" y="33"/>
                    </a:cubicBezTo>
                    <a:cubicBezTo>
                      <a:pt x="26" y="33"/>
                      <a:pt x="25" y="31"/>
                      <a:pt x="23" y="30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13" y="110"/>
                      <a:pt x="13" y="110"/>
                      <a:pt x="13" y="110"/>
                    </a:cubicBezTo>
                    <a:cubicBezTo>
                      <a:pt x="19" y="108"/>
                      <a:pt x="33" y="107"/>
                      <a:pt x="33" y="109"/>
                    </a:cubicBezTo>
                    <a:cubicBezTo>
                      <a:pt x="33" y="110"/>
                      <a:pt x="34" y="110"/>
                      <a:pt x="34" y="111"/>
                    </a:cubicBezTo>
                    <a:cubicBezTo>
                      <a:pt x="36" y="111"/>
                      <a:pt x="39" y="110"/>
                      <a:pt x="40" y="111"/>
                    </a:cubicBezTo>
                    <a:cubicBezTo>
                      <a:pt x="43" y="111"/>
                      <a:pt x="52" y="114"/>
                      <a:pt x="54" y="113"/>
                    </a:cubicBezTo>
                    <a:cubicBezTo>
                      <a:pt x="57" y="112"/>
                      <a:pt x="62" y="102"/>
                      <a:pt x="66" y="100"/>
                    </a:cubicBezTo>
                    <a:cubicBezTo>
                      <a:pt x="70" y="99"/>
                      <a:pt x="76" y="94"/>
                      <a:pt x="76" y="92"/>
                    </a:cubicBezTo>
                    <a:cubicBezTo>
                      <a:pt x="76" y="90"/>
                      <a:pt x="76" y="88"/>
                      <a:pt x="83" y="87"/>
                    </a:cubicBezTo>
                    <a:cubicBezTo>
                      <a:pt x="92" y="86"/>
                      <a:pt x="92" y="86"/>
                      <a:pt x="92" y="86"/>
                    </a:cubicBezTo>
                    <a:cubicBezTo>
                      <a:pt x="93" y="86"/>
                      <a:pt x="93" y="86"/>
                      <a:pt x="93" y="86"/>
                    </a:cubicBezTo>
                    <a:cubicBezTo>
                      <a:pt x="91" y="78"/>
                      <a:pt x="91" y="78"/>
                      <a:pt x="91" y="78"/>
                    </a:cubicBezTo>
                    <a:cubicBezTo>
                      <a:pt x="91" y="78"/>
                      <a:pt x="120" y="67"/>
                      <a:pt x="122" y="67"/>
                    </a:cubicBezTo>
                    <a:cubicBezTo>
                      <a:pt x="120" y="64"/>
                      <a:pt x="119" y="62"/>
                      <a:pt x="120" y="62"/>
                    </a:cubicBezTo>
                    <a:cubicBezTo>
                      <a:pt x="121" y="61"/>
                      <a:pt x="121" y="53"/>
                      <a:pt x="121" y="51"/>
                    </a:cubicBezTo>
                    <a:cubicBezTo>
                      <a:pt x="121" y="48"/>
                      <a:pt x="128" y="50"/>
                      <a:pt x="126" y="48"/>
                    </a:cubicBezTo>
                    <a:cubicBezTo>
                      <a:pt x="124" y="45"/>
                      <a:pt x="124" y="32"/>
                      <a:pt x="126" y="29"/>
                    </a:cubicBezTo>
                    <a:cubicBezTo>
                      <a:pt x="127" y="26"/>
                      <a:pt x="130" y="29"/>
                      <a:pt x="130" y="27"/>
                    </a:cubicBezTo>
                    <a:cubicBezTo>
                      <a:pt x="130" y="25"/>
                      <a:pt x="126" y="17"/>
                      <a:pt x="124" y="15"/>
                    </a:cubicBezTo>
                    <a:cubicBezTo>
                      <a:pt x="123" y="13"/>
                      <a:pt x="113" y="9"/>
                      <a:pt x="110" y="9"/>
                    </a:cubicBezTo>
                    <a:cubicBezTo>
                      <a:pt x="107" y="8"/>
                      <a:pt x="102" y="5"/>
                      <a:pt x="100" y="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6" name="Freeform 14">
                <a:extLst>
                  <a:ext uri="{FF2B5EF4-FFF2-40B4-BE49-F238E27FC236}">
                    <a16:creationId xmlns:a16="http://schemas.microsoft.com/office/drawing/2014/main" id="{8B5F5D68-7BBD-40B0-95BA-50974445A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4438" y="4141788"/>
                <a:ext cx="49212" cy="42863"/>
              </a:xfrm>
              <a:custGeom>
                <a:avLst/>
                <a:gdLst>
                  <a:gd name="T0" fmla="*/ 18 w 22"/>
                  <a:gd name="T1" fmla="*/ 0 h 19"/>
                  <a:gd name="T2" fmla="*/ 12 w 22"/>
                  <a:gd name="T3" fmla="*/ 2 h 19"/>
                  <a:gd name="T4" fmla="*/ 6 w 22"/>
                  <a:gd name="T5" fmla="*/ 3 h 19"/>
                  <a:gd name="T6" fmla="*/ 5 w 22"/>
                  <a:gd name="T7" fmla="*/ 4 h 19"/>
                  <a:gd name="T8" fmla="*/ 2 w 22"/>
                  <a:gd name="T9" fmla="*/ 11 h 19"/>
                  <a:gd name="T10" fmla="*/ 0 w 22"/>
                  <a:gd name="T11" fmla="*/ 14 h 19"/>
                  <a:gd name="T12" fmla="*/ 2 w 22"/>
                  <a:gd name="T13" fmla="*/ 18 h 19"/>
                  <a:gd name="T14" fmla="*/ 6 w 22"/>
                  <a:gd name="T15" fmla="*/ 18 h 19"/>
                  <a:gd name="T16" fmla="*/ 12 w 22"/>
                  <a:gd name="T17" fmla="*/ 15 h 19"/>
                  <a:gd name="T18" fmla="*/ 21 w 22"/>
                  <a:gd name="T19" fmla="*/ 12 h 19"/>
                  <a:gd name="T20" fmla="*/ 20 w 22"/>
                  <a:gd name="T21" fmla="*/ 5 h 19"/>
                  <a:gd name="T22" fmla="*/ 18 w 22"/>
                  <a:gd name="T2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19">
                    <a:moveTo>
                      <a:pt x="18" y="0"/>
                    </a:moveTo>
                    <a:cubicBezTo>
                      <a:pt x="15" y="1"/>
                      <a:pt x="13" y="1"/>
                      <a:pt x="12" y="2"/>
                    </a:cubicBezTo>
                    <a:cubicBezTo>
                      <a:pt x="10" y="3"/>
                      <a:pt x="9" y="3"/>
                      <a:pt x="6" y="3"/>
                    </a:cubicBezTo>
                    <a:cubicBezTo>
                      <a:pt x="6" y="3"/>
                      <a:pt x="5" y="4"/>
                      <a:pt x="5" y="4"/>
                    </a:cubicBezTo>
                    <a:cubicBezTo>
                      <a:pt x="2" y="5"/>
                      <a:pt x="2" y="11"/>
                      <a:pt x="2" y="11"/>
                    </a:cubicBezTo>
                    <a:cubicBezTo>
                      <a:pt x="2" y="11"/>
                      <a:pt x="0" y="11"/>
                      <a:pt x="0" y="14"/>
                    </a:cubicBezTo>
                    <a:cubicBezTo>
                      <a:pt x="0" y="16"/>
                      <a:pt x="1" y="17"/>
                      <a:pt x="2" y="18"/>
                    </a:cubicBezTo>
                    <a:cubicBezTo>
                      <a:pt x="4" y="18"/>
                      <a:pt x="5" y="18"/>
                      <a:pt x="6" y="18"/>
                    </a:cubicBezTo>
                    <a:cubicBezTo>
                      <a:pt x="12" y="19"/>
                      <a:pt x="12" y="15"/>
                      <a:pt x="12" y="15"/>
                    </a:cubicBezTo>
                    <a:cubicBezTo>
                      <a:pt x="12" y="15"/>
                      <a:pt x="21" y="15"/>
                      <a:pt x="21" y="12"/>
                    </a:cubicBezTo>
                    <a:cubicBezTo>
                      <a:pt x="22" y="9"/>
                      <a:pt x="20" y="5"/>
                      <a:pt x="20" y="5"/>
                    </a:cubicBezTo>
                    <a:lnTo>
                      <a:pt x="18" y="0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7" name="Freeform 15">
                <a:extLst>
                  <a:ext uri="{FF2B5EF4-FFF2-40B4-BE49-F238E27FC236}">
                    <a16:creationId xmlns:a16="http://schemas.microsoft.com/office/drawing/2014/main" id="{071E0C45-D1E0-4C57-BCDE-217BEE605D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888" y="3808413"/>
                <a:ext cx="257175" cy="347663"/>
              </a:xfrm>
              <a:custGeom>
                <a:avLst/>
                <a:gdLst>
                  <a:gd name="T0" fmla="*/ 27 w 117"/>
                  <a:gd name="T1" fmla="*/ 30 h 158"/>
                  <a:gd name="T2" fmla="*/ 34 w 117"/>
                  <a:gd name="T3" fmla="*/ 37 h 158"/>
                  <a:gd name="T4" fmla="*/ 57 w 117"/>
                  <a:gd name="T5" fmla="*/ 45 h 158"/>
                  <a:gd name="T6" fmla="*/ 73 w 117"/>
                  <a:gd name="T7" fmla="*/ 48 h 158"/>
                  <a:gd name="T8" fmla="*/ 77 w 117"/>
                  <a:gd name="T9" fmla="*/ 51 h 158"/>
                  <a:gd name="T10" fmla="*/ 47 w 117"/>
                  <a:gd name="T11" fmla="*/ 81 h 158"/>
                  <a:gd name="T12" fmla="*/ 34 w 117"/>
                  <a:gd name="T13" fmla="*/ 83 h 158"/>
                  <a:gd name="T14" fmla="*/ 19 w 117"/>
                  <a:gd name="T15" fmla="*/ 91 h 158"/>
                  <a:gd name="T16" fmla="*/ 10 w 117"/>
                  <a:gd name="T17" fmla="*/ 92 h 158"/>
                  <a:gd name="T18" fmla="*/ 5 w 117"/>
                  <a:gd name="T19" fmla="*/ 100 h 158"/>
                  <a:gd name="T20" fmla="*/ 0 w 117"/>
                  <a:gd name="T21" fmla="*/ 108 h 158"/>
                  <a:gd name="T22" fmla="*/ 0 w 117"/>
                  <a:gd name="T23" fmla="*/ 149 h 158"/>
                  <a:gd name="T24" fmla="*/ 6 w 117"/>
                  <a:gd name="T25" fmla="*/ 158 h 158"/>
                  <a:gd name="T26" fmla="*/ 31 w 117"/>
                  <a:gd name="T27" fmla="*/ 131 h 158"/>
                  <a:gd name="T28" fmla="*/ 51 w 117"/>
                  <a:gd name="T29" fmla="*/ 116 h 158"/>
                  <a:gd name="T30" fmla="*/ 79 w 117"/>
                  <a:gd name="T31" fmla="*/ 89 h 158"/>
                  <a:gd name="T32" fmla="*/ 92 w 117"/>
                  <a:gd name="T33" fmla="*/ 68 h 158"/>
                  <a:gd name="T34" fmla="*/ 102 w 117"/>
                  <a:gd name="T35" fmla="*/ 50 h 158"/>
                  <a:gd name="T36" fmla="*/ 112 w 117"/>
                  <a:gd name="T37" fmla="*/ 28 h 158"/>
                  <a:gd name="T38" fmla="*/ 116 w 117"/>
                  <a:gd name="T39" fmla="*/ 8 h 158"/>
                  <a:gd name="T40" fmla="*/ 109 w 117"/>
                  <a:gd name="T41" fmla="*/ 4 h 158"/>
                  <a:gd name="T42" fmla="*/ 83 w 117"/>
                  <a:gd name="T43" fmla="*/ 11 h 158"/>
                  <a:gd name="T44" fmla="*/ 65 w 117"/>
                  <a:gd name="T45" fmla="*/ 15 h 158"/>
                  <a:gd name="T46" fmla="*/ 51 w 117"/>
                  <a:gd name="T47" fmla="*/ 18 h 158"/>
                  <a:gd name="T48" fmla="*/ 32 w 117"/>
                  <a:gd name="T49" fmla="*/ 17 h 158"/>
                  <a:gd name="T50" fmla="*/ 26 w 117"/>
                  <a:gd name="T51" fmla="*/ 10 h 158"/>
                  <a:gd name="T52" fmla="*/ 20 w 117"/>
                  <a:gd name="T53" fmla="*/ 20 h 158"/>
                  <a:gd name="T54" fmla="*/ 27 w 117"/>
                  <a:gd name="T55" fmla="*/ 3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7" h="158">
                    <a:moveTo>
                      <a:pt x="27" y="30"/>
                    </a:moveTo>
                    <a:cubicBezTo>
                      <a:pt x="29" y="31"/>
                      <a:pt x="32" y="36"/>
                      <a:pt x="34" y="37"/>
                    </a:cubicBezTo>
                    <a:cubicBezTo>
                      <a:pt x="37" y="37"/>
                      <a:pt x="49" y="42"/>
                      <a:pt x="57" y="45"/>
                    </a:cubicBezTo>
                    <a:cubicBezTo>
                      <a:pt x="65" y="48"/>
                      <a:pt x="70" y="48"/>
                      <a:pt x="73" y="48"/>
                    </a:cubicBezTo>
                    <a:cubicBezTo>
                      <a:pt x="75" y="48"/>
                      <a:pt x="79" y="49"/>
                      <a:pt x="77" y="51"/>
                    </a:cubicBezTo>
                    <a:cubicBezTo>
                      <a:pt x="74" y="53"/>
                      <a:pt x="50" y="77"/>
                      <a:pt x="47" y="81"/>
                    </a:cubicBezTo>
                    <a:cubicBezTo>
                      <a:pt x="43" y="84"/>
                      <a:pt x="41" y="83"/>
                      <a:pt x="34" y="83"/>
                    </a:cubicBezTo>
                    <a:cubicBezTo>
                      <a:pt x="27" y="83"/>
                      <a:pt x="21" y="91"/>
                      <a:pt x="19" y="91"/>
                    </a:cubicBezTo>
                    <a:cubicBezTo>
                      <a:pt x="18" y="91"/>
                      <a:pt x="14" y="91"/>
                      <a:pt x="10" y="92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6" y="158"/>
                      <a:pt x="6" y="158"/>
                      <a:pt x="6" y="158"/>
                    </a:cubicBezTo>
                    <a:cubicBezTo>
                      <a:pt x="10" y="152"/>
                      <a:pt x="22" y="140"/>
                      <a:pt x="31" y="131"/>
                    </a:cubicBezTo>
                    <a:cubicBezTo>
                      <a:pt x="40" y="121"/>
                      <a:pt x="45" y="119"/>
                      <a:pt x="51" y="116"/>
                    </a:cubicBezTo>
                    <a:cubicBezTo>
                      <a:pt x="56" y="113"/>
                      <a:pt x="69" y="100"/>
                      <a:pt x="79" y="89"/>
                    </a:cubicBezTo>
                    <a:cubicBezTo>
                      <a:pt x="84" y="81"/>
                      <a:pt x="91" y="73"/>
                      <a:pt x="92" y="68"/>
                    </a:cubicBezTo>
                    <a:cubicBezTo>
                      <a:pt x="92" y="62"/>
                      <a:pt x="98" y="55"/>
                      <a:pt x="102" y="50"/>
                    </a:cubicBezTo>
                    <a:cubicBezTo>
                      <a:pt x="106" y="45"/>
                      <a:pt x="112" y="32"/>
                      <a:pt x="112" y="28"/>
                    </a:cubicBezTo>
                    <a:cubicBezTo>
                      <a:pt x="112" y="24"/>
                      <a:pt x="116" y="15"/>
                      <a:pt x="116" y="8"/>
                    </a:cubicBezTo>
                    <a:cubicBezTo>
                      <a:pt x="117" y="1"/>
                      <a:pt x="111" y="0"/>
                      <a:pt x="109" y="4"/>
                    </a:cubicBezTo>
                    <a:cubicBezTo>
                      <a:pt x="107" y="8"/>
                      <a:pt x="93" y="11"/>
                      <a:pt x="83" y="11"/>
                    </a:cubicBezTo>
                    <a:cubicBezTo>
                      <a:pt x="74" y="11"/>
                      <a:pt x="69" y="12"/>
                      <a:pt x="65" y="15"/>
                    </a:cubicBezTo>
                    <a:cubicBezTo>
                      <a:pt x="62" y="19"/>
                      <a:pt x="54" y="15"/>
                      <a:pt x="51" y="18"/>
                    </a:cubicBezTo>
                    <a:cubicBezTo>
                      <a:pt x="48" y="22"/>
                      <a:pt x="36" y="25"/>
                      <a:pt x="32" y="17"/>
                    </a:cubicBezTo>
                    <a:cubicBezTo>
                      <a:pt x="30" y="13"/>
                      <a:pt x="28" y="11"/>
                      <a:pt x="26" y="10"/>
                    </a:cubicBezTo>
                    <a:cubicBezTo>
                      <a:pt x="23" y="13"/>
                      <a:pt x="19" y="18"/>
                      <a:pt x="20" y="20"/>
                    </a:cubicBezTo>
                    <a:cubicBezTo>
                      <a:pt x="21" y="22"/>
                      <a:pt x="25" y="29"/>
                      <a:pt x="27" y="3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8" name="Freeform 16">
                <a:extLst>
                  <a:ext uri="{FF2B5EF4-FFF2-40B4-BE49-F238E27FC236}">
                    <a16:creationId xmlns:a16="http://schemas.microsoft.com/office/drawing/2014/main" id="{50176ABC-0744-4989-9FC5-1AFE195CB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913" y="3178175"/>
                <a:ext cx="298450" cy="239713"/>
              </a:xfrm>
              <a:custGeom>
                <a:avLst/>
                <a:gdLst>
                  <a:gd name="T0" fmla="*/ 50 w 136"/>
                  <a:gd name="T1" fmla="*/ 109 h 109"/>
                  <a:gd name="T2" fmla="*/ 50 w 136"/>
                  <a:gd name="T3" fmla="*/ 93 h 109"/>
                  <a:gd name="T4" fmla="*/ 68 w 136"/>
                  <a:gd name="T5" fmla="*/ 81 h 109"/>
                  <a:gd name="T6" fmla="*/ 75 w 136"/>
                  <a:gd name="T7" fmla="*/ 79 h 109"/>
                  <a:gd name="T8" fmla="*/ 85 w 136"/>
                  <a:gd name="T9" fmla="*/ 77 h 109"/>
                  <a:gd name="T10" fmla="*/ 91 w 136"/>
                  <a:gd name="T11" fmla="*/ 70 h 109"/>
                  <a:gd name="T12" fmla="*/ 100 w 136"/>
                  <a:gd name="T13" fmla="*/ 67 h 109"/>
                  <a:gd name="T14" fmla="*/ 105 w 136"/>
                  <a:gd name="T15" fmla="*/ 64 h 109"/>
                  <a:gd name="T16" fmla="*/ 106 w 136"/>
                  <a:gd name="T17" fmla="*/ 57 h 109"/>
                  <a:gd name="T18" fmla="*/ 110 w 136"/>
                  <a:gd name="T19" fmla="*/ 54 h 109"/>
                  <a:gd name="T20" fmla="*/ 117 w 136"/>
                  <a:gd name="T21" fmla="*/ 50 h 109"/>
                  <a:gd name="T22" fmla="*/ 133 w 136"/>
                  <a:gd name="T23" fmla="*/ 49 h 109"/>
                  <a:gd name="T24" fmla="*/ 136 w 136"/>
                  <a:gd name="T25" fmla="*/ 45 h 109"/>
                  <a:gd name="T26" fmla="*/ 131 w 136"/>
                  <a:gd name="T27" fmla="*/ 37 h 109"/>
                  <a:gd name="T28" fmla="*/ 131 w 136"/>
                  <a:gd name="T29" fmla="*/ 27 h 109"/>
                  <a:gd name="T30" fmla="*/ 127 w 136"/>
                  <a:gd name="T31" fmla="*/ 15 h 109"/>
                  <a:gd name="T32" fmla="*/ 125 w 136"/>
                  <a:gd name="T33" fmla="*/ 12 h 109"/>
                  <a:gd name="T34" fmla="*/ 112 w 136"/>
                  <a:gd name="T35" fmla="*/ 9 h 109"/>
                  <a:gd name="T36" fmla="*/ 93 w 136"/>
                  <a:gd name="T37" fmla="*/ 7 h 109"/>
                  <a:gd name="T38" fmla="*/ 83 w 136"/>
                  <a:gd name="T39" fmla="*/ 2 h 109"/>
                  <a:gd name="T40" fmla="*/ 70 w 136"/>
                  <a:gd name="T41" fmla="*/ 25 h 109"/>
                  <a:gd name="T42" fmla="*/ 53 w 136"/>
                  <a:gd name="T43" fmla="*/ 33 h 109"/>
                  <a:gd name="T44" fmla="*/ 45 w 136"/>
                  <a:gd name="T45" fmla="*/ 43 h 109"/>
                  <a:gd name="T46" fmla="*/ 38 w 136"/>
                  <a:gd name="T47" fmla="*/ 53 h 109"/>
                  <a:gd name="T48" fmla="*/ 38 w 136"/>
                  <a:gd name="T49" fmla="*/ 71 h 109"/>
                  <a:gd name="T50" fmla="*/ 25 w 136"/>
                  <a:gd name="T51" fmla="*/ 89 h 109"/>
                  <a:gd name="T52" fmla="*/ 9 w 136"/>
                  <a:gd name="T53" fmla="*/ 100 h 109"/>
                  <a:gd name="T54" fmla="*/ 0 w 136"/>
                  <a:gd name="T55" fmla="*/ 104 h 109"/>
                  <a:gd name="T56" fmla="*/ 42 w 136"/>
                  <a:gd name="T57" fmla="*/ 104 h 109"/>
                  <a:gd name="T58" fmla="*/ 50 w 136"/>
                  <a:gd name="T59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6" h="109">
                    <a:moveTo>
                      <a:pt x="50" y="109"/>
                    </a:moveTo>
                    <a:cubicBezTo>
                      <a:pt x="50" y="101"/>
                      <a:pt x="50" y="94"/>
                      <a:pt x="50" y="93"/>
                    </a:cubicBezTo>
                    <a:cubicBezTo>
                      <a:pt x="50" y="92"/>
                      <a:pt x="66" y="83"/>
                      <a:pt x="68" y="81"/>
                    </a:cubicBezTo>
                    <a:cubicBezTo>
                      <a:pt x="71" y="80"/>
                      <a:pt x="75" y="82"/>
                      <a:pt x="75" y="79"/>
                    </a:cubicBezTo>
                    <a:cubicBezTo>
                      <a:pt x="75" y="76"/>
                      <a:pt x="82" y="78"/>
                      <a:pt x="85" y="77"/>
                    </a:cubicBezTo>
                    <a:cubicBezTo>
                      <a:pt x="89" y="76"/>
                      <a:pt x="91" y="74"/>
                      <a:pt x="91" y="70"/>
                    </a:cubicBezTo>
                    <a:cubicBezTo>
                      <a:pt x="91" y="67"/>
                      <a:pt x="96" y="68"/>
                      <a:pt x="100" y="67"/>
                    </a:cubicBezTo>
                    <a:cubicBezTo>
                      <a:pt x="103" y="67"/>
                      <a:pt x="103" y="64"/>
                      <a:pt x="105" y="64"/>
                    </a:cubicBezTo>
                    <a:cubicBezTo>
                      <a:pt x="107" y="64"/>
                      <a:pt x="106" y="61"/>
                      <a:pt x="106" y="57"/>
                    </a:cubicBezTo>
                    <a:cubicBezTo>
                      <a:pt x="107" y="53"/>
                      <a:pt x="107" y="54"/>
                      <a:pt x="110" y="54"/>
                    </a:cubicBezTo>
                    <a:cubicBezTo>
                      <a:pt x="113" y="54"/>
                      <a:pt x="117" y="52"/>
                      <a:pt x="117" y="50"/>
                    </a:cubicBezTo>
                    <a:cubicBezTo>
                      <a:pt x="117" y="48"/>
                      <a:pt x="131" y="49"/>
                      <a:pt x="133" y="49"/>
                    </a:cubicBezTo>
                    <a:cubicBezTo>
                      <a:pt x="135" y="49"/>
                      <a:pt x="136" y="47"/>
                      <a:pt x="136" y="45"/>
                    </a:cubicBezTo>
                    <a:cubicBezTo>
                      <a:pt x="135" y="43"/>
                      <a:pt x="134" y="38"/>
                      <a:pt x="131" y="37"/>
                    </a:cubicBezTo>
                    <a:cubicBezTo>
                      <a:pt x="129" y="37"/>
                      <a:pt x="131" y="31"/>
                      <a:pt x="131" y="27"/>
                    </a:cubicBezTo>
                    <a:cubicBezTo>
                      <a:pt x="131" y="23"/>
                      <a:pt x="130" y="19"/>
                      <a:pt x="127" y="15"/>
                    </a:cubicBezTo>
                    <a:cubicBezTo>
                      <a:pt x="127" y="15"/>
                      <a:pt x="126" y="13"/>
                      <a:pt x="125" y="12"/>
                    </a:cubicBezTo>
                    <a:cubicBezTo>
                      <a:pt x="121" y="12"/>
                      <a:pt x="117" y="9"/>
                      <a:pt x="112" y="9"/>
                    </a:cubicBezTo>
                    <a:cubicBezTo>
                      <a:pt x="107" y="9"/>
                      <a:pt x="98" y="12"/>
                      <a:pt x="93" y="7"/>
                    </a:cubicBezTo>
                    <a:cubicBezTo>
                      <a:pt x="89" y="2"/>
                      <a:pt x="86" y="0"/>
                      <a:pt x="83" y="2"/>
                    </a:cubicBezTo>
                    <a:cubicBezTo>
                      <a:pt x="80" y="3"/>
                      <a:pt x="74" y="20"/>
                      <a:pt x="70" y="25"/>
                    </a:cubicBezTo>
                    <a:cubicBezTo>
                      <a:pt x="67" y="30"/>
                      <a:pt x="58" y="33"/>
                      <a:pt x="53" y="33"/>
                    </a:cubicBezTo>
                    <a:cubicBezTo>
                      <a:pt x="49" y="33"/>
                      <a:pt x="48" y="40"/>
                      <a:pt x="45" y="43"/>
                    </a:cubicBezTo>
                    <a:cubicBezTo>
                      <a:pt x="41" y="46"/>
                      <a:pt x="43" y="50"/>
                      <a:pt x="38" y="53"/>
                    </a:cubicBezTo>
                    <a:cubicBezTo>
                      <a:pt x="34" y="57"/>
                      <a:pt x="36" y="67"/>
                      <a:pt x="38" y="71"/>
                    </a:cubicBezTo>
                    <a:cubicBezTo>
                      <a:pt x="41" y="74"/>
                      <a:pt x="31" y="86"/>
                      <a:pt x="25" y="89"/>
                    </a:cubicBezTo>
                    <a:cubicBezTo>
                      <a:pt x="19" y="92"/>
                      <a:pt x="18" y="99"/>
                      <a:pt x="9" y="100"/>
                    </a:cubicBezTo>
                    <a:cubicBezTo>
                      <a:pt x="5" y="101"/>
                      <a:pt x="2" y="102"/>
                      <a:pt x="0" y="104"/>
                    </a:cubicBezTo>
                    <a:cubicBezTo>
                      <a:pt x="14" y="104"/>
                      <a:pt x="35" y="104"/>
                      <a:pt x="42" y="104"/>
                    </a:cubicBezTo>
                    <a:cubicBezTo>
                      <a:pt x="51" y="104"/>
                      <a:pt x="49" y="106"/>
                      <a:pt x="50" y="10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39" name="Freeform 17">
                <a:extLst>
                  <a:ext uri="{FF2B5EF4-FFF2-40B4-BE49-F238E27FC236}">
                    <a16:creationId xmlns:a16="http://schemas.microsoft.com/office/drawing/2014/main" id="{BF20A0EB-54F2-4F66-8F03-30978982E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500" y="3136900"/>
                <a:ext cx="106362" cy="201613"/>
              </a:xfrm>
              <a:custGeom>
                <a:avLst/>
                <a:gdLst>
                  <a:gd name="T0" fmla="*/ 13 w 48"/>
                  <a:gd name="T1" fmla="*/ 23 h 92"/>
                  <a:gd name="T2" fmla="*/ 10 w 48"/>
                  <a:gd name="T3" fmla="*/ 35 h 92"/>
                  <a:gd name="T4" fmla="*/ 2 w 48"/>
                  <a:gd name="T5" fmla="*/ 43 h 92"/>
                  <a:gd name="T6" fmla="*/ 7 w 48"/>
                  <a:gd name="T7" fmla="*/ 55 h 92"/>
                  <a:gd name="T8" fmla="*/ 12 w 48"/>
                  <a:gd name="T9" fmla="*/ 62 h 92"/>
                  <a:gd name="T10" fmla="*/ 20 w 48"/>
                  <a:gd name="T11" fmla="*/ 69 h 92"/>
                  <a:gd name="T12" fmla="*/ 26 w 48"/>
                  <a:gd name="T13" fmla="*/ 89 h 92"/>
                  <a:gd name="T14" fmla="*/ 27 w 48"/>
                  <a:gd name="T15" fmla="*/ 92 h 92"/>
                  <a:gd name="T16" fmla="*/ 31 w 48"/>
                  <a:gd name="T17" fmla="*/ 87 h 92"/>
                  <a:gd name="T18" fmla="*/ 33 w 48"/>
                  <a:gd name="T19" fmla="*/ 78 h 92"/>
                  <a:gd name="T20" fmla="*/ 34 w 48"/>
                  <a:gd name="T21" fmla="*/ 73 h 92"/>
                  <a:gd name="T22" fmla="*/ 43 w 48"/>
                  <a:gd name="T23" fmla="*/ 65 h 92"/>
                  <a:gd name="T24" fmla="*/ 48 w 48"/>
                  <a:gd name="T25" fmla="*/ 62 h 92"/>
                  <a:gd name="T26" fmla="*/ 48 w 48"/>
                  <a:gd name="T27" fmla="*/ 56 h 92"/>
                  <a:gd name="T28" fmla="*/ 44 w 48"/>
                  <a:gd name="T29" fmla="*/ 51 h 92"/>
                  <a:gd name="T30" fmla="*/ 39 w 48"/>
                  <a:gd name="T31" fmla="*/ 47 h 92"/>
                  <a:gd name="T32" fmla="*/ 30 w 48"/>
                  <a:gd name="T33" fmla="*/ 43 h 92"/>
                  <a:gd name="T34" fmla="*/ 39 w 48"/>
                  <a:gd name="T35" fmla="*/ 36 h 92"/>
                  <a:gd name="T36" fmla="*/ 39 w 48"/>
                  <a:gd name="T37" fmla="*/ 20 h 92"/>
                  <a:gd name="T38" fmla="*/ 41 w 48"/>
                  <a:gd name="T39" fmla="*/ 11 h 92"/>
                  <a:gd name="T40" fmla="*/ 40 w 48"/>
                  <a:gd name="T41" fmla="*/ 7 h 92"/>
                  <a:gd name="T42" fmla="*/ 35 w 48"/>
                  <a:gd name="T43" fmla="*/ 5 h 92"/>
                  <a:gd name="T44" fmla="*/ 19 w 48"/>
                  <a:gd name="T45" fmla="*/ 4 h 92"/>
                  <a:gd name="T46" fmla="*/ 13 w 48"/>
                  <a:gd name="T47" fmla="*/ 6 h 92"/>
                  <a:gd name="T48" fmla="*/ 13 w 48"/>
                  <a:gd name="T49" fmla="*/ 2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8" h="92">
                    <a:moveTo>
                      <a:pt x="13" y="23"/>
                    </a:moveTo>
                    <a:cubicBezTo>
                      <a:pt x="16" y="27"/>
                      <a:pt x="12" y="34"/>
                      <a:pt x="10" y="35"/>
                    </a:cubicBezTo>
                    <a:cubicBezTo>
                      <a:pt x="7" y="37"/>
                      <a:pt x="5" y="43"/>
                      <a:pt x="2" y="43"/>
                    </a:cubicBezTo>
                    <a:cubicBezTo>
                      <a:pt x="0" y="43"/>
                      <a:pt x="2" y="53"/>
                      <a:pt x="7" y="55"/>
                    </a:cubicBezTo>
                    <a:cubicBezTo>
                      <a:pt x="12" y="57"/>
                      <a:pt x="12" y="60"/>
                      <a:pt x="12" y="62"/>
                    </a:cubicBezTo>
                    <a:cubicBezTo>
                      <a:pt x="12" y="64"/>
                      <a:pt x="18" y="66"/>
                      <a:pt x="20" y="69"/>
                    </a:cubicBezTo>
                    <a:cubicBezTo>
                      <a:pt x="22" y="71"/>
                      <a:pt x="26" y="84"/>
                      <a:pt x="26" y="89"/>
                    </a:cubicBezTo>
                    <a:cubicBezTo>
                      <a:pt x="26" y="90"/>
                      <a:pt x="26" y="91"/>
                      <a:pt x="27" y="92"/>
                    </a:cubicBezTo>
                    <a:cubicBezTo>
                      <a:pt x="28" y="90"/>
                      <a:pt x="30" y="89"/>
                      <a:pt x="31" y="87"/>
                    </a:cubicBezTo>
                    <a:cubicBezTo>
                      <a:pt x="33" y="85"/>
                      <a:pt x="34" y="80"/>
                      <a:pt x="33" y="78"/>
                    </a:cubicBezTo>
                    <a:cubicBezTo>
                      <a:pt x="33" y="77"/>
                      <a:pt x="33" y="75"/>
                      <a:pt x="34" y="73"/>
                    </a:cubicBezTo>
                    <a:cubicBezTo>
                      <a:pt x="36" y="72"/>
                      <a:pt x="42" y="66"/>
                      <a:pt x="43" y="65"/>
                    </a:cubicBezTo>
                    <a:cubicBezTo>
                      <a:pt x="44" y="65"/>
                      <a:pt x="48" y="65"/>
                      <a:pt x="48" y="62"/>
                    </a:cubicBezTo>
                    <a:cubicBezTo>
                      <a:pt x="48" y="60"/>
                      <a:pt x="48" y="58"/>
                      <a:pt x="48" y="56"/>
                    </a:cubicBezTo>
                    <a:cubicBezTo>
                      <a:pt x="45" y="54"/>
                      <a:pt x="44" y="52"/>
                      <a:pt x="44" y="51"/>
                    </a:cubicBezTo>
                    <a:cubicBezTo>
                      <a:pt x="44" y="49"/>
                      <a:pt x="41" y="45"/>
                      <a:pt x="39" y="47"/>
                    </a:cubicBezTo>
                    <a:cubicBezTo>
                      <a:pt x="37" y="49"/>
                      <a:pt x="31" y="48"/>
                      <a:pt x="30" y="43"/>
                    </a:cubicBezTo>
                    <a:cubicBezTo>
                      <a:pt x="29" y="39"/>
                      <a:pt x="34" y="39"/>
                      <a:pt x="39" y="36"/>
                    </a:cubicBezTo>
                    <a:cubicBezTo>
                      <a:pt x="44" y="32"/>
                      <a:pt x="44" y="24"/>
                      <a:pt x="39" y="20"/>
                    </a:cubicBezTo>
                    <a:cubicBezTo>
                      <a:pt x="34" y="16"/>
                      <a:pt x="38" y="14"/>
                      <a:pt x="41" y="11"/>
                    </a:cubicBezTo>
                    <a:cubicBezTo>
                      <a:pt x="45" y="7"/>
                      <a:pt x="42" y="5"/>
                      <a:pt x="40" y="7"/>
                    </a:cubicBezTo>
                    <a:cubicBezTo>
                      <a:pt x="38" y="8"/>
                      <a:pt x="35" y="9"/>
                      <a:pt x="35" y="5"/>
                    </a:cubicBezTo>
                    <a:cubicBezTo>
                      <a:pt x="34" y="1"/>
                      <a:pt x="23" y="0"/>
                      <a:pt x="19" y="4"/>
                    </a:cubicBezTo>
                    <a:cubicBezTo>
                      <a:pt x="18" y="5"/>
                      <a:pt x="15" y="6"/>
                      <a:pt x="13" y="6"/>
                    </a:cubicBezTo>
                    <a:cubicBezTo>
                      <a:pt x="12" y="12"/>
                      <a:pt x="11" y="21"/>
                      <a:pt x="13" y="2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0" name="Freeform 18">
                <a:extLst>
                  <a:ext uri="{FF2B5EF4-FFF2-40B4-BE49-F238E27FC236}">
                    <a16:creationId xmlns:a16="http://schemas.microsoft.com/office/drawing/2014/main" id="{034BFE6E-389F-4587-B26D-43CE46900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0038" y="3143250"/>
                <a:ext cx="515937" cy="496888"/>
              </a:xfrm>
              <a:custGeom>
                <a:avLst/>
                <a:gdLst>
                  <a:gd name="T0" fmla="*/ 81 w 235"/>
                  <a:gd name="T1" fmla="*/ 43 h 226"/>
                  <a:gd name="T2" fmla="*/ 81 w 235"/>
                  <a:gd name="T3" fmla="*/ 53 h 226"/>
                  <a:gd name="T4" fmla="*/ 86 w 235"/>
                  <a:gd name="T5" fmla="*/ 61 h 226"/>
                  <a:gd name="T6" fmla="*/ 83 w 235"/>
                  <a:gd name="T7" fmla="*/ 65 h 226"/>
                  <a:gd name="T8" fmla="*/ 67 w 235"/>
                  <a:gd name="T9" fmla="*/ 66 h 226"/>
                  <a:gd name="T10" fmla="*/ 60 w 235"/>
                  <a:gd name="T11" fmla="*/ 70 h 226"/>
                  <a:gd name="T12" fmla="*/ 56 w 235"/>
                  <a:gd name="T13" fmla="*/ 73 h 226"/>
                  <a:gd name="T14" fmla="*/ 55 w 235"/>
                  <a:gd name="T15" fmla="*/ 80 h 226"/>
                  <a:gd name="T16" fmla="*/ 50 w 235"/>
                  <a:gd name="T17" fmla="*/ 83 h 226"/>
                  <a:gd name="T18" fmla="*/ 41 w 235"/>
                  <a:gd name="T19" fmla="*/ 86 h 226"/>
                  <a:gd name="T20" fmla="*/ 35 w 235"/>
                  <a:gd name="T21" fmla="*/ 93 h 226"/>
                  <a:gd name="T22" fmla="*/ 25 w 235"/>
                  <a:gd name="T23" fmla="*/ 95 h 226"/>
                  <a:gd name="T24" fmla="*/ 18 w 235"/>
                  <a:gd name="T25" fmla="*/ 97 h 226"/>
                  <a:gd name="T26" fmla="*/ 0 w 235"/>
                  <a:gd name="T27" fmla="*/ 109 h 226"/>
                  <a:gd name="T28" fmla="*/ 0 w 235"/>
                  <a:gd name="T29" fmla="*/ 125 h 226"/>
                  <a:gd name="T30" fmla="*/ 3 w 235"/>
                  <a:gd name="T31" fmla="*/ 127 h 226"/>
                  <a:gd name="T32" fmla="*/ 112 w 235"/>
                  <a:gd name="T33" fmla="*/ 200 h 226"/>
                  <a:gd name="T34" fmla="*/ 119 w 235"/>
                  <a:gd name="T35" fmla="*/ 210 h 226"/>
                  <a:gd name="T36" fmla="*/ 132 w 235"/>
                  <a:gd name="T37" fmla="*/ 214 h 226"/>
                  <a:gd name="T38" fmla="*/ 137 w 235"/>
                  <a:gd name="T39" fmla="*/ 226 h 226"/>
                  <a:gd name="T40" fmla="*/ 148 w 235"/>
                  <a:gd name="T41" fmla="*/ 223 h 226"/>
                  <a:gd name="T42" fmla="*/ 166 w 235"/>
                  <a:gd name="T43" fmla="*/ 218 h 226"/>
                  <a:gd name="T44" fmla="*/ 186 w 235"/>
                  <a:gd name="T45" fmla="*/ 201 h 226"/>
                  <a:gd name="T46" fmla="*/ 235 w 235"/>
                  <a:gd name="T47" fmla="*/ 171 h 226"/>
                  <a:gd name="T48" fmla="*/ 235 w 235"/>
                  <a:gd name="T49" fmla="*/ 171 h 226"/>
                  <a:gd name="T50" fmla="*/ 229 w 235"/>
                  <a:gd name="T51" fmla="*/ 161 h 226"/>
                  <a:gd name="T52" fmla="*/ 221 w 235"/>
                  <a:gd name="T53" fmla="*/ 159 h 226"/>
                  <a:gd name="T54" fmla="*/ 213 w 235"/>
                  <a:gd name="T55" fmla="*/ 154 h 226"/>
                  <a:gd name="T56" fmla="*/ 212 w 235"/>
                  <a:gd name="T57" fmla="*/ 146 h 226"/>
                  <a:gd name="T58" fmla="*/ 207 w 235"/>
                  <a:gd name="T59" fmla="*/ 138 h 226"/>
                  <a:gd name="T60" fmla="*/ 212 w 235"/>
                  <a:gd name="T61" fmla="*/ 133 h 226"/>
                  <a:gd name="T62" fmla="*/ 210 w 235"/>
                  <a:gd name="T63" fmla="*/ 128 h 226"/>
                  <a:gd name="T64" fmla="*/ 210 w 235"/>
                  <a:gd name="T65" fmla="*/ 121 h 226"/>
                  <a:gd name="T66" fmla="*/ 211 w 235"/>
                  <a:gd name="T67" fmla="*/ 113 h 226"/>
                  <a:gd name="T68" fmla="*/ 211 w 235"/>
                  <a:gd name="T69" fmla="*/ 101 h 226"/>
                  <a:gd name="T70" fmla="*/ 206 w 235"/>
                  <a:gd name="T71" fmla="*/ 91 h 226"/>
                  <a:gd name="T72" fmla="*/ 209 w 235"/>
                  <a:gd name="T73" fmla="*/ 89 h 226"/>
                  <a:gd name="T74" fmla="*/ 208 w 235"/>
                  <a:gd name="T75" fmla="*/ 86 h 226"/>
                  <a:gd name="T76" fmla="*/ 202 w 235"/>
                  <a:gd name="T77" fmla="*/ 66 h 226"/>
                  <a:gd name="T78" fmla="*/ 194 w 235"/>
                  <a:gd name="T79" fmla="*/ 59 h 226"/>
                  <a:gd name="T80" fmla="*/ 189 w 235"/>
                  <a:gd name="T81" fmla="*/ 52 h 226"/>
                  <a:gd name="T82" fmla="*/ 184 w 235"/>
                  <a:gd name="T83" fmla="*/ 40 h 226"/>
                  <a:gd name="T84" fmla="*/ 192 w 235"/>
                  <a:gd name="T85" fmla="*/ 32 h 226"/>
                  <a:gd name="T86" fmla="*/ 195 w 235"/>
                  <a:gd name="T87" fmla="*/ 20 h 226"/>
                  <a:gd name="T88" fmla="*/ 195 w 235"/>
                  <a:gd name="T89" fmla="*/ 3 h 226"/>
                  <a:gd name="T90" fmla="*/ 184 w 235"/>
                  <a:gd name="T91" fmla="*/ 1 h 226"/>
                  <a:gd name="T92" fmla="*/ 173 w 235"/>
                  <a:gd name="T93" fmla="*/ 2 h 226"/>
                  <a:gd name="T94" fmla="*/ 157 w 235"/>
                  <a:gd name="T95" fmla="*/ 5 h 226"/>
                  <a:gd name="T96" fmla="*/ 115 w 235"/>
                  <a:gd name="T97" fmla="*/ 7 h 226"/>
                  <a:gd name="T98" fmla="*/ 97 w 235"/>
                  <a:gd name="T99" fmla="*/ 17 h 226"/>
                  <a:gd name="T100" fmla="*/ 80 w 235"/>
                  <a:gd name="T101" fmla="*/ 26 h 226"/>
                  <a:gd name="T102" fmla="*/ 75 w 235"/>
                  <a:gd name="T103" fmla="*/ 28 h 226"/>
                  <a:gd name="T104" fmla="*/ 77 w 235"/>
                  <a:gd name="T105" fmla="*/ 31 h 226"/>
                  <a:gd name="T106" fmla="*/ 81 w 235"/>
                  <a:gd name="T107" fmla="*/ 43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5" h="226">
                    <a:moveTo>
                      <a:pt x="81" y="43"/>
                    </a:moveTo>
                    <a:cubicBezTo>
                      <a:pt x="81" y="47"/>
                      <a:pt x="79" y="53"/>
                      <a:pt x="81" y="53"/>
                    </a:cubicBezTo>
                    <a:cubicBezTo>
                      <a:pt x="84" y="54"/>
                      <a:pt x="85" y="59"/>
                      <a:pt x="86" y="61"/>
                    </a:cubicBezTo>
                    <a:cubicBezTo>
                      <a:pt x="86" y="63"/>
                      <a:pt x="85" y="65"/>
                      <a:pt x="83" y="65"/>
                    </a:cubicBezTo>
                    <a:cubicBezTo>
                      <a:pt x="81" y="65"/>
                      <a:pt x="67" y="64"/>
                      <a:pt x="67" y="66"/>
                    </a:cubicBezTo>
                    <a:cubicBezTo>
                      <a:pt x="67" y="68"/>
                      <a:pt x="63" y="70"/>
                      <a:pt x="60" y="70"/>
                    </a:cubicBezTo>
                    <a:cubicBezTo>
                      <a:pt x="57" y="70"/>
                      <a:pt x="57" y="69"/>
                      <a:pt x="56" y="73"/>
                    </a:cubicBezTo>
                    <a:cubicBezTo>
                      <a:pt x="56" y="77"/>
                      <a:pt x="57" y="80"/>
                      <a:pt x="55" y="80"/>
                    </a:cubicBezTo>
                    <a:cubicBezTo>
                      <a:pt x="53" y="80"/>
                      <a:pt x="53" y="83"/>
                      <a:pt x="50" y="83"/>
                    </a:cubicBezTo>
                    <a:cubicBezTo>
                      <a:pt x="46" y="84"/>
                      <a:pt x="41" y="83"/>
                      <a:pt x="41" y="86"/>
                    </a:cubicBezTo>
                    <a:cubicBezTo>
                      <a:pt x="41" y="90"/>
                      <a:pt x="39" y="92"/>
                      <a:pt x="35" y="93"/>
                    </a:cubicBezTo>
                    <a:cubicBezTo>
                      <a:pt x="32" y="94"/>
                      <a:pt x="25" y="92"/>
                      <a:pt x="25" y="95"/>
                    </a:cubicBezTo>
                    <a:cubicBezTo>
                      <a:pt x="25" y="98"/>
                      <a:pt x="21" y="96"/>
                      <a:pt x="18" y="97"/>
                    </a:cubicBezTo>
                    <a:cubicBezTo>
                      <a:pt x="16" y="99"/>
                      <a:pt x="0" y="108"/>
                      <a:pt x="0" y="109"/>
                    </a:cubicBezTo>
                    <a:cubicBezTo>
                      <a:pt x="0" y="110"/>
                      <a:pt x="0" y="117"/>
                      <a:pt x="0" y="125"/>
                    </a:cubicBezTo>
                    <a:cubicBezTo>
                      <a:pt x="1" y="125"/>
                      <a:pt x="1" y="126"/>
                      <a:pt x="3" y="127"/>
                    </a:cubicBezTo>
                    <a:cubicBezTo>
                      <a:pt x="8" y="130"/>
                      <a:pt x="109" y="196"/>
                      <a:pt x="112" y="200"/>
                    </a:cubicBezTo>
                    <a:cubicBezTo>
                      <a:pt x="115" y="203"/>
                      <a:pt x="119" y="210"/>
                      <a:pt x="119" y="210"/>
                    </a:cubicBezTo>
                    <a:cubicBezTo>
                      <a:pt x="119" y="210"/>
                      <a:pt x="126" y="211"/>
                      <a:pt x="132" y="214"/>
                    </a:cubicBezTo>
                    <a:cubicBezTo>
                      <a:pt x="137" y="217"/>
                      <a:pt x="137" y="226"/>
                      <a:pt x="137" y="226"/>
                    </a:cubicBezTo>
                    <a:cubicBezTo>
                      <a:pt x="137" y="226"/>
                      <a:pt x="144" y="224"/>
                      <a:pt x="148" y="223"/>
                    </a:cubicBezTo>
                    <a:cubicBezTo>
                      <a:pt x="152" y="222"/>
                      <a:pt x="166" y="218"/>
                      <a:pt x="166" y="218"/>
                    </a:cubicBezTo>
                    <a:cubicBezTo>
                      <a:pt x="186" y="201"/>
                      <a:pt x="186" y="201"/>
                      <a:pt x="186" y="201"/>
                    </a:cubicBezTo>
                    <a:cubicBezTo>
                      <a:pt x="235" y="171"/>
                      <a:pt x="235" y="171"/>
                      <a:pt x="235" y="171"/>
                    </a:cubicBezTo>
                    <a:cubicBezTo>
                      <a:pt x="235" y="171"/>
                      <a:pt x="235" y="171"/>
                      <a:pt x="235" y="171"/>
                    </a:cubicBezTo>
                    <a:cubicBezTo>
                      <a:pt x="233" y="166"/>
                      <a:pt x="232" y="161"/>
                      <a:pt x="229" y="161"/>
                    </a:cubicBezTo>
                    <a:cubicBezTo>
                      <a:pt x="226" y="161"/>
                      <a:pt x="224" y="159"/>
                      <a:pt x="221" y="159"/>
                    </a:cubicBezTo>
                    <a:cubicBezTo>
                      <a:pt x="218" y="159"/>
                      <a:pt x="213" y="157"/>
                      <a:pt x="213" y="154"/>
                    </a:cubicBezTo>
                    <a:cubicBezTo>
                      <a:pt x="213" y="151"/>
                      <a:pt x="214" y="149"/>
                      <a:pt x="212" y="146"/>
                    </a:cubicBezTo>
                    <a:cubicBezTo>
                      <a:pt x="209" y="142"/>
                      <a:pt x="207" y="140"/>
                      <a:pt x="207" y="138"/>
                    </a:cubicBezTo>
                    <a:cubicBezTo>
                      <a:pt x="207" y="137"/>
                      <a:pt x="211" y="134"/>
                      <a:pt x="212" y="133"/>
                    </a:cubicBezTo>
                    <a:cubicBezTo>
                      <a:pt x="212" y="132"/>
                      <a:pt x="210" y="130"/>
                      <a:pt x="210" y="128"/>
                    </a:cubicBezTo>
                    <a:cubicBezTo>
                      <a:pt x="210" y="126"/>
                      <a:pt x="208" y="123"/>
                      <a:pt x="210" y="121"/>
                    </a:cubicBezTo>
                    <a:cubicBezTo>
                      <a:pt x="212" y="119"/>
                      <a:pt x="213" y="117"/>
                      <a:pt x="211" y="113"/>
                    </a:cubicBezTo>
                    <a:cubicBezTo>
                      <a:pt x="209" y="109"/>
                      <a:pt x="213" y="106"/>
                      <a:pt x="211" y="101"/>
                    </a:cubicBezTo>
                    <a:cubicBezTo>
                      <a:pt x="209" y="96"/>
                      <a:pt x="206" y="93"/>
                      <a:pt x="206" y="91"/>
                    </a:cubicBezTo>
                    <a:cubicBezTo>
                      <a:pt x="206" y="90"/>
                      <a:pt x="207" y="89"/>
                      <a:pt x="209" y="89"/>
                    </a:cubicBezTo>
                    <a:cubicBezTo>
                      <a:pt x="208" y="88"/>
                      <a:pt x="208" y="87"/>
                      <a:pt x="208" y="86"/>
                    </a:cubicBezTo>
                    <a:cubicBezTo>
                      <a:pt x="208" y="81"/>
                      <a:pt x="204" y="68"/>
                      <a:pt x="202" y="66"/>
                    </a:cubicBezTo>
                    <a:cubicBezTo>
                      <a:pt x="200" y="63"/>
                      <a:pt x="194" y="61"/>
                      <a:pt x="194" y="59"/>
                    </a:cubicBezTo>
                    <a:cubicBezTo>
                      <a:pt x="194" y="57"/>
                      <a:pt x="194" y="54"/>
                      <a:pt x="189" y="52"/>
                    </a:cubicBezTo>
                    <a:cubicBezTo>
                      <a:pt x="184" y="50"/>
                      <a:pt x="182" y="40"/>
                      <a:pt x="184" y="40"/>
                    </a:cubicBezTo>
                    <a:cubicBezTo>
                      <a:pt x="187" y="40"/>
                      <a:pt x="189" y="34"/>
                      <a:pt x="192" y="32"/>
                    </a:cubicBezTo>
                    <a:cubicBezTo>
                      <a:pt x="194" y="31"/>
                      <a:pt x="198" y="24"/>
                      <a:pt x="195" y="20"/>
                    </a:cubicBezTo>
                    <a:cubicBezTo>
                      <a:pt x="193" y="18"/>
                      <a:pt x="194" y="9"/>
                      <a:pt x="195" y="3"/>
                    </a:cubicBezTo>
                    <a:cubicBezTo>
                      <a:pt x="191" y="3"/>
                      <a:pt x="186" y="1"/>
                      <a:pt x="184" y="1"/>
                    </a:cubicBezTo>
                    <a:cubicBezTo>
                      <a:pt x="182" y="0"/>
                      <a:pt x="177" y="2"/>
                      <a:pt x="173" y="2"/>
                    </a:cubicBezTo>
                    <a:cubicBezTo>
                      <a:pt x="169" y="2"/>
                      <a:pt x="160" y="8"/>
                      <a:pt x="157" y="5"/>
                    </a:cubicBezTo>
                    <a:cubicBezTo>
                      <a:pt x="154" y="2"/>
                      <a:pt x="124" y="7"/>
                      <a:pt x="115" y="7"/>
                    </a:cubicBezTo>
                    <a:cubicBezTo>
                      <a:pt x="106" y="8"/>
                      <a:pt x="103" y="17"/>
                      <a:pt x="97" y="17"/>
                    </a:cubicBezTo>
                    <a:cubicBezTo>
                      <a:pt x="92" y="17"/>
                      <a:pt x="84" y="21"/>
                      <a:pt x="80" y="26"/>
                    </a:cubicBezTo>
                    <a:cubicBezTo>
                      <a:pt x="78" y="27"/>
                      <a:pt x="77" y="28"/>
                      <a:pt x="75" y="28"/>
                    </a:cubicBezTo>
                    <a:cubicBezTo>
                      <a:pt x="76" y="29"/>
                      <a:pt x="77" y="31"/>
                      <a:pt x="77" y="31"/>
                    </a:cubicBezTo>
                    <a:cubicBezTo>
                      <a:pt x="80" y="35"/>
                      <a:pt x="81" y="39"/>
                      <a:pt x="81" y="4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1" name="Freeform 19">
                <a:extLst>
                  <a:ext uri="{FF2B5EF4-FFF2-40B4-BE49-F238E27FC236}">
                    <a16:creationId xmlns:a16="http://schemas.microsoft.com/office/drawing/2014/main" id="{C62789A2-A7E0-4C92-8D38-129CA6A67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0888" y="3259138"/>
                <a:ext cx="377825" cy="360363"/>
              </a:xfrm>
              <a:custGeom>
                <a:avLst/>
                <a:gdLst>
                  <a:gd name="T0" fmla="*/ 19 w 172"/>
                  <a:gd name="T1" fmla="*/ 9 h 164"/>
                  <a:gd name="T2" fmla="*/ 10 w 172"/>
                  <a:gd name="T3" fmla="*/ 17 h 164"/>
                  <a:gd name="T4" fmla="*/ 9 w 172"/>
                  <a:gd name="T5" fmla="*/ 22 h 164"/>
                  <a:gd name="T6" fmla="*/ 7 w 172"/>
                  <a:gd name="T7" fmla="*/ 31 h 164"/>
                  <a:gd name="T8" fmla="*/ 0 w 172"/>
                  <a:gd name="T9" fmla="*/ 38 h 164"/>
                  <a:gd name="T10" fmla="*/ 5 w 172"/>
                  <a:gd name="T11" fmla="*/ 48 h 164"/>
                  <a:gd name="T12" fmla="*/ 5 w 172"/>
                  <a:gd name="T13" fmla="*/ 60 h 164"/>
                  <a:gd name="T14" fmla="*/ 4 w 172"/>
                  <a:gd name="T15" fmla="*/ 68 h 164"/>
                  <a:gd name="T16" fmla="*/ 4 w 172"/>
                  <a:gd name="T17" fmla="*/ 75 h 164"/>
                  <a:gd name="T18" fmla="*/ 6 w 172"/>
                  <a:gd name="T19" fmla="*/ 80 h 164"/>
                  <a:gd name="T20" fmla="*/ 1 w 172"/>
                  <a:gd name="T21" fmla="*/ 85 h 164"/>
                  <a:gd name="T22" fmla="*/ 6 w 172"/>
                  <a:gd name="T23" fmla="*/ 93 h 164"/>
                  <a:gd name="T24" fmla="*/ 7 w 172"/>
                  <a:gd name="T25" fmla="*/ 101 h 164"/>
                  <a:gd name="T26" fmla="*/ 15 w 172"/>
                  <a:gd name="T27" fmla="*/ 106 h 164"/>
                  <a:gd name="T28" fmla="*/ 23 w 172"/>
                  <a:gd name="T29" fmla="*/ 108 h 164"/>
                  <a:gd name="T30" fmla="*/ 29 w 172"/>
                  <a:gd name="T31" fmla="*/ 118 h 164"/>
                  <a:gd name="T32" fmla="*/ 45 w 172"/>
                  <a:gd name="T33" fmla="*/ 121 h 164"/>
                  <a:gd name="T34" fmla="*/ 53 w 172"/>
                  <a:gd name="T35" fmla="*/ 128 h 164"/>
                  <a:gd name="T36" fmla="*/ 72 w 172"/>
                  <a:gd name="T37" fmla="*/ 118 h 164"/>
                  <a:gd name="T38" fmla="*/ 158 w 172"/>
                  <a:gd name="T39" fmla="*/ 164 h 164"/>
                  <a:gd name="T40" fmla="*/ 158 w 172"/>
                  <a:gd name="T41" fmla="*/ 158 h 164"/>
                  <a:gd name="T42" fmla="*/ 168 w 172"/>
                  <a:gd name="T43" fmla="*/ 158 h 164"/>
                  <a:gd name="T44" fmla="*/ 168 w 172"/>
                  <a:gd name="T45" fmla="*/ 48 h 164"/>
                  <a:gd name="T46" fmla="*/ 168 w 172"/>
                  <a:gd name="T47" fmla="*/ 31 h 164"/>
                  <a:gd name="T48" fmla="*/ 169 w 172"/>
                  <a:gd name="T49" fmla="*/ 17 h 164"/>
                  <a:gd name="T50" fmla="*/ 171 w 172"/>
                  <a:gd name="T51" fmla="*/ 14 h 164"/>
                  <a:gd name="T52" fmla="*/ 170 w 172"/>
                  <a:gd name="T53" fmla="*/ 14 h 164"/>
                  <a:gd name="T54" fmla="*/ 155 w 172"/>
                  <a:gd name="T55" fmla="*/ 10 h 164"/>
                  <a:gd name="T56" fmla="*/ 138 w 172"/>
                  <a:gd name="T57" fmla="*/ 1 h 164"/>
                  <a:gd name="T58" fmla="*/ 113 w 172"/>
                  <a:gd name="T59" fmla="*/ 14 h 164"/>
                  <a:gd name="T60" fmla="*/ 114 w 172"/>
                  <a:gd name="T61" fmla="*/ 29 h 164"/>
                  <a:gd name="T62" fmla="*/ 97 w 172"/>
                  <a:gd name="T63" fmla="*/ 29 h 164"/>
                  <a:gd name="T64" fmla="*/ 76 w 172"/>
                  <a:gd name="T65" fmla="*/ 21 h 164"/>
                  <a:gd name="T66" fmla="*/ 65 w 172"/>
                  <a:gd name="T67" fmla="*/ 13 h 164"/>
                  <a:gd name="T68" fmla="*/ 58 w 172"/>
                  <a:gd name="T69" fmla="*/ 7 h 164"/>
                  <a:gd name="T70" fmla="*/ 37 w 172"/>
                  <a:gd name="T71" fmla="*/ 3 h 164"/>
                  <a:gd name="T72" fmla="*/ 24 w 172"/>
                  <a:gd name="T73" fmla="*/ 0 h 164"/>
                  <a:gd name="T74" fmla="*/ 24 w 172"/>
                  <a:gd name="T75" fmla="*/ 6 h 164"/>
                  <a:gd name="T76" fmla="*/ 19 w 172"/>
                  <a:gd name="T77" fmla="*/ 9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2" h="164">
                    <a:moveTo>
                      <a:pt x="19" y="9"/>
                    </a:moveTo>
                    <a:cubicBezTo>
                      <a:pt x="18" y="10"/>
                      <a:pt x="12" y="16"/>
                      <a:pt x="10" y="17"/>
                    </a:cubicBezTo>
                    <a:cubicBezTo>
                      <a:pt x="9" y="19"/>
                      <a:pt x="9" y="21"/>
                      <a:pt x="9" y="22"/>
                    </a:cubicBezTo>
                    <a:cubicBezTo>
                      <a:pt x="10" y="24"/>
                      <a:pt x="9" y="29"/>
                      <a:pt x="7" y="31"/>
                    </a:cubicBezTo>
                    <a:cubicBezTo>
                      <a:pt x="6" y="34"/>
                      <a:pt x="0" y="36"/>
                      <a:pt x="0" y="38"/>
                    </a:cubicBezTo>
                    <a:cubicBezTo>
                      <a:pt x="0" y="40"/>
                      <a:pt x="3" y="43"/>
                      <a:pt x="5" y="48"/>
                    </a:cubicBezTo>
                    <a:cubicBezTo>
                      <a:pt x="7" y="53"/>
                      <a:pt x="3" y="56"/>
                      <a:pt x="5" y="60"/>
                    </a:cubicBezTo>
                    <a:cubicBezTo>
                      <a:pt x="7" y="64"/>
                      <a:pt x="6" y="66"/>
                      <a:pt x="4" y="68"/>
                    </a:cubicBezTo>
                    <a:cubicBezTo>
                      <a:pt x="2" y="70"/>
                      <a:pt x="4" y="73"/>
                      <a:pt x="4" y="75"/>
                    </a:cubicBezTo>
                    <a:cubicBezTo>
                      <a:pt x="4" y="77"/>
                      <a:pt x="6" y="79"/>
                      <a:pt x="6" y="80"/>
                    </a:cubicBezTo>
                    <a:cubicBezTo>
                      <a:pt x="5" y="81"/>
                      <a:pt x="1" y="84"/>
                      <a:pt x="1" y="85"/>
                    </a:cubicBezTo>
                    <a:cubicBezTo>
                      <a:pt x="1" y="87"/>
                      <a:pt x="3" y="89"/>
                      <a:pt x="6" y="93"/>
                    </a:cubicBezTo>
                    <a:cubicBezTo>
                      <a:pt x="8" y="96"/>
                      <a:pt x="7" y="98"/>
                      <a:pt x="7" y="101"/>
                    </a:cubicBezTo>
                    <a:cubicBezTo>
                      <a:pt x="7" y="104"/>
                      <a:pt x="12" y="106"/>
                      <a:pt x="15" y="106"/>
                    </a:cubicBezTo>
                    <a:cubicBezTo>
                      <a:pt x="18" y="106"/>
                      <a:pt x="20" y="108"/>
                      <a:pt x="23" y="108"/>
                    </a:cubicBezTo>
                    <a:cubicBezTo>
                      <a:pt x="26" y="108"/>
                      <a:pt x="27" y="113"/>
                      <a:pt x="29" y="118"/>
                    </a:cubicBezTo>
                    <a:cubicBezTo>
                      <a:pt x="30" y="118"/>
                      <a:pt x="41" y="118"/>
                      <a:pt x="45" y="121"/>
                    </a:cubicBezTo>
                    <a:cubicBezTo>
                      <a:pt x="50" y="124"/>
                      <a:pt x="53" y="128"/>
                      <a:pt x="53" y="12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58" y="164"/>
                      <a:pt x="158" y="164"/>
                      <a:pt x="158" y="164"/>
                    </a:cubicBezTo>
                    <a:cubicBezTo>
                      <a:pt x="158" y="158"/>
                      <a:pt x="158" y="158"/>
                      <a:pt x="158" y="158"/>
                    </a:cubicBezTo>
                    <a:cubicBezTo>
                      <a:pt x="168" y="158"/>
                      <a:pt x="168" y="158"/>
                      <a:pt x="168" y="158"/>
                    </a:cubicBezTo>
                    <a:cubicBezTo>
                      <a:pt x="168" y="158"/>
                      <a:pt x="168" y="55"/>
                      <a:pt x="168" y="48"/>
                    </a:cubicBezTo>
                    <a:cubicBezTo>
                      <a:pt x="168" y="40"/>
                      <a:pt x="165" y="35"/>
                      <a:pt x="168" y="31"/>
                    </a:cubicBezTo>
                    <a:cubicBezTo>
                      <a:pt x="172" y="27"/>
                      <a:pt x="167" y="25"/>
                      <a:pt x="169" y="17"/>
                    </a:cubicBezTo>
                    <a:cubicBezTo>
                      <a:pt x="170" y="16"/>
                      <a:pt x="170" y="15"/>
                      <a:pt x="171" y="14"/>
                    </a:cubicBezTo>
                    <a:cubicBezTo>
                      <a:pt x="170" y="14"/>
                      <a:pt x="170" y="14"/>
                      <a:pt x="170" y="14"/>
                    </a:cubicBezTo>
                    <a:cubicBezTo>
                      <a:pt x="169" y="12"/>
                      <a:pt x="165" y="11"/>
                      <a:pt x="155" y="10"/>
                    </a:cubicBezTo>
                    <a:cubicBezTo>
                      <a:pt x="145" y="8"/>
                      <a:pt x="149" y="2"/>
                      <a:pt x="138" y="1"/>
                    </a:cubicBezTo>
                    <a:cubicBezTo>
                      <a:pt x="127" y="0"/>
                      <a:pt x="113" y="9"/>
                      <a:pt x="113" y="14"/>
                    </a:cubicBezTo>
                    <a:cubicBezTo>
                      <a:pt x="113" y="19"/>
                      <a:pt x="118" y="24"/>
                      <a:pt x="114" y="29"/>
                    </a:cubicBezTo>
                    <a:cubicBezTo>
                      <a:pt x="111" y="33"/>
                      <a:pt x="103" y="34"/>
                      <a:pt x="97" y="29"/>
                    </a:cubicBezTo>
                    <a:cubicBezTo>
                      <a:pt x="91" y="24"/>
                      <a:pt x="83" y="21"/>
                      <a:pt x="76" y="21"/>
                    </a:cubicBezTo>
                    <a:cubicBezTo>
                      <a:pt x="69" y="21"/>
                      <a:pt x="64" y="17"/>
                      <a:pt x="65" y="13"/>
                    </a:cubicBezTo>
                    <a:cubicBezTo>
                      <a:pt x="65" y="10"/>
                      <a:pt x="63" y="8"/>
                      <a:pt x="58" y="7"/>
                    </a:cubicBezTo>
                    <a:cubicBezTo>
                      <a:pt x="52" y="6"/>
                      <a:pt x="47" y="1"/>
                      <a:pt x="37" y="3"/>
                    </a:cubicBezTo>
                    <a:cubicBezTo>
                      <a:pt x="32" y="3"/>
                      <a:pt x="27" y="2"/>
                      <a:pt x="24" y="0"/>
                    </a:cubicBezTo>
                    <a:cubicBezTo>
                      <a:pt x="24" y="2"/>
                      <a:pt x="24" y="4"/>
                      <a:pt x="24" y="6"/>
                    </a:cubicBezTo>
                    <a:cubicBezTo>
                      <a:pt x="24" y="9"/>
                      <a:pt x="20" y="9"/>
                      <a:pt x="19" y="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2" name="Freeform 20">
                <a:extLst>
                  <a:ext uri="{FF2B5EF4-FFF2-40B4-BE49-F238E27FC236}">
                    <a16:creationId xmlns:a16="http://schemas.microsoft.com/office/drawing/2014/main" id="{7949836A-9167-4893-A97B-102335F9E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1600" y="3762375"/>
                <a:ext cx="73025" cy="26988"/>
              </a:xfrm>
              <a:custGeom>
                <a:avLst/>
                <a:gdLst>
                  <a:gd name="T0" fmla="*/ 16 w 33"/>
                  <a:gd name="T1" fmla="*/ 8 h 12"/>
                  <a:gd name="T2" fmla="*/ 26 w 33"/>
                  <a:gd name="T3" fmla="*/ 10 h 12"/>
                  <a:gd name="T4" fmla="*/ 33 w 33"/>
                  <a:gd name="T5" fmla="*/ 8 h 12"/>
                  <a:gd name="T6" fmla="*/ 27 w 33"/>
                  <a:gd name="T7" fmla="*/ 7 h 12"/>
                  <a:gd name="T8" fmla="*/ 16 w 33"/>
                  <a:gd name="T9" fmla="*/ 3 h 12"/>
                  <a:gd name="T10" fmla="*/ 2 w 33"/>
                  <a:gd name="T11" fmla="*/ 5 h 12"/>
                  <a:gd name="T12" fmla="*/ 0 w 33"/>
                  <a:gd name="T13" fmla="*/ 12 h 12"/>
                  <a:gd name="T14" fmla="*/ 3 w 33"/>
                  <a:gd name="T15" fmla="*/ 11 h 12"/>
                  <a:gd name="T16" fmla="*/ 16 w 33"/>
                  <a:gd name="T1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12">
                    <a:moveTo>
                      <a:pt x="16" y="8"/>
                    </a:moveTo>
                    <a:cubicBezTo>
                      <a:pt x="19" y="5"/>
                      <a:pt x="22" y="10"/>
                      <a:pt x="26" y="10"/>
                    </a:cubicBezTo>
                    <a:cubicBezTo>
                      <a:pt x="29" y="11"/>
                      <a:pt x="33" y="8"/>
                      <a:pt x="33" y="8"/>
                    </a:cubicBezTo>
                    <a:cubicBezTo>
                      <a:pt x="33" y="8"/>
                      <a:pt x="32" y="8"/>
                      <a:pt x="27" y="7"/>
                    </a:cubicBezTo>
                    <a:cubicBezTo>
                      <a:pt x="21" y="7"/>
                      <a:pt x="21" y="0"/>
                      <a:pt x="16" y="3"/>
                    </a:cubicBezTo>
                    <a:cubicBezTo>
                      <a:pt x="11" y="5"/>
                      <a:pt x="8" y="6"/>
                      <a:pt x="2" y="5"/>
                    </a:cubicBezTo>
                    <a:cubicBezTo>
                      <a:pt x="1" y="7"/>
                      <a:pt x="0" y="9"/>
                      <a:pt x="0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7" y="11"/>
                      <a:pt x="14" y="10"/>
                      <a:pt x="16" y="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3" name="Freeform 21">
                <a:extLst>
                  <a:ext uri="{FF2B5EF4-FFF2-40B4-BE49-F238E27FC236}">
                    <a16:creationId xmlns:a16="http://schemas.microsoft.com/office/drawing/2014/main" id="{83991491-065C-4BB8-9573-57A1BBC53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5725" y="3697288"/>
                <a:ext cx="147637" cy="114300"/>
              </a:xfrm>
              <a:custGeom>
                <a:avLst/>
                <a:gdLst>
                  <a:gd name="T0" fmla="*/ 15 w 67"/>
                  <a:gd name="T1" fmla="*/ 50 h 52"/>
                  <a:gd name="T2" fmla="*/ 22 w 67"/>
                  <a:gd name="T3" fmla="*/ 47 h 52"/>
                  <a:gd name="T4" fmla="*/ 38 w 67"/>
                  <a:gd name="T5" fmla="*/ 46 h 52"/>
                  <a:gd name="T6" fmla="*/ 41 w 67"/>
                  <a:gd name="T7" fmla="*/ 47 h 52"/>
                  <a:gd name="T8" fmla="*/ 41 w 67"/>
                  <a:gd name="T9" fmla="*/ 46 h 52"/>
                  <a:gd name="T10" fmla="*/ 49 w 67"/>
                  <a:gd name="T11" fmla="*/ 49 h 52"/>
                  <a:gd name="T12" fmla="*/ 65 w 67"/>
                  <a:gd name="T13" fmla="*/ 50 h 52"/>
                  <a:gd name="T14" fmla="*/ 67 w 67"/>
                  <a:gd name="T15" fmla="*/ 50 h 52"/>
                  <a:gd name="T16" fmla="*/ 67 w 67"/>
                  <a:gd name="T17" fmla="*/ 43 h 52"/>
                  <a:gd name="T18" fmla="*/ 61 w 67"/>
                  <a:gd name="T19" fmla="*/ 35 h 52"/>
                  <a:gd name="T20" fmla="*/ 59 w 67"/>
                  <a:gd name="T21" fmla="*/ 28 h 52"/>
                  <a:gd name="T22" fmla="*/ 57 w 67"/>
                  <a:gd name="T23" fmla="*/ 25 h 52"/>
                  <a:gd name="T24" fmla="*/ 50 w 67"/>
                  <a:gd name="T25" fmla="*/ 17 h 52"/>
                  <a:gd name="T26" fmla="*/ 43 w 67"/>
                  <a:gd name="T27" fmla="*/ 7 h 52"/>
                  <a:gd name="T28" fmla="*/ 39 w 67"/>
                  <a:gd name="T29" fmla="*/ 7 h 52"/>
                  <a:gd name="T30" fmla="*/ 32 w 67"/>
                  <a:gd name="T31" fmla="*/ 1 h 52"/>
                  <a:gd name="T32" fmla="*/ 23 w 67"/>
                  <a:gd name="T33" fmla="*/ 2 h 52"/>
                  <a:gd name="T34" fmla="*/ 13 w 67"/>
                  <a:gd name="T35" fmla="*/ 2 h 52"/>
                  <a:gd name="T36" fmla="*/ 7 w 67"/>
                  <a:gd name="T37" fmla="*/ 8 h 52"/>
                  <a:gd name="T38" fmla="*/ 6 w 67"/>
                  <a:gd name="T39" fmla="*/ 8 h 52"/>
                  <a:gd name="T40" fmla="*/ 4 w 67"/>
                  <a:gd name="T41" fmla="*/ 17 h 52"/>
                  <a:gd name="T42" fmla="*/ 8 w 67"/>
                  <a:gd name="T43" fmla="*/ 33 h 52"/>
                  <a:gd name="T44" fmla="*/ 9 w 67"/>
                  <a:gd name="T45" fmla="*/ 35 h 52"/>
                  <a:gd name="T46" fmla="*/ 23 w 67"/>
                  <a:gd name="T47" fmla="*/ 33 h 52"/>
                  <a:gd name="T48" fmla="*/ 34 w 67"/>
                  <a:gd name="T49" fmla="*/ 37 h 52"/>
                  <a:gd name="T50" fmla="*/ 40 w 67"/>
                  <a:gd name="T51" fmla="*/ 38 h 52"/>
                  <a:gd name="T52" fmla="*/ 33 w 67"/>
                  <a:gd name="T53" fmla="*/ 40 h 52"/>
                  <a:gd name="T54" fmla="*/ 23 w 67"/>
                  <a:gd name="T55" fmla="*/ 38 h 52"/>
                  <a:gd name="T56" fmla="*/ 10 w 67"/>
                  <a:gd name="T57" fmla="*/ 41 h 52"/>
                  <a:gd name="T58" fmla="*/ 7 w 67"/>
                  <a:gd name="T59" fmla="*/ 42 h 52"/>
                  <a:gd name="T60" fmla="*/ 8 w 67"/>
                  <a:gd name="T61" fmla="*/ 47 h 52"/>
                  <a:gd name="T62" fmla="*/ 9 w 67"/>
                  <a:gd name="T63" fmla="*/ 48 h 52"/>
                  <a:gd name="T64" fmla="*/ 15 w 67"/>
                  <a:gd name="T65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" h="52">
                    <a:moveTo>
                      <a:pt x="15" y="50"/>
                    </a:moveTo>
                    <a:cubicBezTo>
                      <a:pt x="17" y="50"/>
                      <a:pt x="22" y="47"/>
                      <a:pt x="22" y="47"/>
                    </a:cubicBezTo>
                    <a:cubicBezTo>
                      <a:pt x="22" y="47"/>
                      <a:pt x="36" y="46"/>
                      <a:pt x="38" y="46"/>
                    </a:cubicBezTo>
                    <a:cubicBezTo>
                      <a:pt x="39" y="46"/>
                      <a:pt x="40" y="46"/>
                      <a:pt x="41" y="47"/>
                    </a:cubicBezTo>
                    <a:cubicBezTo>
                      <a:pt x="41" y="46"/>
                      <a:pt x="41" y="46"/>
                      <a:pt x="41" y="46"/>
                    </a:cubicBezTo>
                    <a:cubicBezTo>
                      <a:pt x="41" y="46"/>
                      <a:pt x="48" y="47"/>
                      <a:pt x="49" y="49"/>
                    </a:cubicBezTo>
                    <a:cubicBezTo>
                      <a:pt x="49" y="51"/>
                      <a:pt x="60" y="52"/>
                      <a:pt x="65" y="50"/>
                    </a:cubicBezTo>
                    <a:cubicBezTo>
                      <a:pt x="66" y="50"/>
                      <a:pt x="66" y="50"/>
                      <a:pt x="67" y="50"/>
                    </a:cubicBezTo>
                    <a:cubicBezTo>
                      <a:pt x="67" y="47"/>
                      <a:pt x="67" y="44"/>
                      <a:pt x="67" y="43"/>
                    </a:cubicBezTo>
                    <a:cubicBezTo>
                      <a:pt x="66" y="41"/>
                      <a:pt x="63" y="37"/>
                      <a:pt x="61" y="35"/>
                    </a:cubicBezTo>
                    <a:cubicBezTo>
                      <a:pt x="59" y="33"/>
                      <a:pt x="59" y="28"/>
                      <a:pt x="59" y="28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5"/>
                      <a:pt x="55" y="19"/>
                      <a:pt x="50" y="17"/>
                    </a:cubicBezTo>
                    <a:cubicBezTo>
                      <a:pt x="46" y="16"/>
                      <a:pt x="43" y="7"/>
                      <a:pt x="43" y="7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7"/>
                      <a:pt x="35" y="3"/>
                      <a:pt x="32" y="1"/>
                    </a:cubicBezTo>
                    <a:cubicBezTo>
                      <a:pt x="29" y="0"/>
                      <a:pt x="23" y="2"/>
                      <a:pt x="23" y="2"/>
                    </a:cubicBezTo>
                    <a:cubicBezTo>
                      <a:pt x="23" y="2"/>
                      <a:pt x="17" y="3"/>
                      <a:pt x="13" y="2"/>
                    </a:cubicBezTo>
                    <a:cubicBezTo>
                      <a:pt x="9" y="1"/>
                      <a:pt x="10" y="7"/>
                      <a:pt x="7" y="8"/>
                    </a:cubicBezTo>
                    <a:cubicBezTo>
                      <a:pt x="7" y="8"/>
                      <a:pt x="6" y="8"/>
                      <a:pt x="6" y="8"/>
                    </a:cubicBezTo>
                    <a:cubicBezTo>
                      <a:pt x="6" y="11"/>
                      <a:pt x="5" y="14"/>
                      <a:pt x="4" y="17"/>
                    </a:cubicBezTo>
                    <a:cubicBezTo>
                      <a:pt x="0" y="22"/>
                      <a:pt x="5" y="30"/>
                      <a:pt x="8" y="33"/>
                    </a:cubicBezTo>
                    <a:cubicBezTo>
                      <a:pt x="8" y="33"/>
                      <a:pt x="9" y="34"/>
                      <a:pt x="9" y="35"/>
                    </a:cubicBezTo>
                    <a:cubicBezTo>
                      <a:pt x="15" y="36"/>
                      <a:pt x="18" y="35"/>
                      <a:pt x="23" y="33"/>
                    </a:cubicBezTo>
                    <a:cubicBezTo>
                      <a:pt x="28" y="30"/>
                      <a:pt x="28" y="37"/>
                      <a:pt x="34" y="37"/>
                    </a:cubicBezTo>
                    <a:cubicBezTo>
                      <a:pt x="39" y="38"/>
                      <a:pt x="40" y="38"/>
                      <a:pt x="40" y="38"/>
                    </a:cubicBezTo>
                    <a:cubicBezTo>
                      <a:pt x="40" y="38"/>
                      <a:pt x="36" y="41"/>
                      <a:pt x="33" y="40"/>
                    </a:cubicBezTo>
                    <a:cubicBezTo>
                      <a:pt x="29" y="40"/>
                      <a:pt x="26" y="35"/>
                      <a:pt x="23" y="38"/>
                    </a:cubicBezTo>
                    <a:cubicBezTo>
                      <a:pt x="21" y="40"/>
                      <a:pt x="14" y="41"/>
                      <a:pt x="10" y="41"/>
                    </a:cubicBezTo>
                    <a:cubicBezTo>
                      <a:pt x="10" y="41"/>
                      <a:pt x="9" y="41"/>
                      <a:pt x="7" y="42"/>
                    </a:cubicBezTo>
                    <a:cubicBezTo>
                      <a:pt x="7" y="44"/>
                      <a:pt x="7" y="46"/>
                      <a:pt x="8" y="47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15" y="47"/>
                      <a:pt x="13" y="50"/>
                      <a:pt x="15" y="5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4" name="Freeform 22">
                <a:extLst>
                  <a:ext uri="{FF2B5EF4-FFF2-40B4-BE49-F238E27FC236}">
                    <a16:creationId xmlns:a16="http://schemas.microsoft.com/office/drawing/2014/main" id="{797724F5-3736-4B55-9142-24B8EF1D8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363" y="3797300"/>
                <a:ext cx="69850" cy="42863"/>
              </a:xfrm>
              <a:custGeom>
                <a:avLst/>
                <a:gdLst>
                  <a:gd name="T0" fmla="*/ 17 w 32"/>
                  <a:gd name="T1" fmla="*/ 18 h 19"/>
                  <a:gd name="T2" fmla="*/ 26 w 32"/>
                  <a:gd name="T3" fmla="*/ 12 h 19"/>
                  <a:gd name="T4" fmla="*/ 30 w 32"/>
                  <a:gd name="T5" fmla="*/ 10 h 19"/>
                  <a:gd name="T6" fmla="*/ 29 w 32"/>
                  <a:gd name="T7" fmla="*/ 5 h 19"/>
                  <a:gd name="T8" fmla="*/ 32 w 32"/>
                  <a:gd name="T9" fmla="*/ 1 h 19"/>
                  <a:gd name="T10" fmla="*/ 29 w 32"/>
                  <a:gd name="T11" fmla="*/ 0 h 19"/>
                  <a:gd name="T12" fmla="*/ 13 w 32"/>
                  <a:gd name="T13" fmla="*/ 1 h 19"/>
                  <a:gd name="T14" fmla="*/ 6 w 32"/>
                  <a:gd name="T15" fmla="*/ 4 h 19"/>
                  <a:gd name="T16" fmla="*/ 0 w 32"/>
                  <a:gd name="T17" fmla="*/ 2 h 19"/>
                  <a:gd name="T18" fmla="*/ 10 w 32"/>
                  <a:gd name="T19" fmla="*/ 9 h 19"/>
                  <a:gd name="T20" fmla="*/ 14 w 32"/>
                  <a:gd name="T21" fmla="*/ 18 h 19"/>
                  <a:gd name="T22" fmla="*/ 16 w 32"/>
                  <a:gd name="T23" fmla="*/ 19 h 19"/>
                  <a:gd name="T24" fmla="*/ 17 w 32"/>
                  <a:gd name="T25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19">
                    <a:moveTo>
                      <a:pt x="17" y="18"/>
                    </a:moveTo>
                    <a:cubicBezTo>
                      <a:pt x="19" y="16"/>
                      <a:pt x="24" y="11"/>
                      <a:pt x="26" y="12"/>
                    </a:cubicBezTo>
                    <a:cubicBezTo>
                      <a:pt x="28" y="13"/>
                      <a:pt x="30" y="11"/>
                      <a:pt x="30" y="10"/>
                    </a:cubicBezTo>
                    <a:cubicBezTo>
                      <a:pt x="30" y="9"/>
                      <a:pt x="27" y="6"/>
                      <a:pt x="29" y="5"/>
                    </a:cubicBezTo>
                    <a:cubicBezTo>
                      <a:pt x="31" y="4"/>
                      <a:pt x="32" y="2"/>
                      <a:pt x="32" y="1"/>
                    </a:cubicBezTo>
                    <a:cubicBezTo>
                      <a:pt x="31" y="0"/>
                      <a:pt x="30" y="0"/>
                      <a:pt x="29" y="0"/>
                    </a:cubicBezTo>
                    <a:cubicBezTo>
                      <a:pt x="27" y="0"/>
                      <a:pt x="13" y="1"/>
                      <a:pt x="13" y="1"/>
                    </a:cubicBezTo>
                    <a:cubicBezTo>
                      <a:pt x="13" y="1"/>
                      <a:pt x="8" y="4"/>
                      <a:pt x="6" y="4"/>
                    </a:cubicBezTo>
                    <a:cubicBezTo>
                      <a:pt x="4" y="4"/>
                      <a:pt x="6" y="1"/>
                      <a:pt x="0" y="2"/>
                    </a:cubicBezTo>
                    <a:cubicBezTo>
                      <a:pt x="3" y="6"/>
                      <a:pt x="4" y="8"/>
                      <a:pt x="10" y="9"/>
                    </a:cubicBezTo>
                    <a:cubicBezTo>
                      <a:pt x="16" y="11"/>
                      <a:pt x="9" y="15"/>
                      <a:pt x="14" y="18"/>
                    </a:cubicBezTo>
                    <a:cubicBezTo>
                      <a:pt x="15" y="18"/>
                      <a:pt x="15" y="19"/>
                      <a:pt x="16" y="19"/>
                    </a:cubicBezTo>
                    <a:cubicBezTo>
                      <a:pt x="16" y="18"/>
                      <a:pt x="17" y="18"/>
                      <a:pt x="17" y="1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5" name="Freeform 23">
                <a:extLst>
                  <a:ext uri="{FF2B5EF4-FFF2-40B4-BE49-F238E27FC236}">
                    <a16:creationId xmlns:a16="http://schemas.microsoft.com/office/drawing/2014/main" id="{BB17D608-EECD-442E-BA7D-29ED6D3F8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1538" y="3835400"/>
                <a:ext cx="306387" cy="214313"/>
              </a:xfrm>
              <a:custGeom>
                <a:avLst/>
                <a:gdLst>
                  <a:gd name="T0" fmla="*/ 128 w 139"/>
                  <a:gd name="T1" fmla="*/ 55 h 98"/>
                  <a:gd name="T2" fmla="*/ 124 w 139"/>
                  <a:gd name="T3" fmla="*/ 48 h 98"/>
                  <a:gd name="T4" fmla="*/ 117 w 139"/>
                  <a:gd name="T5" fmla="*/ 42 h 98"/>
                  <a:gd name="T6" fmla="*/ 112 w 139"/>
                  <a:gd name="T7" fmla="*/ 35 h 98"/>
                  <a:gd name="T8" fmla="*/ 103 w 139"/>
                  <a:gd name="T9" fmla="*/ 30 h 98"/>
                  <a:gd name="T10" fmla="*/ 102 w 139"/>
                  <a:gd name="T11" fmla="*/ 27 h 98"/>
                  <a:gd name="T12" fmla="*/ 97 w 139"/>
                  <a:gd name="T13" fmla="*/ 26 h 98"/>
                  <a:gd name="T14" fmla="*/ 98 w 139"/>
                  <a:gd name="T15" fmla="*/ 22 h 98"/>
                  <a:gd name="T16" fmla="*/ 98 w 139"/>
                  <a:gd name="T17" fmla="*/ 12 h 98"/>
                  <a:gd name="T18" fmla="*/ 90 w 139"/>
                  <a:gd name="T19" fmla="*/ 2 h 98"/>
                  <a:gd name="T20" fmla="*/ 88 w 139"/>
                  <a:gd name="T21" fmla="*/ 1 h 98"/>
                  <a:gd name="T22" fmla="*/ 79 w 139"/>
                  <a:gd name="T23" fmla="*/ 5 h 98"/>
                  <a:gd name="T24" fmla="*/ 76 w 139"/>
                  <a:gd name="T25" fmla="*/ 10 h 98"/>
                  <a:gd name="T26" fmla="*/ 65 w 139"/>
                  <a:gd name="T27" fmla="*/ 22 h 98"/>
                  <a:gd name="T28" fmla="*/ 49 w 139"/>
                  <a:gd name="T29" fmla="*/ 25 h 98"/>
                  <a:gd name="T30" fmla="*/ 49 w 139"/>
                  <a:gd name="T31" fmla="*/ 31 h 98"/>
                  <a:gd name="T32" fmla="*/ 39 w 139"/>
                  <a:gd name="T33" fmla="*/ 36 h 98"/>
                  <a:gd name="T34" fmla="*/ 26 w 139"/>
                  <a:gd name="T35" fmla="*/ 40 h 98"/>
                  <a:gd name="T36" fmla="*/ 19 w 139"/>
                  <a:gd name="T37" fmla="*/ 40 h 98"/>
                  <a:gd name="T38" fmla="*/ 13 w 139"/>
                  <a:gd name="T39" fmla="*/ 43 h 98"/>
                  <a:gd name="T40" fmla="*/ 12 w 139"/>
                  <a:gd name="T41" fmla="*/ 41 h 98"/>
                  <a:gd name="T42" fmla="*/ 6 w 139"/>
                  <a:gd name="T43" fmla="*/ 48 h 98"/>
                  <a:gd name="T44" fmla="*/ 0 w 139"/>
                  <a:gd name="T45" fmla="*/ 60 h 98"/>
                  <a:gd name="T46" fmla="*/ 2 w 139"/>
                  <a:gd name="T47" fmla="*/ 69 h 98"/>
                  <a:gd name="T48" fmla="*/ 5 w 139"/>
                  <a:gd name="T49" fmla="*/ 78 h 98"/>
                  <a:gd name="T50" fmla="*/ 7 w 139"/>
                  <a:gd name="T51" fmla="*/ 85 h 98"/>
                  <a:gd name="T52" fmla="*/ 9 w 139"/>
                  <a:gd name="T53" fmla="*/ 88 h 98"/>
                  <a:gd name="T54" fmla="*/ 17 w 139"/>
                  <a:gd name="T55" fmla="*/ 96 h 98"/>
                  <a:gd name="T56" fmla="*/ 19 w 139"/>
                  <a:gd name="T57" fmla="*/ 98 h 98"/>
                  <a:gd name="T58" fmla="*/ 19 w 139"/>
                  <a:gd name="T59" fmla="*/ 96 h 98"/>
                  <a:gd name="T60" fmla="*/ 21 w 139"/>
                  <a:gd name="T61" fmla="*/ 88 h 98"/>
                  <a:gd name="T62" fmla="*/ 28 w 139"/>
                  <a:gd name="T63" fmla="*/ 87 h 98"/>
                  <a:gd name="T64" fmla="*/ 32 w 139"/>
                  <a:gd name="T65" fmla="*/ 85 h 98"/>
                  <a:gd name="T66" fmla="*/ 42 w 139"/>
                  <a:gd name="T67" fmla="*/ 87 h 98"/>
                  <a:gd name="T68" fmla="*/ 42 w 139"/>
                  <a:gd name="T69" fmla="*/ 79 h 98"/>
                  <a:gd name="T70" fmla="*/ 54 w 139"/>
                  <a:gd name="T71" fmla="*/ 70 h 98"/>
                  <a:gd name="T72" fmla="*/ 63 w 139"/>
                  <a:gd name="T73" fmla="*/ 76 h 98"/>
                  <a:gd name="T74" fmla="*/ 85 w 139"/>
                  <a:gd name="T75" fmla="*/ 81 h 98"/>
                  <a:gd name="T76" fmla="*/ 88 w 139"/>
                  <a:gd name="T77" fmla="*/ 73 h 98"/>
                  <a:gd name="T78" fmla="*/ 97 w 139"/>
                  <a:gd name="T79" fmla="*/ 73 h 98"/>
                  <a:gd name="T80" fmla="*/ 109 w 139"/>
                  <a:gd name="T81" fmla="*/ 69 h 98"/>
                  <a:gd name="T82" fmla="*/ 118 w 139"/>
                  <a:gd name="T83" fmla="*/ 68 h 98"/>
                  <a:gd name="T84" fmla="*/ 130 w 139"/>
                  <a:gd name="T85" fmla="*/ 69 h 98"/>
                  <a:gd name="T86" fmla="*/ 139 w 139"/>
                  <a:gd name="T87" fmla="*/ 68 h 98"/>
                  <a:gd name="T88" fmla="*/ 136 w 139"/>
                  <a:gd name="T89" fmla="*/ 61 h 98"/>
                  <a:gd name="T90" fmla="*/ 128 w 139"/>
                  <a:gd name="T9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9" h="98">
                    <a:moveTo>
                      <a:pt x="128" y="55"/>
                    </a:moveTo>
                    <a:cubicBezTo>
                      <a:pt x="128" y="53"/>
                      <a:pt x="128" y="51"/>
                      <a:pt x="124" y="48"/>
                    </a:cubicBezTo>
                    <a:cubicBezTo>
                      <a:pt x="120" y="44"/>
                      <a:pt x="117" y="44"/>
                      <a:pt x="117" y="42"/>
                    </a:cubicBezTo>
                    <a:cubicBezTo>
                      <a:pt x="117" y="39"/>
                      <a:pt x="116" y="39"/>
                      <a:pt x="112" y="35"/>
                    </a:cubicBezTo>
                    <a:cubicBezTo>
                      <a:pt x="109" y="30"/>
                      <a:pt x="103" y="30"/>
                      <a:pt x="103" y="30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97" y="26"/>
                      <a:pt x="97" y="26"/>
                      <a:pt x="97" y="26"/>
                    </a:cubicBezTo>
                    <a:cubicBezTo>
                      <a:pt x="97" y="26"/>
                      <a:pt x="94" y="24"/>
                      <a:pt x="98" y="22"/>
                    </a:cubicBezTo>
                    <a:cubicBezTo>
                      <a:pt x="103" y="20"/>
                      <a:pt x="98" y="14"/>
                      <a:pt x="98" y="12"/>
                    </a:cubicBezTo>
                    <a:cubicBezTo>
                      <a:pt x="97" y="11"/>
                      <a:pt x="91" y="3"/>
                      <a:pt x="90" y="2"/>
                    </a:cubicBezTo>
                    <a:cubicBezTo>
                      <a:pt x="89" y="2"/>
                      <a:pt x="88" y="2"/>
                      <a:pt x="88" y="1"/>
                    </a:cubicBezTo>
                    <a:cubicBezTo>
                      <a:pt x="86" y="0"/>
                      <a:pt x="81" y="3"/>
                      <a:pt x="79" y="5"/>
                    </a:cubicBezTo>
                    <a:cubicBezTo>
                      <a:pt x="76" y="7"/>
                      <a:pt x="78" y="9"/>
                      <a:pt x="76" y="10"/>
                    </a:cubicBezTo>
                    <a:cubicBezTo>
                      <a:pt x="75" y="12"/>
                      <a:pt x="69" y="17"/>
                      <a:pt x="65" y="22"/>
                    </a:cubicBezTo>
                    <a:cubicBezTo>
                      <a:pt x="62" y="26"/>
                      <a:pt x="52" y="23"/>
                      <a:pt x="49" y="25"/>
                    </a:cubicBezTo>
                    <a:cubicBezTo>
                      <a:pt x="46" y="27"/>
                      <a:pt x="51" y="29"/>
                      <a:pt x="49" y="31"/>
                    </a:cubicBezTo>
                    <a:cubicBezTo>
                      <a:pt x="47" y="33"/>
                      <a:pt x="41" y="35"/>
                      <a:pt x="39" y="36"/>
                    </a:cubicBezTo>
                    <a:cubicBezTo>
                      <a:pt x="37" y="37"/>
                      <a:pt x="29" y="37"/>
                      <a:pt x="26" y="40"/>
                    </a:cubicBezTo>
                    <a:cubicBezTo>
                      <a:pt x="24" y="43"/>
                      <a:pt x="21" y="37"/>
                      <a:pt x="19" y="40"/>
                    </a:cubicBezTo>
                    <a:cubicBezTo>
                      <a:pt x="17" y="43"/>
                      <a:pt x="14" y="44"/>
                      <a:pt x="13" y="43"/>
                    </a:cubicBezTo>
                    <a:cubicBezTo>
                      <a:pt x="12" y="42"/>
                      <a:pt x="12" y="42"/>
                      <a:pt x="12" y="41"/>
                    </a:cubicBezTo>
                    <a:cubicBezTo>
                      <a:pt x="9" y="43"/>
                      <a:pt x="7" y="46"/>
                      <a:pt x="6" y="48"/>
                    </a:cubicBezTo>
                    <a:cubicBezTo>
                      <a:pt x="4" y="53"/>
                      <a:pt x="0" y="57"/>
                      <a:pt x="0" y="60"/>
                    </a:cubicBezTo>
                    <a:cubicBezTo>
                      <a:pt x="0" y="62"/>
                      <a:pt x="2" y="65"/>
                      <a:pt x="2" y="69"/>
                    </a:cubicBezTo>
                    <a:cubicBezTo>
                      <a:pt x="2" y="73"/>
                      <a:pt x="3" y="75"/>
                      <a:pt x="5" y="78"/>
                    </a:cubicBezTo>
                    <a:cubicBezTo>
                      <a:pt x="7" y="81"/>
                      <a:pt x="7" y="85"/>
                      <a:pt x="7" y="85"/>
                    </a:cubicBezTo>
                    <a:cubicBezTo>
                      <a:pt x="7" y="85"/>
                      <a:pt x="8" y="86"/>
                      <a:pt x="9" y="88"/>
                    </a:cubicBezTo>
                    <a:cubicBezTo>
                      <a:pt x="11" y="91"/>
                      <a:pt x="16" y="94"/>
                      <a:pt x="17" y="96"/>
                    </a:cubicBezTo>
                    <a:cubicBezTo>
                      <a:pt x="17" y="96"/>
                      <a:pt x="18" y="97"/>
                      <a:pt x="19" y="98"/>
                    </a:cubicBezTo>
                    <a:cubicBezTo>
                      <a:pt x="19" y="97"/>
                      <a:pt x="19" y="97"/>
                      <a:pt x="19" y="96"/>
                    </a:cubicBezTo>
                    <a:cubicBezTo>
                      <a:pt x="22" y="93"/>
                      <a:pt x="21" y="88"/>
                      <a:pt x="21" y="88"/>
                    </a:cubicBezTo>
                    <a:cubicBezTo>
                      <a:pt x="28" y="87"/>
                      <a:pt x="28" y="87"/>
                      <a:pt x="28" y="87"/>
                    </a:cubicBezTo>
                    <a:cubicBezTo>
                      <a:pt x="32" y="85"/>
                      <a:pt x="32" y="85"/>
                      <a:pt x="32" y="85"/>
                    </a:cubicBezTo>
                    <a:cubicBezTo>
                      <a:pt x="42" y="87"/>
                      <a:pt x="42" y="87"/>
                      <a:pt x="42" y="87"/>
                    </a:cubicBezTo>
                    <a:cubicBezTo>
                      <a:pt x="42" y="79"/>
                      <a:pt x="42" y="79"/>
                      <a:pt x="42" y="79"/>
                    </a:cubicBezTo>
                    <a:cubicBezTo>
                      <a:pt x="42" y="79"/>
                      <a:pt x="49" y="70"/>
                      <a:pt x="54" y="70"/>
                    </a:cubicBezTo>
                    <a:cubicBezTo>
                      <a:pt x="59" y="70"/>
                      <a:pt x="63" y="76"/>
                      <a:pt x="63" y="76"/>
                    </a:cubicBezTo>
                    <a:cubicBezTo>
                      <a:pt x="85" y="81"/>
                      <a:pt x="85" y="81"/>
                      <a:pt x="85" y="81"/>
                    </a:cubicBezTo>
                    <a:cubicBezTo>
                      <a:pt x="85" y="81"/>
                      <a:pt x="86" y="74"/>
                      <a:pt x="88" y="73"/>
                    </a:cubicBezTo>
                    <a:cubicBezTo>
                      <a:pt x="90" y="71"/>
                      <a:pt x="94" y="74"/>
                      <a:pt x="97" y="73"/>
                    </a:cubicBezTo>
                    <a:cubicBezTo>
                      <a:pt x="100" y="71"/>
                      <a:pt x="104" y="69"/>
                      <a:pt x="109" y="69"/>
                    </a:cubicBezTo>
                    <a:cubicBezTo>
                      <a:pt x="114" y="69"/>
                      <a:pt x="116" y="72"/>
                      <a:pt x="118" y="68"/>
                    </a:cubicBezTo>
                    <a:cubicBezTo>
                      <a:pt x="120" y="64"/>
                      <a:pt x="130" y="69"/>
                      <a:pt x="130" y="69"/>
                    </a:cubicBezTo>
                    <a:cubicBezTo>
                      <a:pt x="139" y="68"/>
                      <a:pt x="139" y="68"/>
                      <a:pt x="139" y="68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61"/>
                      <a:pt x="128" y="58"/>
                      <a:pt x="128" y="5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6" name="Freeform 24">
                <a:extLst>
                  <a:ext uri="{FF2B5EF4-FFF2-40B4-BE49-F238E27FC236}">
                    <a16:creationId xmlns:a16="http://schemas.microsoft.com/office/drawing/2014/main" id="{95083995-6392-4868-8BBE-DD2E0BBBA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4200" y="3765550"/>
                <a:ext cx="295275" cy="242888"/>
              </a:xfrm>
              <a:custGeom>
                <a:avLst/>
                <a:gdLst>
                  <a:gd name="T0" fmla="*/ 82 w 134"/>
                  <a:gd name="T1" fmla="*/ 81 h 111"/>
                  <a:gd name="T2" fmla="*/ 89 w 134"/>
                  <a:gd name="T3" fmla="*/ 80 h 111"/>
                  <a:gd name="T4" fmla="*/ 97 w 134"/>
                  <a:gd name="T5" fmla="*/ 86 h 111"/>
                  <a:gd name="T6" fmla="*/ 102 w 134"/>
                  <a:gd name="T7" fmla="*/ 81 h 111"/>
                  <a:gd name="T8" fmla="*/ 110 w 134"/>
                  <a:gd name="T9" fmla="*/ 64 h 111"/>
                  <a:gd name="T10" fmla="*/ 115 w 134"/>
                  <a:gd name="T11" fmla="*/ 57 h 111"/>
                  <a:gd name="T12" fmla="*/ 117 w 134"/>
                  <a:gd name="T13" fmla="*/ 51 h 111"/>
                  <a:gd name="T14" fmla="*/ 119 w 134"/>
                  <a:gd name="T15" fmla="*/ 44 h 111"/>
                  <a:gd name="T16" fmla="*/ 126 w 134"/>
                  <a:gd name="T17" fmla="*/ 31 h 111"/>
                  <a:gd name="T18" fmla="*/ 133 w 134"/>
                  <a:gd name="T19" fmla="*/ 28 h 111"/>
                  <a:gd name="T20" fmla="*/ 132 w 134"/>
                  <a:gd name="T21" fmla="*/ 21 h 111"/>
                  <a:gd name="T22" fmla="*/ 127 w 134"/>
                  <a:gd name="T23" fmla="*/ 16 h 111"/>
                  <a:gd name="T24" fmla="*/ 128 w 134"/>
                  <a:gd name="T25" fmla="*/ 10 h 111"/>
                  <a:gd name="T26" fmla="*/ 124 w 134"/>
                  <a:gd name="T27" fmla="*/ 5 h 111"/>
                  <a:gd name="T28" fmla="*/ 120 w 134"/>
                  <a:gd name="T29" fmla="*/ 3 h 111"/>
                  <a:gd name="T30" fmla="*/ 112 w 134"/>
                  <a:gd name="T31" fmla="*/ 10 h 111"/>
                  <a:gd name="T32" fmla="*/ 102 w 134"/>
                  <a:gd name="T33" fmla="*/ 8 h 111"/>
                  <a:gd name="T34" fmla="*/ 88 w 134"/>
                  <a:gd name="T35" fmla="*/ 8 h 111"/>
                  <a:gd name="T36" fmla="*/ 80 w 134"/>
                  <a:gd name="T37" fmla="*/ 13 h 111"/>
                  <a:gd name="T38" fmla="*/ 69 w 134"/>
                  <a:gd name="T39" fmla="*/ 13 h 111"/>
                  <a:gd name="T40" fmla="*/ 60 w 134"/>
                  <a:gd name="T41" fmla="*/ 8 h 111"/>
                  <a:gd name="T42" fmla="*/ 51 w 134"/>
                  <a:gd name="T43" fmla="*/ 11 h 111"/>
                  <a:gd name="T44" fmla="*/ 44 w 134"/>
                  <a:gd name="T45" fmla="*/ 5 h 111"/>
                  <a:gd name="T46" fmla="*/ 35 w 134"/>
                  <a:gd name="T47" fmla="*/ 2 h 111"/>
                  <a:gd name="T48" fmla="*/ 29 w 134"/>
                  <a:gd name="T49" fmla="*/ 5 h 111"/>
                  <a:gd name="T50" fmla="*/ 18 w 134"/>
                  <a:gd name="T51" fmla="*/ 5 h 111"/>
                  <a:gd name="T52" fmla="*/ 16 w 134"/>
                  <a:gd name="T53" fmla="*/ 14 h 111"/>
                  <a:gd name="T54" fmla="*/ 11 w 134"/>
                  <a:gd name="T55" fmla="*/ 22 h 111"/>
                  <a:gd name="T56" fmla="*/ 9 w 134"/>
                  <a:gd name="T57" fmla="*/ 24 h 111"/>
                  <a:gd name="T58" fmla="*/ 11 w 134"/>
                  <a:gd name="T59" fmla="*/ 31 h 111"/>
                  <a:gd name="T60" fmla="*/ 9 w 134"/>
                  <a:gd name="T61" fmla="*/ 47 h 111"/>
                  <a:gd name="T62" fmla="*/ 5 w 134"/>
                  <a:gd name="T63" fmla="*/ 54 h 111"/>
                  <a:gd name="T64" fmla="*/ 0 w 134"/>
                  <a:gd name="T65" fmla="*/ 62 h 111"/>
                  <a:gd name="T66" fmla="*/ 1 w 134"/>
                  <a:gd name="T67" fmla="*/ 75 h 111"/>
                  <a:gd name="T68" fmla="*/ 4 w 134"/>
                  <a:gd name="T69" fmla="*/ 84 h 111"/>
                  <a:gd name="T70" fmla="*/ 4 w 134"/>
                  <a:gd name="T71" fmla="*/ 84 h 111"/>
                  <a:gd name="T72" fmla="*/ 21 w 134"/>
                  <a:gd name="T73" fmla="*/ 89 h 111"/>
                  <a:gd name="T74" fmla="*/ 32 w 134"/>
                  <a:gd name="T75" fmla="*/ 100 h 111"/>
                  <a:gd name="T76" fmla="*/ 38 w 134"/>
                  <a:gd name="T77" fmla="*/ 110 h 111"/>
                  <a:gd name="T78" fmla="*/ 49 w 134"/>
                  <a:gd name="T79" fmla="*/ 107 h 111"/>
                  <a:gd name="T80" fmla="*/ 64 w 134"/>
                  <a:gd name="T81" fmla="*/ 106 h 111"/>
                  <a:gd name="T82" fmla="*/ 66 w 134"/>
                  <a:gd name="T83" fmla="*/ 106 h 111"/>
                  <a:gd name="T84" fmla="*/ 69 w 134"/>
                  <a:gd name="T85" fmla="*/ 94 h 111"/>
                  <a:gd name="T86" fmla="*/ 82 w 134"/>
                  <a:gd name="T87" fmla="*/ 8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111">
                    <a:moveTo>
                      <a:pt x="82" y="81"/>
                    </a:moveTo>
                    <a:cubicBezTo>
                      <a:pt x="84" y="81"/>
                      <a:pt x="87" y="82"/>
                      <a:pt x="89" y="80"/>
                    </a:cubicBezTo>
                    <a:cubicBezTo>
                      <a:pt x="91" y="79"/>
                      <a:pt x="96" y="83"/>
                      <a:pt x="97" y="86"/>
                    </a:cubicBezTo>
                    <a:cubicBezTo>
                      <a:pt x="98" y="89"/>
                      <a:pt x="100" y="85"/>
                      <a:pt x="102" y="81"/>
                    </a:cubicBezTo>
                    <a:cubicBezTo>
                      <a:pt x="104" y="77"/>
                      <a:pt x="110" y="66"/>
                      <a:pt x="110" y="64"/>
                    </a:cubicBezTo>
                    <a:cubicBezTo>
                      <a:pt x="110" y="61"/>
                      <a:pt x="115" y="59"/>
                      <a:pt x="115" y="57"/>
                    </a:cubicBezTo>
                    <a:cubicBezTo>
                      <a:pt x="115" y="55"/>
                      <a:pt x="115" y="52"/>
                      <a:pt x="117" y="51"/>
                    </a:cubicBezTo>
                    <a:cubicBezTo>
                      <a:pt x="118" y="50"/>
                      <a:pt x="120" y="45"/>
                      <a:pt x="119" y="44"/>
                    </a:cubicBezTo>
                    <a:cubicBezTo>
                      <a:pt x="119" y="42"/>
                      <a:pt x="125" y="33"/>
                      <a:pt x="126" y="31"/>
                    </a:cubicBezTo>
                    <a:cubicBezTo>
                      <a:pt x="127" y="30"/>
                      <a:pt x="132" y="31"/>
                      <a:pt x="133" y="28"/>
                    </a:cubicBezTo>
                    <a:cubicBezTo>
                      <a:pt x="133" y="25"/>
                      <a:pt x="134" y="21"/>
                      <a:pt x="132" y="21"/>
                    </a:cubicBezTo>
                    <a:cubicBezTo>
                      <a:pt x="130" y="20"/>
                      <a:pt x="127" y="18"/>
                      <a:pt x="127" y="16"/>
                    </a:cubicBezTo>
                    <a:cubicBezTo>
                      <a:pt x="127" y="15"/>
                      <a:pt x="127" y="12"/>
                      <a:pt x="128" y="10"/>
                    </a:cubicBezTo>
                    <a:cubicBezTo>
                      <a:pt x="125" y="9"/>
                      <a:pt x="125" y="7"/>
                      <a:pt x="124" y="5"/>
                    </a:cubicBezTo>
                    <a:cubicBezTo>
                      <a:pt x="122" y="4"/>
                      <a:pt x="122" y="2"/>
                      <a:pt x="120" y="3"/>
                    </a:cubicBezTo>
                    <a:cubicBezTo>
                      <a:pt x="117" y="4"/>
                      <a:pt x="115" y="9"/>
                      <a:pt x="112" y="10"/>
                    </a:cubicBezTo>
                    <a:cubicBezTo>
                      <a:pt x="109" y="11"/>
                      <a:pt x="104" y="9"/>
                      <a:pt x="102" y="8"/>
                    </a:cubicBezTo>
                    <a:cubicBezTo>
                      <a:pt x="100" y="7"/>
                      <a:pt x="91" y="8"/>
                      <a:pt x="88" y="8"/>
                    </a:cubicBezTo>
                    <a:cubicBezTo>
                      <a:pt x="85" y="7"/>
                      <a:pt x="82" y="12"/>
                      <a:pt x="80" y="13"/>
                    </a:cubicBezTo>
                    <a:cubicBezTo>
                      <a:pt x="77" y="14"/>
                      <a:pt x="71" y="14"/>
                      <a:pt x="69" y="13"/>
                    </a:cubicBezTo>
                    <a:cubicBezTo>
                      <a:pt x="67" y="12"/>
                      <a:pt x="62" y="8"/>
                      <a:pt x="60" y="8"/>
                    </a:cubicBezTo>
                    <a:cubicBezTo>
                      <a:pt x="58" y="8"/>
                      <a:pt x="54" y="9"/>
                      <a:pt x="51" y="11"/>
                    </a:cubicBezTo>
                    <a:cubicBezTo>
                      <a:pt x="47" y="13"/>
                      <a:pt x="46" y="7"/>
                      <a:pt x="44" y="5"/>
                    </a:cubicBezTo>
                    <a:cubicBezTo>
                      <a:pt x="42" y="3"/>
                      <a:pt x="38" y="5"/>
                      <a:pt x="35" y="2"/>
                    </a:cubicBezTo>
                    <a:cubicBezTo>
                      <a:pt x="33" y="0"/>
                      <a:pt x="31" y="5"/>
                      <a:pt x="29" y="5"/>
                    </a:cubicBezTo>
                    <a:cubicBezTo>
                      <a:pt x="26" y="4"/>
                      <a:pt x="20" y="3"/>
                      <a:pt x="18" y="5"/>
                    </a:cubicBezTo>
                    <a:cubicBezTo>
                      <a:pt x="16" y="6"/>
                      <a:pt x="17" y="13"/>
                      <a:pt x="16" y="14"/>
                    </a:cubicBezTo>
                    <a:cubicBezTo>
                      <a:pt x="15" y="15"/>
                      <a:pt x="11" y="19"/>
                      <a:pt x="11" y="22"/>
                    </a:cubicBezTo>
                    <a:cubicBezTo>
                      <a:pt x="11" y="23"/>
                      <a:pt x="10" y="23"/>
                      <a:pt x="9" y="24"/>
                    </a:cubicBezTo>
                    <a:cubicBezTo>
                      <a:pt x="10" y="27"/>
                      <a:pt x="10" y="30"/>
                      <a:pt x="11" y="31"/>
                    </a:cubicBezTo>
                    <a:cubicBezTo>
                      <a:pt x="11" y="34"/>
                      <a:pt x="12" y="45"/>
                      <a:pt x="9" y="47"/>
                    </a:cubicBezTo>
                    <a:cubicBezTo>
                      <a:pt x="7" y="50"/>
                      <a:pt x="5" y="54"/>
                      <a:pt x="5" y="54"/>
                    </a:cubicBezTo>
                    <a:cubicBezTo>
                      <a:pt x="5" y="54"/>
                      <a:pt x="1" y="57"/>
                      <a:pt x="0" y="62"/>
                    </a:cubicBezTo>
                    <a:cubicBezTo>
                      <a:pt x="0" y="68"/>
                      <a:pt x="1" y="71"/>
                      <a:pt x="1" y="75"/>
                    </a:cubicBezTo>
                    <a:cubicBezTo>
                      <a:pt x="1" y="78"/>
                      <a:pt x="3" y="81"/>
                      <a:pt x="4" y="84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6" y="87"/>
                      <a:pt x="16" y="88"/>
                      <a:pt x="21" y="89"/>
                    </a:cubicBezTo>
                    <a:cubicBezTo>
                      <a:pt x="26" y="90"/>
                      <a:pt x="32" y="97"/>
                      <a:pt x="32" y="100"/>
                    </a:cubicBezTo>
                    <a:cubicBezTo>
                      <a:pt x="32" y="103"/>
                      <a:pt x="35" y="109"/>
                      <a:pt x="38" y="110"/>
                    </a:cubicBezTo>
                    <a:cubicBezTo>
                      <a:pt x="40" y="111"/>
                      <a:pt x="46" y="107"/>
                      <a:pt x="49" y="107"/>
                    </a:cubicBezTo>
                    <a:cubicBezTo>
                      <a:pt x="52" y="107"/>
                      <a:pt x="62" y="108"/>
                      <a:pt x="64" y="106"/>
                    </a:cubicBezTo>
                    <a:cubicBezTo>
                      <a:pt x="65" y="105"/>
                      <a:pt x="65" y="105"/>
                      <a:pt x="66" y="106"/>
                    </a:cubicBezTo>
                    <a:cubicBezTo>
                      <a:pt x="68" y="99"/>
                      <a:pt x="69" y="94"/>
                      <a:pt x="69" y="94"/>
                    </a:cubicBezTo>
                    <a:cubicBezTo>
                      <a:pt x="69" y="94"/>
                      <a:pt x="81" y="82"/>
                      <a:pt x="82" y="8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7" name="Freeform 25">
                <a:extLst>
                  <a:ext uri="{FF2B5EF4-FFF2-40B4-BE49-F238E27FC236}">
                    <a16:creationId xmlns:a16="http://schemas.microsoft.com/office/drawing/2014/main" id="{27BBF0EE-FF82-4D86-B999-853BD8E2E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6575" y="3802063"/>
                <a:ext cx="74612" cy="153988"/>
              </a:xfrm>
              <a:custGeom>
                <a:avLst/>
                <a:gdLst>
                  <a:gd name="T0" fmla="*/ 22 w 34"/>
                  <a:gd name="T1" fmla="*/ 45 h 70"/>
                  <a:gd name="T2" fmla="*/ 27 w 34"/>
                  <a:gd name="T3" fmla="*/ 37 h 70"/>
                  <a:gd name="T4" fmla="*/ 31 w 34"/>
                  <a:gd name="T5" fmla="*/ 30 h 70"/>
                  <a:gd name="T6" fmla="*/ 33 w 34"/>
                  <a:gd name="T7" fmla="*/ 14 h 70"/>
                  <a:gd name="T8" fmla="*/ 31 w 34"/>
                  <a:gd name="T9" fmla="*/ 7 h 70"/>
                  <a:gd name="T10" fmla="*/ 28 w 34"/>
                  <a:gd name="T11" fmla="*/ 7 h 70"/>
                  <a:gd name="T12" fmla="*/ 24 w 34"/>
                  <a:gd name="T13" fmla="*/ 1 h 70"/>
                  <a:gd name="T14" fmla="*/ 20 w 34"/>
                  <a:gd name="T15" fmla="*/ 7 h 70"/>
                  <a:gd name="T16" fmla="*/ 17 w 34"/>
                  <a:gd name="T17" fmla="*/ 11 h 70"/>
                  <a:gd name="T18" fmla="*/ 8 w 34"/>
                  <a:gd name="T19" fmla="*/ 13 h 70"/>
                  <a:gd name="T20" fmla="*/ 2 w 34"/>
                  <a:gd name="T21" fmla="*/ 17 h 70"/>
                  <a:gd name="T22" fmla="*/ 0 w 34"/>
                  <a:gd name="T23" fmla="*/ 17 h 70"/>
                  <a:gd name="T24" fmla="*/ 6 w 34"/>
                  <a:gd name="T25" fmla="*/ 28 h 70"/>
                  <a:gd name="T26" fmla="*/ 8 w 34"/>
                  <a:gd name="T27" fmla="*/ 36 h 70"/>
                  <a:gd name="T28" fmla="*/ 10 w 34"/>
                  <a:gd name="T29" fmla="*/ 50 h 70"/>
                  <a:gd name="T30" fmla="*/ 11 w 34"/>
                  <a:gd name="T31" fmla="*/ 70 h 70"/>
                  <a:gd name="T32" fmla="*/ 18 w 34"/>
                  <a:gd name="T33" fmla="*/ 70 h 70"/>
                  <a:gd name="T34" fmla="*/ 26 w 34"/>
                  <a:gd name="T35" fmla="*/ 67 h 70"/>
                  <a:gd name="T36" fmla="*/ 23 w 34"/>
                  <a:gd name="T37" fmla="*/ 58 h 70"/>
                  <a:gd name="T38" fmla="*/ 22 w 34"/>
                  <a:gd name="T39" fmla="*/ 4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" h="70">
                    <a:moveTo>
                      <a:pt x="22" y="45"/>
                    </a:moveTo>
                    <a:cubicBezTo>
                      <a:pt x="23" y="40"/>
                      <a:pt x="27" y="37"/>
                      <a:pt x="27" y="37"/>
                    </a:cubicBezTo>
                    <a:cubicBezTo>
                      <a:pt x="27" y="37"/>
                      <a:pt x="29" y="33"/>
                      <a:pt x="31" y="30"/>
                    </a:cubicBezTo>
                    <a:cubicBezTo>
                      <a:pt x="34" y="28"/>
                      <a:pt x="33" y="17"/>
                      <a:pt x="33" y="14"/>
                    </a:cubicBezTo>
                    <a:cubicBezTo>
                      <a:pt x="32" y="13"/>
                      <a:pt x="32" y="10"/>
                      <a:pt x="31" y="7"/>
                    </a:cubicBezTo>
                    <a:cubicBezTo>
                      <a:pt x="31" y="7"/>
                      <a:pt x="29" y="7"/>
                      <a:pt x="28" y="7"/>
                    </a:cubicBezTo>
                    <a:cubicBezTo>
                      <a:pt x="25" y="5"/>
                      <a:pt x="28" y="2"/>
                      <a:pt x="24" y="1"/>
                    </a:cubicBezTo>
                    <a:cubicBezTo>
                      <a:pt x="21" y="0"/>
                      <a:pt x="20" y="4"/>
                      <a:pt x="20" y="7"/>
                    </a:cubicBezTo>
                    <a:cubicBezTo>
                      <a:pt x="21" y="9"/>
                      <a:pt x="19" y="9"/>
                      <a:pt x="17" y="11"/>
                    </a:cubicBezTo>
                    <a:cubicBezTo>
                      <a:pt x="16" y="13"/>
                      <a:pt x="10" y="13"/>
                      <a:pt x="8" y="13"/>
                    </a:cubicBezTo>
                    <a:cubicBezTo>
                      <a:pt x="6" y="13"/>
                      <a:pt x="4" y="17"/>
                      <a:pt x="2" y="17"/>
                    </a:cubicBezTo>
                    <a:cubicBezTo>
                      <a:pt x="1" y="17"/>
                      <a:pt x="0" y="17"/>
                      <a:pt x="0" y="17"/>
                    </a:cubicBezTo>
                    <a:cubicBezTo>
                      <a:pt x="0" y="26"/>
                      <a:pt x="2" y="25"/>
                      <a:pt x="6" y="28"/>
                    </a:cubicBezTo>
                    <a:cubicBezTo>
                      <a:pt x="11" y="31"/>
                      <a:pt x="6" y="34"/>
                      <a:pt x="8" y="36"/>
                    </a:cubicBezTo>
                    <a:cubicBezTo>
                      <a:pt x="10" y="38"/>
                      <a:pt x="9" y="43"/>
                      <a:pt x="10" y="50"/>
                    </a:cubicBezTo>
                    <a:cubicBezTo>
                      <a:pt x="10" y="53"/>
                      <a:pt x="11" y="63"/>
                      <a:pt x="11" y="70"/>
                    </a:cubicBezTo>
                    <a:cubicBezTo>
                      <a:pt x="14" y="70"/>
                      <a:pt x="16" y="70"/>
                      <a:pt x="18" y="70"/>
                    </a:cubicBezTo>
                    <a:cubicBezTo>
                      <a:pt x="22" y="70"/>
                      <a:pt x="24" y="65"/>
                      <a:pt x="26" y="67"/>
                    </a:cubicBezTo>
                    <a:cubicBezTo>
                      <a:pt x="25" y="64"/>
                      <a:pt x="23" y="61"/>
                      <a:pt x="23" y="58"/>
                    </a:cubicBezTo>
                    <a:cubicBezTo>
                      <a:pt x="23" y="54"/>
                      <a:pt x="22" y="51"/>
                      <a:pt x="22" y="4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8" name="Freeform 26">
                <a:extLst>
                  <a:ext uri="{FF2B5EF4-FFF2-40B4-BE49-F238E27FC236}">
                    <a16:creationId xmlns:a16="http://schemas.microsoft.com/office/drawing/2014/main" id="{7600C0CE-A3DD-4C84-AD0C-6C129F1473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3836988"/>
                <a:ext cx="46037" cy="127000"/>
              </a:xfrm>
              <a:custGeom>
                <a:avLst/>
                <a:gdLst>
                  <a:gd name="T0" fmla="*/ 18 w 21"/>
                  <a:gd name="T1" fmla="*/ 20 h 58"/>
                  <a:gd name="T2" fmla="*/ 16 w 21"/>
                  <a:gd name="T3" fmla="*/ 12 h 58"/>
                  <a:gd name="T4" fmla="*/ 10 w 21"/>
                  <a:gd name="T5" fmla="*/ 1 h 58"/>
                  <a:gd name="T6" fmla="*/ 1 w 21"/>
                  <a:gd name="T7" fmla="*/ 0 h 58"/>
                  <a:gd name="T8" fmla="*/ 0 w 21"/>
                  <a:gd name="T9" fmla="*/ 0 h 58"/>
                  <a:gd name="T10" fmla="*/ 2 w 21"/>
                  <a:gd name="T11" fmla="*/ 7 h 58"/>
                  <a:gd name="T12" fmla="*/ 5 w 21"/>
                  <a:gd name="T13" fmla="*/ 14 h 58"/>
                  <a:gd name="T14" fmla="*/ 5 w 21"/>
                  <a:gd name="T15" fmla="*/ 30 h 58"/>
                  <a:gd name="T16" fmla="*/ 8 w 21"/>
                  <a:gd name="T17" fmla="*/ 45 h 58"/>
                  <a:gd name="T18" fmla="*/ 12 w 21"/>
                  <a:gd name="T19" fmla="*/ 58 h 58"/>
                  <a:gd name="T20" fmla="*/ 15 w 21"/>
                  <a:gd name="T21" fmla="*/ 57 h 58"/>
                  <a:gd name="T22" fmla="*/ 21 w 21"/>
                  <a:gd name="T23" fmla="*/ 54 h 58"/>
                  <a:gd name="T24" fmla="*/ 20 w 21"/>
                  <a:gd name="T25" fmla="*/ 34 h 58"/>
                  <a:gd name="T26" fmla="*/ 18 w 21"/>
                  <a:gd name="T27" fmla="*/ 2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58">
                    <a:moveTo>
                      <a:pt x="18" y="20"/>
                    </a:moveTo>
                    <a:cubicBezTo>
                      <a:pt x="16" y="18"/>
                      <a:pt x="21" y="15"/>
                      <a:pt x="16" y="12"/>
                    </a:cubicBezTo>
                    <a:cubicBezTo>
                      <a:pt x="12" y="9"/>
                      <a:pt x="10" y="10"/>
                      <a:pt x="10" y="1"/>
                    </a:cubicBezTo>
                    <a:cubicBezTo>
                      <a:pt x="7" y="1"/>
                      <a:pt x="4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3"/>
                      <a:pt x="1" y="7"/>
                      <a:pt x="2" y="7"/>
                    </a:cubicBezTo>
                    <a:cubicBezTo>
                      <a:pt x="4" y="8"/>
                      <a:pt x="5" y="10"/>
                      <a:pt x="5" y="14"/>
                    </a:cubicBezTo>
                    <a:cubicBezTo>
                      <a:pt x="5" y="18"/>
                      <a:pt x="4" y="26"/>
                      <a:pt x="5" y="30"/>
                    </a:cubicBezTo>
                    <a:cubicBezTo>
                      <a:pt x="7" y="34"/>
                      <a:pt x="8" y="40"/>
                      <a:pt x="8" y="45"/>
                    </a:cubicBezTo>
                    <a:cubicBezTo>
                      <a:pt x="8" y="49"/>
                      <a:pt x="10" y="54"/>
                      <a:pt x="12" y="58"/>
                    </a:cubicBezTo>
                    <a:cubicBezTo>
                      <a:pt x="13" y="58"/>
                      <a:pt x="14" y="57"/>
                      <a:pt x="15" y="57"/>
                    </a:cubicBezTo>
                    <a:cubicBezTo>
                      <a:pt x="16" y="56"/>
                      <a:pt x="18" y="55"/>
                      <a:pt x="21" y="54"/>
                    </a:cubicBezTo>
                    <a:cubicBezTo>
                      <a:pt x="21" y="47"/>
                      <a:pt x="20" y="37"/>
                      <a:pt x="20" y="34"/>
                    </a:cubicBezTo>
                    <a:cubicBezTo>
                      <a:pt x="19" y="27"/>
                      <a:pt x="20" y="22"/>
                      <a:pt x="18" y="2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49" name="Freeform 27">
                <a:extLst>
                  <a:ext uri="{FF2B5EF4-FFF2-40B4-BE49-F238E27FC236}">
                    <a16:creationId xmlns:a16="http://schemas.microsoft.com/office/drawing/2014/main" id="{A2D742BB-A324-419F-93E7-6E63F8A30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250" y="3786188"/>
                <a:ext cx="184150" cy="285750"/>
              </a:xfrm>
              <a:custGeom>
                <a:avLst/>
                <a:gdLst>
                  <a:gd name="T0" fmla="*/ 35 w 84"/>
                  <a:gd name="T1" fmla="*/ 123 h 130"/>
                  <a:gd name="T2" fmla="*/ 65 w 84"/>
                  <a:gd name="T3" fmla="*/ 124 h 130"/>
                  <a:gd name="T4" fmla="*/ 81 w 84"/>
                  <a:gd name="T5" fmla="*/ 130 h 130"/>
                  <a:gd name="T6" fmla="*/ 84 w 84"/>
                  <a:gd name="T7" fmla="*/ 120 h 130"/>
                  <a:gd name="T8" fmla="*/ 82 w 84"/>
                  <a:gd name="T9" fmla="*/ 118 h 130"/>
                  <a:gd name="T10" fmla="*/ 74 w 84"/>
                  <a:gd name="T11" fmla="*/ 110 h 130"/>
                  <a:gd name="T12" fmla="*/ 72 w 84"/>
                  <a:gd name="T13" fmla="*/ 107 h 130"/>
                  <a:gd name="T14" fmla="*/ 70 w 84"/>
                  <a:gd name="T15" fmla="*/ 100 h 130"/>
                  <a:gd name="T16" fmla="*/ 67 w 84"/>
                  <a:gd name="T17" fmla="*/ 91 h 130"/>
                  <a:gd name="T18" fmla="*/ 65 w 84"/>
                  <a:gd name="T19" fmla="*/ 82 h 130"/>
                  <a:gd name="T20" fmla="*/ 71 w 84"/>
                  <a:gd name="T21" fmla="*/ 70 h 130"/>
                  <a:gd name="T22" fmla="*/ 77 w 84"/>
                  <a:gd name="T23" fmla="*/ 63 h 130"/>
                  <a:gd name="T24" fmla="*/ 73 w 84"/>
                  <a:gd name="T25" fmla="*/ 55 h 130"/>
                  <a:gd name="T26" fmla="*/ 64 w 84"/>
                  <a:gd name="T27" fmla="*/ 46 h 130"/>
                  <a:gd name="T28" fmla="*/ 61 w 84"/>
                  <a:gd name="T29" fmla="*/ 38 h 130"/>
                  <a:gd name="T30" fmla="*/ 71 w 84"/>
                  <a:gd name="T31" fmla="*/ 36 h 130"/>
                  <a:gd name="T32" fmla="*/ 76 w 84"/>
                  <a:gd name="T33" fmla="*/ 35 h 130"/>
                  <a:gd name="T34" fmla="*/ 71 w 84"/>
                  <a:gd name="T35" fmla="*/ 21 h 130"/>
                  <a:gd name="T36" fmla="*/ 70 w 84"/>
                  <a:gd name="T37" fmla="*/ 11 h 130"/>
                  <a:gd name="T38" fmla="*/ 63 w 84"/>
                  <a:gd name="T39" fmla="*/ 0 h 130"/>
                  <a:gd name="T40" fmla="*/ 62 w 84"/>
                  <a:gd name="T41" fmla="*/ 0 h 130"/>
                  <a:gd name="T42" fmla="*/ 61 w 84"/>
                  <a:gd name="T43" fmla="*/ 6 h 130"/>
                  <a:gd name="T44" fmla="*/ 66 w 84"/>
                  <a:gd name="T45" fmla="*/ 11 h 130"/>
                  <a:gd name="T46" fmla="*/ 67 w 84"/>
                  <a:gd name="T47" fmla="*/ 18 h 130"/>
                  <a:gd name="T48" fmla="*/ 60 w 84"/>
                  <a:gd name="T49" fmla="*/ 21 h 130"/>
                  <a:gd name="T50" fmla="*/ 53 w 84"/>
                  <a:gd name="T51" fmla="*/ 34 h 130"/>
                  <a:gd name="T52" fmla="*/ 51 w 84"/>
                  <a:gd name="T53" fmla="*/ 41 h 130"/>
                  <a:gd name="T54" fmla="*/ 49 w 84"/>
                  <a:gd name="T55" fmla="*/ 47 h 130"/>
                  <a:gd name="T56" fmla="*/ 44 w 84"/>
                  <a:gd name="T57" fmla="*/ 54 h 130"/>
                  <a:gd name="T58" fmla="*/ 36 w 84"/>
                  <a:gd name="T59" fmla="*/ 71 h 130"/>
                  <a:gd name="T60" fmla="*/ 31 w 84"/>
                  <a:gd name="T61" fmla="*/ 76 h 130"/>
                  <a:gd name="T62" fmla="*/ 23 w 84"/>
                  <a:gd name="T63" fmla="*/ 70 h 130"/>
                  <a:gd name="T64" fmla="*/ 16 w 84"/>
                  <a:gd name="T65" fmla="*/ 71 h 130"/>
                  <a:gd name="T66" fmla="*/ 3 w 84"/>
                  <a:gd name="T67" fmla="*/ 84 h 130"/>
                  <a:gd name="T68" fmla="*/ 0 w 84"/>
                  <a:gd name="T69" fmla="*/ 96 h 130"/>
                  <a:gd name="T70" fmla="*/ 5 w 84"/>
                  <a:gd name="T71" fmla="*/ 102 h 130"/>
                  <a:gd name="T72" fmla="*/ 13 w 84"/>
                  <a:gd name="T73" fmla="*/ 104 h 130"/>
                  <a:gd name="T74" fmla="*/ 17 w 84"/>
                  <a:gd name="T75" fmla="*/ 115 h 130"/>
                  <a:gd name="T76" fmla="*/ 14 w 84"/>
                  <a:gd name="T77" fmla="*/ 125 h 130"/>
                  <a:gd name="T78" fmla="*/ 30 w 84"/>
                  <a:gd name="T79" fmla="*/ 125 h 130"/>
                  <a:gd name="T80" fmla="*/ 35 w 84"/>
                  <a:gd name="T81" fmla="*/ 12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4" h="130">
                    <a:moveTo>
                      <a:pt x="35" y="123"/>
                    </a:moveTo>
                    <a:cubicBezTo>
                      <a:pt x="35" y="123"/>
                      <a:pt x="61" y="125"/>
                      <a:pt x="65" y="124"/>
                    </a:cubicBezTo>
                    <a:cubicBezTo>
                      <a:pt x="68" y="123"/>
                      <a:pt x="81" y="130"/>
                      <a:pt x="81" y="130"/>
                    </a:cubicBezTo>
                    <a:cubicBezTo>
                      <a:pt x="81" y="130"/>
                      <a:pt x="81" y="123"/>
                      <a:pt x="84" y="120"/>
                    </a:cubicBezTo>
                    <a:cubicBezTo>
                      <a:pt x="83" y="119"/>
                      <a:pt x="82" y="118"/>
                      <a:pt x="82" y="118"/>
                    </a:cubicBezTo>
                    <a:cubicBezTo>
                      <a:pt x="81" y="116"/>
                      <a:pt x="76" y="113"/>
                      <a:pt x="74" y="110"/>
                    </a:cubicBezTo>
                    <a:cubicBezTo>
                      <a:pt x="73" y="108"/>
                      <a:pt x="72" y="107"/>
                      <a:pt x="72" y="107"/>
                    </a:cubicBezTo>
                    <a:cubicBezTo>
                      <a:pt x="72" y="107"/>
                      <a:pt x="72" y="103"/>
                      <a:pt x="70" y="100"/>
                    </a:cubicBezTo>
                    <a:cubicBezTo>
                      <a:pt x="68" y="97"/>
                      <a:pt x="67" y="95"/>
                      <a:pt x="67" y="91"/>
                    </a:cubicBezTo>
                    <a:cubicBezTo>
                      <a:pt x="67" y="87"/>
                      <a:pt x="65" y="84"/>
                      <a:pt x="65" y="82"/>
                    </a:cubicBezTo>
                    <a:cubicBezTo>
                      <a:pt x="65" y="79"/>
                      <a:pt x="69" y="75"/>
                      <a:pt x="71" y="70"/>
                    </a:cubicBezTo>
                    <a:cubicBezTo>
                      <a:pt x="72" y="68"/>
                      <a:pt x="74" y="65"/>
                      <a:pt x="77" y="63"/>
                    </a:cubicBezTo>
                    <a:cubicBezTo>
                      <a:pt x="75" y="62"/>
                      <a:pt x="74" y="59"/>
                      <a:pt x="73" y="55"/>
                    </a:cubicBezTo>
                    <a:cubicBezTo>
                      <a:pt x="72" y="51"/>
                      <a:pt x="68" y="50"/>
                      <a:pt x="64" y="46"/>
                    </a:cubicBezTo>
                    <a:cubicBezTo>
                      <a:pt x="60" y="42"/>
                      <a:pt x="61" y="39"/>
                      <a:pt x="61" y="38"/>
                    </a:cubicBezTo>
                    <a:cubicBezTo>
                      <a:pt x="61" y="36"/>
                      <a:pt x="67" y="36"/>
                      <a:pt x="71" y="36"/>
                    </a:cubicBezTo>
                    <a:cubicBezTo>
                      <a:pt x="75" y="37"/>
                      <a:pt x="77" y="36"/>
                      <a:pt x="76" y="35"/>
                    </a:cubicBezTo>
                    <a:cubicBezTo>
                      <a:pt x="74" y="34"/>
                      <a:pt x="71" y="26"/>
                      <a:pt x="71" y="21"/>
                    </a:cubicBezTo>
                    <a:cubicBezTo>
                      <a:pt x="71" y="15"/>
                      <a:pt x="69" y="14"/>
                      <a:pt x="70" y="11"/>
                    </a:cubicBezTo>
                    <a:cubicBezTo>
                      <a:pt x="70" y="8"/>
                      <a:pt x="66" y="0"/>
                      <a:pt x="63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1" y="2"/>
                      <a:pt x="61" y="5"/>
                      <a:pt x="61" y="6"/>
                    </a:cubicBezTo>
                    <a:cubicBezTo>
                      <a:pt x="61" y="8"/>
                      <a:pt x="64" y="10"/>
                      <a:pt x="66" y="11"/>
                    </a:cubicBezTo>
                    <a:cubicBezTo>
                      <a:pt x="68" y="11"/>
                      <a:pt x="67" y="15"/>
                      <a:pt x="67" y="18"/>
                    </a:cubicBezTo>
                    <a:cubicBezTo>
                      <a:pt x="66" y="21"/>
                      <a:pt x="61" y="20"/>
                      <a:pt x="60" y="21"/>
                    </a:cubicBezTo>
                    <a:cubicBezTo>
                      <a:pt x="59" y="23"/>
                      <a:pt x="53" y="32"/>
                      <a:pt x="53" y="34"/>
                    </a:cubicBezTo>
                    <a:cubicBezTo>
                      <a:pt x="54" y="35"/>
                      <a:pt x="52" y="40"/>
                      <a:pt x="51" y="41"/>
                    </a:cubicBezTo>
                    <a:cubicBezTo>
                      <a:pt x="49" y="42"/>
                      <a:pt x="49" y="45"/>
                      <a:pt x="49" y="47"/>
                    </a:cubicBezTo>
                    <a:cubicBezTo>
                      <a:pt x="49" y="49"/>
                      <a:pt x="44" y="51"/>
                      <a:pt x="44" y="54"/>
                    </a:cubicBezTo>
                    <a:cubicBezTo>
                      <a:pt x="44" y="56"/>
                      <a:pt x="38" y="67"/>
                      <a:pt x="36" y="71"/>
                    </a:cubicBezTo>
                    <a:cubicBezTo>
                      <a:pt x="34" y="75"/>
                      <a:pt x="32" y="79"/>
                      <a:pt x="31" y="76"/>
                    </a:cubicBezTo>
                    <a:cubicBezTo>
                      <a:pt x="30" y="73"/>
                      <a:pt x="25" y="69"/>
                      <a:pt x="23" y="70"/>
                    </a:cubicBezTo>
                    <a:cubicBezTo>
                      <a:pt x="21" y="72"/>
                      <a:pt x="18" y="71"/>
                      <a:pt x="16" y="71"/>
                    </a:cubicBezTo>
                    <a:cubicBezTo>
                      <a:pt x="15" y="72"/>
                      <a:pt x="3" y="84"/>
                      <a:pt x="3" y="84"/>
                    </a:cubicBezTo>
                    <a:cubicBezTo>
                      <a:pt x="3" y="84"/>
                      <a:pt x="2" y="89"/>
                      <a:pt x="0" y="96"/>
                    </a:cubicBezTo>
                    <a:cubicBezTo>
                      <a:pt x="1" y="97"/>
                      <a:pt x="3" y="100"/>
                      <a:pt x="5" y="102"/>
                    </a:cubicBezTo>
                    <a:cubicBezTo>
                      <a:pt x="7" y="105"/>
                      <a:pt x="12" y="103"/>
                      <a:pt x="13" y="104"/>
                    </a:cubicBezTo>
                    <a:cubicBezTo>
                      <a:pt x="15" y="105"/>
                      <a:pt x="17" y="113"/>
                      <a:pt x="17" y="115"/>
                    </a:cubicBezTo>
                    <a:cubicBezTo>
                      <a:pt x="16" y="117"/>
                      <a:pt x="13" y="122"/>
                      <a:pt x="14" y="125"/>
                    </a:cubicBezTo>
                    <a:cubicBezTo>
                      <a:pt x="30" y="125"/>
                      <a:pt x="30" y="125"/>
                      <a:pt x="30" y="125"/>
                    </a:cubicBezTo>
                    <a:lnTo>
                      <a:pt x="35" y="123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0" name="Freeform 28">
                <a:extLst>
                  <a:ext uri="{FF2B5EF4-FFF2-40B4-BE49-F238E27FC236}">
                    <a16:creationId xmlns:a16="http://schemas.microsoft.com/office/drawing/2014/main" id="{5742FE7F-543C-40F1-B9C2-1DBB1E805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3846513"/>
                <a:ext cx="153987" cy="157163"/>
              </a:xfrm>
              <a:custGeom>
                <a:avLst/>
                <a:gdLst>
                  <a:gd name="T0" fmla="*/ 66 w 70"/>
                  <a:gd name="T1" fmla="*/ 60 h 72"/>
                  <a:gd name="T2" fmla="*/ 61 w 70"/>
                  <a:gd name="T3" fmla="*/ 48 h 72"/>
                  <a:gd name="T4" fmla="*/ 66 w 70"/>
                  <a:gd name="T5" fmla="*/ 37 h 72"/>
                  <a:gd name="T6" fmla="*/ 70 w 70"/>
                  <a:gd name="T7" fmla="*/ 29 h 72"/>
                  <a:gd name="T8" fmla="*/ 66 w 70"/>
                  <a:gd name="T9" fmla="*/ 12 h 72"/>
                  <a:gd name="T10" fmla="*/ 64 w 70"/>
                  <a:gd name="T11" fmla="*/ 11 h 72"/>
                  <a:gd name="T12" fmla="*/ 51 w 70"/>
                  <a:gd name="T13" fmla="*/ 12 h 72"/>
                  <a:gd name="T14" fmla="*/ 41 w 70"/>
                  <a:gd name="T15" fmla="*/ 8 h 72"/>
                  <a:gd name="T16" fmla="*/ 32 w 70"/>
                  <a:gd name="T17" fmla="*/ 5 h 72"/>
                  <a:gd name="T18" fmla="*/ 28 w 70"/>
                  <a:gd name="T19" fmla="*/ 3 h 72"/>
                  <a:gd name="T20" fmla="*/ 22 w 70"/>
                  <a:gd name="T21" fmla="*/ 4 h 72"/>
                  <a:gd name="T22" fmla="*/ 16 w 70"/>
                  <a:gd name="T23" fmla="*/ 7 h 72"/>
                  <a:gd name="T24" fmla="*/ 10 w 70"/>
                  <a:gd name="T25" fmla="*/ 5 h 72"/>
                  <a:gd name="T26" fmla="*/ 6 w 70"/>
                  <a:gd name="T27" fmla="*/ 6 h 72"/>
                  <a:gd name="T28" fmla="*/ 6 w 70"/>
                  <a:gd name="T29" fmla="*/ 15 h 72"/>
                  <a:gd name="T30" fmla="*/ 8 w 70"/>
                  <a:gd name="T31" fmla="*/ 20 h 72"/>
                  <a:gd name="T32" fmla="*/ 10 w 70"/>
                  <a:gd name="T33" fmla="*/ 27 h 72"/>
                  <a:gd name="T34" fmla="*/ 5 w 70"/>
                  <a:gd name="T35" fmla="*/ 28 h 72"/>
                  <a:gd name="T36" fmla="*/ 6 w 70"/>
                  <a:gd name="T37" fmla="*/ 35 h 72"/>
                  <a:gd name="T38" fmla="*/ 3 w 70"/>
                  <a:gd name="T39" fmla="*/ 41 h 72"/>
                  <a:gd name="T40" fmla="*/ 2 w 70"/>
                  <a:gd name="T41" fmla="*/ 49 h 72"/>
                  <a:gd name="T42" fmla="*/ 5 w 70"/>
                  <a:gd name="T43" fmla="*/ 53 h 72"/>
                  <a:gd name="T44" fmla="*/ 14 w 70"/>
                  <a:gd name="T45" fmla="*/ 61 h 72"/>
                  <a:gd name="T46" fmla="*/ 11 w 70"/>
                  <a:gd name="T47" fmla="*/ 72 h 72"/>
                  <a:gd name="T48" fmla="*/ 44 w 70"/>
                  <a:gd name="T49" fmla="*/ 64 h 72"/>
                  <a:gd name="T50" fmla="*/ 66 w 70"/>
                  <a:gd name="T51" fmla="*/ 66 h 72"/>
                  <a:gd name="T52" fmla="*/ 66 w 70"/>
                  <a:gd name="T53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0" h="72">
                    <a:moveTo>
                      <a:pt x="66" y="60"/>
                    </a:moveTo>
                    <a:cubicBezTo>
                      <a:pt x="65" y="58"/>
                      <a:pt x="61" y="50"/>
                      <a:pt x="61" y="48"/>
                    </a:cubicBezTo>
                    <a:cubicBezTo>
                      <a:pt x="62" y="46"/>
                      <a:pt x="66" y="40"/>
                      <a:pt x="66" y="37"/>
                    </a:cubicBezTo>
                    <a:cubicBezTo>
                      <a:pt x="65" y="34"/>
                      <a:pt x="70" y="32"/>
                      <a:pt x="70" y="29"/>
                    </a:cubicBezTo>
                    <a:cubicBezTo>
                      <a:pt x="70" y="27"/>
                      <a:pt x="69" y="18"/>
                      <a:pt x="66" y="12"/>
                    </a:cubicBezTo>
                    <a:cubicBezTo>
                      <a:pt x="65" y="12"/>
                      <a:pt x="65" y="11"/>
                      <a:pt x="64" y="11"/>
                    </a:cubicBezTo>
                    <a:cubicBezTo>
                      <a:pt x="62" y="9"/>
                      <a:pt x="54" y="9"/>
                      <a:pt x="51" y="12"/>
                    </a:cubicBezTo>
                    <a:cubicBezTo>
                      <a:pt x="48" y="16"/>
                      <a:pt x="42" y="9"/>
                      <a:pt x="41" y="8"/>
                    </a:cubicBezTo>
                    <a:cubicBezTo>
                      <a:pt x="40" y="6"/>
                      <a:pt x="35" y="2"/>
                      <a:pt x="32" y="5"/>
                    </a:cubicBezTo>
                    <a:cubicBezTo>
                      <a:pt x="29" y="7"/>
                      <a:pt x="28" y="6"/>
                      <a:pt x="28" y="3"/>
                    </a:cubicBezTo>
                    <a:cubicBezTo>
                      <a:pt x="28" y="0"/>
                      <a:pt x="23" y="1"/>
                      <a:pt x="22" y="4"/>
                    </a:cubicBezTo>
                    <a:cubicBezTo>
                      <a:pt x="22" y="7"/>
                      <a:pt x="17" y="9"/>
                      <a:pt x="16" y="7"/>
                    </a:cubicBezTo>
                    <a:cubicBezTo>
                      <a:pt x="15" y="5"/>
                      <a:pt x="12" y="2"/>
                      <a:pt x="10" y="5"/>
                    </a:cubicBezTo>
                    <a:cubicBezTo>
                      <a:pt x="9" y="7"/>
                      <a:pt x="8" y="7"/>
                      <a:pt x="6" y="6"/>
                    </a:cubicBezTo>
                    <a:cubicBezTo>
                      <a:pt x="6" y="10"/>
                      <a:pt x="4" y="14"/>
                      <a:pt x="6" y="15"/>
                    </a:cubicBezTo>
                    <a:cubicBezTo>
                      <a:pt x="9" y="16"/>
                      <a:pt x="9" y="19"/>
                      <a:pt x="8" y="20"/>
                    </a:cubicBezTo>
                    <a:cubicBezTo>
                      <a:pt x="8" y="22"/>
                      <a:pt x="12" y="26"/>
                      <a:pt x="10" y="27"/>
                    </a:cubicBezTo>
                    <a:cubicBezTo>
                      <a:pt x="9" y="29"/>
                      <a:pt x="6" y="26"/>
                      <a:pt x="5" y="28"/>
                    </a:cubicBezTo>
                    <a:cubicBezTo>
                      <a:pt x="4" y="31"/>
                      <a:pt x="8" y="33"/>
                      <a:pt x="6" y="35"/>
                    </a:cubicBezTo>
                    <a:cubicBezTo>
                      <a:pt x="5" y="37"/>
                      <a:pt x="2" y="37"/>
                      <a:pt x="3" y="41"/>
                    </a:cubicBezTo>
                    <a:cubicBezTo>
                      <a:pt x="3" y="45"/>
                      <a:pt x="3" y="48"/>
                      <a:pt x="2" y="49"/>
                    </a:cubicBezTo>
                    <a:cubicBezTo>
                      <a:pt x="0" y="50"/>
                      <a:pt x="2" y="50"/>
                      <a:pt x="5" y="53"/>
                    </a:cubicBezTo>
                    <a:cubicBezTo>
                      <a:pt x="9" y="55"/>
                      <a:pt x="15" y="57"/>
                      <a:pt x="14" y="61"/>
                    </a:cubicBezTo>
                    <a:cubicBezTo>
                      <a:pt x="14" y="65"/>
                      <a:pt x="12" y="65"/>
                      <a:pt x="11" y="72"/>
                    </a:cubicBezTo>
                    <a:cubicBezTo>
                      <a:pt x="18" y="72"/>
                      <a:pt x="30" y="67"/>
                      <a:pt x="44" y="64"/>
                    </a:cubicBezTo>
                    <a:cubicBezTo>
                      <a:pt x="53" y="63"/>
                      <a:pt x="61" y="64"/>
                      <a:pt x="66" y="66"/>
                    </a:cubicBezTo>
                    <a:cubicBezTo>
                      <a:pt x="66" y="64"/>
                      <a:pt x="67" y="61"/>
                      <a:pt x="66" y="6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1" name="Freeform 29">
                <a:extLst>
                  <a:ext uri="{FF2B5EF4-FFF2-40B4-BE49-F238E27FC236}">
                    <a16:creationId xmlns:a16="http://schemas.microsoft.com/office/drawing/2014/main" id="{030C4041-AD29-4BC1-B0C0-BE1B647F5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975" y="3836988"/>
                <a:ext cx="106362" cy="160338"/>
              </a:xfrm>
              <a:custGeom>
                <a:avLst/>
                <a:gdLst>
                  <a:gd name="T0" fmla="*/ 41 w 48"/>
                  <a:gd name="T1" fmla="*/ 30 h 73"/>
                  <a:gd name="T2" fmla="*/ 41 w 48"/>
                  <a:gd name="T3" fmla="*/ 14 h 73"/>
                  <a:gd name="T4" fmla="*/ 38 w 48"/>
                  <a:gd name="T5" fmla="*/ 7 h 73"/>
                  <a:gd name="T6" fmla="*/ 36 w 48"/>
                  <a:gd name="T7" fmla="*/ 0 h 73"/>
                  <a:gd name="T8" fmla="*/ 33 w 48"/>
                  <a:gd name="T9" fmla="*/ 3 h 73"/>
                  <a:gd name="T10" fmla="*/ 5 w 48"/>
                  <a:gd name="T11" fmla="*/ 2 h 73"/>
                  <a:gd name="T12" fmla="*/ 7 w 48"/>
                  <a:gd name="T13" fmla="*/ 14 h 73"/>
                  <a:gd name="T14" fmla="*/ 5 w 48"/>
                  <a:gd name="T15" fmla="*/ 16 h 73"/>
                  <a:gd name="T16" fmla="*/ 9 w 48"/>
                  <a:gd name="T17" fmla="*/ 33 h 73"/>
                  <a:gd name="T18" fmla="*/ 5 w 48"/>
                  <a:gd name="T19" fmla="*/ 41 h 73"/>
                  <a:gd name="T20" fmla="*/ 0 w 48"/>
                  <a:gd name="T21" fmla="*/ 52 h 73"/>
                  <a:gd name="T22" fmla="*/ 5 w 48"/>
                  <a:gd name="T23" fmla="*/ 64 h 73"/>
                  <a:gd name="T24" fmla="*/ 5 w 48"/>
                  <a:gd name="T25" fmla="*/ 70 h 73"/>
                  <a:gd name="T26" fmla="*/ 13 w 48"/>
                  <a:gd name="T27" fmla="*/ 73 h 73"/>
                  <a:gd name="T28" fmla="*/ 35 w 48"/>
                  <a:gd name="T29" fmla="*/ 64 h 73"/>
                  <a:gd name="T30" fmla="*/ 48 w 48"/>
                  <a:gd name="T31" fmla="*/ 58 h 73"/>
                  <a:gd name="T32" fmla="*/ 44 w 48"/>
                  <a:gd name="T33" fmla="*/ 45 h 73"/>
                  <a:gd name="T34" fmla="*/ 41 w 48"/>
                  <a:gd name="T35" fmla="*/ 3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73">
                    <a:moveTo>
                      <a:pt x="41" y="30"/>
                    </a:moveTo>
                    <a:cubicBezTo>
                      <a:pt x="40" y="26"/>
                      <a:pt x="41" y="18"/>
                      <a:pt x="41" y="14"/>
                    </a:cubicBezTo>
                    <a:cubicBezTo>
                      <a:pt x="41" y="10"/>
                      <a:pt x="40" y="8"/>
                      <a:pt x="38" y="7"/>
                    </a:cubicBezTo>
                    <a:cubicBezTo>
                      <a:pt x="37" y="7"/>
                      <a:pt x="36" y="3"/>
                      <a:pt x="36" y="0"/>
                    </a:cubicBezTo>
                    <a:cubicBezTo>
                      <a:pt x="34" y="1"/>
                      <a:pt x="34" y="4"/>
                      <a:pt x="33" y="3"/>
                    </a:cubicBezTo>
                    <a:cubicBezTo>
                      <a:pt x="32" y="1"/>
                      <a:pt x="6" y="0"/>
                      <a:pt x="5" y="2"/>
                    </a:cubicBezTo>
                    <a:cubicBezTo>
                      <a:pt x="3" y="4"/>
                      <a:pt x="7" y="12"/>
                      <a:pt x="7" y="14"/>
                    </a:cubicBezTo>
                    <a:cubicBezTo>
                      <a:pt x="6" y="15"/>
                      <a:pt x="6" y="16"/>
                      <a:pt x="5" y="16"/>
                    </a:cubicBezTo>
                    <a:cubicBezTo>
                      <a:pt x="8" y="22"/>
                      <a:pt x="9" y="31"/>
                      <a:pt x="9" y="33"/>
                    </a:cubicBezTo>
                    <a:cubicBezTo>
                      <a:pt x="9" y="36"/>
                      <a:pt x="4" y="38"/>
                      <a:pt x="5" y="41"/>
                    </a:cubicBezTo>
                    <a:cubicBezTo>
                      <a:pt x="5" y="44"/>
                      <a:pt x="1" y="50"/>
                      <a:pt x="0" y="52"/>
                    </a:cubicBezTo>
                    <a:cubicBezTo>
                      <a:pt x="0" y="54"/>
                      <a:pt x="4" y="62"/>
                      <a:pt x="5" y="64"/>
                    </a:cubicBezTo>
                    <a:cubicBezTo>
                      <a:pt x="6" y="65"/>
                      <a:pt x="5" y="68"/>
                      <a:pt x="5" y="70"/>
                    </a:cubicBezTo>
                    <a:cubicBezTo>
                      <a:pt x="9" y="71"/>
                      <a:pt x="12" y="73"/>
                      <a:pt x="13" y="73"/>
                    </a:cubicBezTo>
                    <a:cubicBezTo>
                      <a:pt x="15" y="73"/>
                      <a:pt x="30" y="67"/>
                      <a:pt x="35" y="64"/>
                    </a:cubicBezTo>
                    <a:cubicBezTo>
                      <a:pt x="40" y="62"/>
                      <a:pt x="45" y="60"/>
                      <a:pt x="48" y="58"/>
                    </a:cubicBezTo>
                    <a:cubicBezTo>
                      <a:pt x="46" y="54"/>
                      <a:pt x="44" y="49"/>
                      <a:pt x="44" y="45"/>
                    </a:cubicBezTo>
                    <a:cubicBezTo>
                      <a:pt x="44" y="40"/>
                      <a:pt x="43" y="34"/>
                      <a:pt x="41" y="3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2" name="Freeform 30">
                <a:extLst>
                  <a:ext uri="{FF2B5EF4-FFF2-40B4-BE49-F238E27FC236}">
                    <a16:creationId xmlns:a16="http://schemas.microsoft.com/office/drawing/2014/main" id="{57E3D7F4-FD89-4362-90EC-4C3FE77EA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1288" y="3797300"/>
                <a:ext cx="187325" cy="142875"/>
              </a:xfrm>
              <a:custGeom>
                <a:avLst/>
                <a:gdLst>
                  <a:gd name="T0" fmla="*/ 28 w 85"/>
                  <a:gd name="T1" fmla="*/ 34 h 65"/>
                  <a:gd name="T2" fmla="*/ 33 w 85"/>
                  <a:gd name="T3" fmla="*/ 33 h 65"/>
                  <a:gd name="T4" fmla="*/ 42 w 85"/>
                  <a:gd name="T5" fmla="*/ 31 h 65"/>
                  <a:gd name="T6" fmla="*/ 51 w 85"/>
                  <a:gd name="T7" fmla="*/ 42 h 65"/>
                  <a:gd name="T8" fmla="*/ 52 w 85"/>
                  <a:gd name="T9" fmla="*/ 49 h 65"/>
                  <a:gd name="T10" fmla="*/ 53 w 85"/>
                  <a:gd name="T11" fmla="*/ 50 h 65"/>
                  <a:gd name="T12" fmla="*/ 61 w 85"/>
                  <a:gd name="T13" fmla="*/ 49 h 65"/>
                  <a:gd name="T14" fmla="*/ 64 w 85"/>
                  <a:gd name="T15" fmla="*/ 58 h 65"/>
                  <a:gd name="T16" fmla="*/ 69 w 85"/>
                  <a:gd name="T17" fmla="*/ 62 h 65"/>
                  <a:gd name="T18" fmla="*/ 74 w 85"/>
                  <a:gd name="T19" fmla="*/ 59 h 65"/>
                  <a:gd name="T20" fmla="*/ 76 w 85"/>
                  <a:gd name="T21" fmla="*/ 60 h 65"/>
                  <a:gd name="T22" fmla="*/ 79 w 85"/>
                  <a:gd name="T23" fmla="*/ 57 h 65"/>
                  <a:gd name="T24" fmla="*/ 78 w 85"/>
                  <a:gd name="T25" fmla="*/ 50 h 65"/>
                  <a:gd name="T26" fmla="*/ 83 w 85"/>
                  <a:gd name="T27" fmla="*/ 49 h 65"/>
                  <a:gd name="T28" fmla="*/ 81 w 85"/>
                  <a:gd name="T29" fmla="*/ 42 h 65"/>
                  <a:gd name="T30" fmla="*/ 79 w 85"/>
                  <a:gd name="T31" fmla="*/ 37 h 65"/>
                  <a:gd name="T32" fmla="*/ 79 w 85"/>
                  <a:gd name="T33" fmla="*/ 28 h 65"/>
                  <a:gd name="T34" fmla="*/ 78 w 85"/>
                  <a:gd name="T35" fmla="*/ 27 h 65"/>
                  <a:gd name="T36" fmla="*/ 75 w 85"/>
                  <a:gd name="T37" fmla="*/ 20 h 65"/>
                  <a:gd name="T38" fmla="*/ 75 w 85"/>
                  <a:gd name="T39" fmla="*/ 16 h 65"/>
                  <a:gd name="T40" fmla="*/ 71 w 85"/>
                  <a:gd name="T41" fmla="*/ 11 h 65"/>
                  <a:gd name="T42" fmla="*/ 67 w 85"/>
                  <a:gd name="T43" fmla="*/ 3 h 65"/>
                  <a:gd name="T44" fmla="*/ 59 w 85"/>
                  <a:gd name="T45" fmla="*/ 8 h 65"/>
                  <a:gd name="T46" fmla="*/ 51 w 85"/>
                  <a:gd name="T47" fmla="*/ 8 h 65"/>
                  <a:gd name="T48" fmla="*/ 45 w 85"/>
                  <a:gd name="T49" fmla="*/ 9 h 65"/>
                  <a:gd name="T50" fmla="*/ 42 w 85"/>
                  <a:gd name="T51" fmla="*/ 6 h 65"/>
                  <a:gd name="T52" fmla="*/ 42 w 85"/>
                  <a:gd name="T53" fmla="*/ 4 h 65"/>
                  <a:gd name="T54" fmla="*/ 40 w 85"/>
                  <a:gd name="T55" fmla="*/ 4 h 65"/>
                  <a:gd name="T56" fmla="*/ 24 w 85"/>
                  <a:gd name="T57" fmla="*/ 3 h 65"/>
                  <a:gd name="T58" fmla="*/ 16 w 85"/>
                  <a:gd name="T59" fmla="*/ 0 h 65"/>
                  <a:gd name="T60" fmla="*/ 13 w 85"/>
                  <a:gd name="T61" fmla="*/ 5 h 65"/>
                  <a:gd name="T62" fmla="*/ 14 w 85"/>
                  <a:gd name="T63" fmla="*/ 10 h 65"/>
                  <a:gd name="T64" fmla="*/ 10 w 85"/>
                  <a:gd name="T65" fmla="*/ 12 h 65"/>
                  <a:gd name="T66" fmla="*/ 1 w 85"/>
                  <a:gd name="T67" fmla="*/ 18 h 65"/>
                  <a:gd name="T68" fmla="*/ 0 w 85"/>
                  <a:gd name="T69" fmla="*/ 19 h 65"/>
                  <a:gd name="T70" fmla="*/ 8 w 85"/>
                  <a:gd name="T71" fmla="*/ 29 h 65"/>
                  <a:gd name="T72" fmla="*/ 20 w 85"/>
                  <a:gd name="T73" fmla="*/ 43 h 65"/>
                  <a:gd name="T74" fmla="*/ 28 w 85"/>
                  <a:gd name="T75" fmla="*/ 3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5" h="65">
                    <a:moveTo>
                      <a:pt x="28" y="34"/>
                    </a:moveTo>
                    <a:cubicBezTo>
                      <a:pt x="28" y="31"/>
                      <a:pt x="31" y="32"/>
                      <a:pt x="33" y="33"/>
                    </a:cubicBezTo>
                    <a:cubicBezTo>
                      <a:pt x="36" y="33"/>
                      <a:pt x="39" y="31"/>
                      <a:pt x="42" y="31"/>
                    </a:cubicBezTo>
                    <a:cubicBezTo>
                      <a:pt x="44" y="31"/>
                      <a:pt x="51" y="40"/>
                      <a:pt x="51" y="42"/>
                    </a:cubicBezTo>
                    <a:cubicBezTo>
                      <a:pt x="51" y="45"/>
                      <a:pt x="51" y="47"/>
                      <a:pt x="52" y="49"/>
                    </a:cubicBezTo>
                    <a:cubicBezTo>
                      <a:pt x="53" y="49"/>
                      <a:pt x="53" y="50"/>
                      <a:pt x="53" y="50"/>
                    </a:cubicBezTo>
                    <a:cubicBezTo>
                      <a:pt x="57" y="49"/>
                      <a:pt x="60" y="49"/>
                      <a:pt x="61" y="49"/>
                    </a:cubicBezTo>
                    <a:cubicBezTo>
                      <a:pt x="62" y="49"/>
                      <a:pt x="65" y="54"/>
                      <a:pt x="64" y="58"/>
                    </a:cubicBezTo>
                    <a:cubicBezTo>
                      <a:pt x="64" y="62"/>
                      <a:pt x="68" y="65"/>
                      <a:pt x="69" y="62"/>
                    </a:cubicBezTo>
                    <a:cubicBezTo>
                      <a:pt x="71" y="60"/>
                      <a:pt x="73" y="56"/>
                      <a:pt x="74" y="59"/>
                    </a:cubicBezTo>
                    <a:cubicBezTo>
                      <a:pt x="74" y="59"/>
                      <a:pt x="75" y="60"/>
                      <a:pt x="76" y="60"/>
                    </a:cubicBezTo>
                    <a:cubicBezTo>
                      <a:pt x="77" y="59"/>
                      <a:pt x="78" y="58"/>
                      <a:pt x="79" y="57"/>
                    </a:cubicBezTo>
                    <a:cubicBezTo>
                      <a:pt x="81" y="55"/>
                      <a:pt x="77" y="53"/>
                      <a:pt x="78" y="50"/>
                    </a:cubicBezTo>
                    <a:cubicBezTo>
                      <a:pt x="79" y="48"/>
                      <a:pt x="82" y="51"/>
                      <a:pt x="83" y="49"/>
                    </a:cubicBezTo>
                    <a:cubicBezTo>
                      <a:pt x="85" y="48"/>
                      <a:pt x="81" y="44"/>
                      <a:pt x="81" y="42"/>
                    </a:cubicBezTo>
                    <a:cubicBezTo>
                      <a:pt x="82" y="41"/>
                      <a:pt x="82" y="38"/>
                      <a:pt x="79" y="37"/>
                    </a:cubicBezTo>
                    <a:cubicBezTo>
                      <a:pt x="77" y="36"/>
                      <a:pt x="79" y="32"/>
                      <a:pt x="79" y="28"/>
                    </a:cubicBezTo>
                    <a:cubicBezTo>
                      <a:pt x="79" y="28"/>
                      <a:pt x="78" y="27"/>
                      <a:pt x="78" y="27"/>
                    </a:cubicBezTo>
                    <a:cubicBezTo>
                      <a:pt x="77" y="25"/>
                      <a:pt x="78" y="20"/>
                      <a:pt x="75" y="20"/>
                    </a:cubicBezTo>
                    <a:cubicBezTo>
                      <a:pt x="73" y="20"/>
                      <a:pt x="73" y="17"/>
                      <a:pt x="75" y="16"/>
                    </a:cubicBezTo>
                    <a:cubicBezTo>
                      <a:pt x="77" y="16"/>
                      <a:pt x="71" y="13"/>
                      <a:pt x="71" y="11"/>
                    </a:cubicBezTo>
                    <a:cubicBezTo>
                      <a:pt x="71" y="9"/>
                      <a:pt x="68" y="3"/>
                      <a:pt x="67" y="3"/>
                    </a:cubicBezTo>
                    <a:cubicBezTo>
                      <a:pt x="66" y="2"/>
                      <a:pt x="61" y="8"/>
                      <a:pt x="59" y="8"/>
                    </a:cubicBezTo>
                    <a:cubicBezTo>
                      <a:pt x="57" y="8"/>
                      <a:pt x="53" y="4"/>
                      <a:pt x="51" y="8"/>
                    </a:cubicBezTo>
                    <a:cubicBezTo>
                      <a:pt x="50" y="11"/>
                      <a:pt x="47" y="6"/>
                      <a:pt x="45" y="9"/>
                    </a:cubicBezTo>
                    <a:cubicBezTo>
                      <a:pt x="43" y="11"/>
                      <a:pt x="42" y="6"/>
                      <a:pt x="42" y="6"/>
                    </a:cubicBezTo>
                    <a:cubicBezTo>
                      <a:pt x="42" y="6"/>
                      <a:pt x="42" y="5"/>
                      <a:pt x="42" y="4"/>
                    </a:cubicBezTo>
                    <a:cubicBezTo>
                      <a:pt x="41" y="4"/>
                      <a:pt x="41" y="4"/>
                      <a:pt x="40" y="4"/>
                    </a:cubicBezTo>
                    <a:cubicBezTo>
                      <a:pt x="35" y="6"/>
                      <a:pt x="24" y="5"/>
                      <a:pt x="24" y="3"/>
                    </a:cubicBezTo>
                    <a:cubicBezTo>
                      <a:pt x="23" y="1"/>
                      <a:pt x="16" y="0"/>
                      <a:pt x="16" y="0"/>
                    </a:cubicBezTo>
                    <a:cubicBezTo>
                      <a:pt x="16" y="0"/>
                      <a:pt x="16" y="4"/>
                      <a:pt x="13" y="5"/>
                    </a:cubicBezTo>
                    <a:cubicBezTo>
                      <a:pt x="11" y="6"/>
                      <a:pt x="14" y="9"/>
                      <a:pt x="14" y="10"/>
                    </a:cubicBezTo>
                    <a:cubicBezTo>
                      <a:pt x="14" y="11"/>
                      <a:pt x="12" y="13"/>
                      <a:pt x="10" y="12"/>
                    </a:cubicBezTo>
                    <a:cubicBezTo>
                      <a:pt x="8" y="11"/>
                      <a:pt x="3" y="16"/>
                      <a:pt x="1" y="18"/>
                    </a:cubicBezTo>
                    <a:cubicBezTo>
                      <a:pt x="1" y="18"/>
                      <a:pt x="0" y="18"/>
                      <a:pt x="0" y="19"/>
                    </a:cubicBezTo>
                    <a:cubicBezTo>
                      <a:pt x="3" y="22"/>
                      <a:pt x="3" y="25"/>
                      <a:pt x="8" y="29"/>
                    </a:cubicBezTo>
                    <a:cubicBezTo>
                      <a:pt x="12" y="32"/>
                      <a:pt x="17" y="36"/>
                      <a:pt x="20" y="43"/>
                    </a:cubicBezTo>
                    <a:cubicBezTo>
                      <a:pt x="24" y="40"/>
                      <a:pt x="28" y="36"/>
                      <a:pt x="28" y="3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3" name="Freeform 31">
                <a:extLst>
                  <a:ext uri="{FF2B5EF4-FFF2-40B4-BE49-F238E27FC236}">
                    <a16:creationId xmlns:a16="http://schemas.microsoft.com/office/drawing/2014/main" id="{609D705D-F642-49A5-A948-D69CAA9C3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8600" y="3905250"/>
                <a:ext cx="106362" cy="98425"/>
              </a:xfrm>
              <a:custGeom>
                <a:avLst/>
                <a:gdLst>
                  <a:gd name="T0" fmla="*/ 38 w 48"/>
                  <a:gd name="T1" fmla="*/ 26 h 45"/>
                  <a:gd name="T2" fmla="*/ 35 w 48"/>
                  <a:gd name="T3" fmla="*/ 22 h 45"/>
                  <a:gd name="T4" fmla="*/ 36 w 48"/>
                  <a:gd name="T5" fmla="*/ 14 h 45"/>
                  <a:gd name="T6" fmla="*/ 36 w 48"/>
                  <a:gd name="T7" fmla="*/ 11 h 45"/>
                  <a:gd name="T8" fmla="*/ 34 w 48"/>
                  <a:gd name="T9" fmla="*/ 10 h 45"/>
                  <a:gd name="T10" fmla="*/ 29 w 48"/>
                  <a:gd name="T11" fmla="*/ 13 h 45"/>
                  <a:gd name="T12" fmla="*/ 24 w 48"/>
                  <a:gd name="T13" fmla="*/ 9 h 45"/>
                  <a:gd name="T14" fmla="*/ 21 w 48"/>
                  <a:gd name="T15" fmla="*/ 0 h 45"/>
                  <a:gd name="T16" fmla="*/ 13 w 48"/>
                  <a:gd name="T17" fmla="*/ 1 h 45"/>
                  <a:gd name="T18" fmla="*/ 12 w 48"/>
                  <a:gd name="T19" fmla="*/ 7 h 45"/>
                  <a:gd name="T20" fmla="*/ 3 w 48"/>
                  <a:gd name="T21" fmla="*/ 14 h 45"/>
                  <a:gd name="T22" fmla="*/ 0 w 48"/>
                  <a:gd name="T23" fmla="*/ 18 h 45"/>
                  <a:gd name="T24" fmla="*/ 15 w 48"/>
                  <a:gd name="T25" fmla="*/ 28 h 45"/>
                  <a:gd name="T26" fmla="*/ 41 w 48"/>
                  <a:gd name="T27" fmla="*/ 44 h 45"/>
                  <a:gd name="T28" fmla="*/ 44 w 48"/>
                  <a:gd name="T29" fmla="*/ 45 h 45"/>
                  <a:gd name="T30" fmla="*/ 47 w 48"/>
                  <a:gd name="T31" fmla="*/ 34 h 45"/>
                  <a:gd name="T32" fmla="*/ 38 w 48"/>
                  <a:gd name="T33" fmla="*/ 2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45">
                    <a:moveTo>
                      <a:pt x="38" y="26"/>
                    </a:moveTo>
                    <a:cubicBezTo>
                      <a:pt x="35" y="23"/>
                      <a:pt x="33" y="23"/>
                      <a:pt x="35" y="22"/>
                    </a:cubicBezTo>
                    <a:cubicBezTo>
                      <a:pt x="36" y="21"/>
                      <a:pt x="36" y="18"/>
                      <a:pt x="36" y="14"/>
                    </a:cubicBezTo>
                    <a:cubicBezTo>
                      <a:pt x="36" y="13"/>
                      <a:pt x="36" y="12"/>
                      <a:pt x="36" y="11"/>
                    </a:cubicBezTo>
                    <a:cubicBezTo>
                      <a:pt x="35" y="11"/>
                      <a:pt x="34" y="10"/>
                      <a:pt x="34" y="10"/>
                    </a:cubicBezTo>
                    <a:cubicBezTo>
                      <a:pt x="33" y="7"/>
                      <a:pt x="31" y="11"/>
                      <a:pt x="29" y="13"/>
                    </a:cubicBezTo>
                    <a:cubicBezTo>
                      <a:pt x="28" y="16"/>
                      <a:pt x="24" y="13"/>
                      <a:pt x="24" y="9"/>
                    </a:cubicBezTo>
                    <a:cubicBezTo>
                      <a:pt x="25" y="5"/>
                      <a:pt x="22" y="0"/>
                      <a:pt x="21" y="0"/>
                    </a:cubicBezTo>
                    <a:cubicBezTo>
                      <a:pt x="20" y="0"/>
                      <a:pt x="17" y="0"/>
                      <a:pt x="13" y="1"/>
                    </a:cubicBezTo>
                    <a:cubicBezTo>
                      <a:pt x="13" y="3"/>
                      <a:pt x="12" y="5"/>
                      <a:pt x="12" y="7"/>
                    </a:cubicBezTo>
                    <a:cubicBezTo>
                      <a:pt x="11" y="9"/>
                      <a:pt x="5" y="12"/>
                      <a:pt x="3" y="14"/>
                    </a:cubicBezTo>
                    <a:cubicBezTo>
                      <a:pt x="2" y="15"/>
                      <a:pt x="1" y="16"/>
                      <a:pt x="0" y="18"/>
                    </a:cubicBezTo>
                    <a:cubicBezTo>
                      <a:pt x="5" y="21"/>
                      <a:pt x="10" y="24"/>
                      <a:pt x="15" y="28"/>
                    </a:cubicBezTo>
                    <a:cubicBezTo>
                      <a:pt x="23" y="34"/>
                      <a:pt x="35" y="42"/>
                      <a:pt x="41" y="44"/>
                    </a:cubicBezTo>
                    <a:cubicBezTo>
                      <a:pt x="42" y="45"/>
                      <a:pt x="43" y="45"/>
                      <a:pt x="44" y="45"/>
                    </a:cubicBezTo>
                    <a:cubicBezTo>
                      <a:pt x="45" y="38"/>
                      <a:pt x="47" y="38"/>
                      <a:pt x="47" y="34"/>
                    </a:cubicBezTo>
                    <a:cubicBezTo>
                      <a:pt x="48" y="30"/>
                      <a:pt x="42" y="28"/>
                      <a:pt x="38" y="2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4" name="Freeform 32">
                <a:extLst>
                  <a:ext uri="{FF2B5EF4-FFF2-40B4-BE49-F238E27FC236}">
                    <a16:creationId xmlns:a16="http://schemas.microsoft.com/office/drawing/2014/main" id="{AA86FEE9-CB41-47C5-B731-3B2A1F687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5738" y="3865563"/>
                <a:ext cx="74612" cy="79375"/>
              </a:xfrm>
              <a:custGeom>
                <a:avLst/>
                <a:gdLst>
                  <a:gd name="T0" fmla="*/ 32 w 34"/>
                  <a:gd name="T1" fmla="*/ 25 h 36"/>
                  <a:gd name="T2" fmla="*/ 32 w 34"/>
                  <a:gd name="T3" fmla="*/ 18 h 36"/>
                  <a:gd name="T4" fmla="*/ 31 w 34"/>
                  <a:gd name="T5" fmla="*/ 11 h 36"/>
                  <a:gd name="T6" fmla="*/ 22 w 34"/>
                  <a:gd name="T7" fmla="*/ 0 h 36"/>
                  <a:gd name="T8" fmla="*/ 13 w 34"/>
                  <a:gd name="T9" fmla="*/ 2 h 36"/>
                  <a:gd name="T10" fmla="*/ 8 w 34"/>
                  <a:gd name="T11" fmla="*/ 3 h 36"/>
                  <a:gd name="T12" fmla="*/ 0 w 34"/>
                  <a:gd name="T13" fmla="*/ 12 h 36"/>
                  <a:gd name="T14" fmla="*/ 2 w 34"/>
                  <a:gd name="T15" fmla="*/ 16 h 36"/>
                  <a:gd name="T16" fmla="*/ 11 w 34"/>
                  <a:gd name="T17" fmla="*/ 30 h 36"/>
                  <a:gd name="T18" fmla="*/ 20 w 34"/>
                  <a:gd name="T19" fmla="*/ 36 h 36"/>
                  <a:gd name="T20" fmla="*/ 23 w 34"/>
                  <a:gd name="T21" fmla="*/ 32 h 36"/>
                  <a:gd name="T22" fmla="*/ 32 w 34"/>
                  <a:gd name="T23" fmla="*/ 2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36">
                    <a:moveTo>
                      <a:pt x="32" y="25"/>
                    </a:moveTo>
                    <a:cubicBezTo>
                      <a:pt x="32" y="22"/>
                      <a:pt x="34" y="20"/>
                      <a:pt x="32" y="18"/>
                    </a:cubicBezTo>
                    <a:cubicBezTo>
                      <a:pt x="31" y="16"/>
                      <a:pt x="31" y="14"/>
                      <a:pt x="31" y="11"/>
                    </a:cubicBezTo>
                    <a:cubicBezTo>
                      <a:pt x="31" y="9"/>
                      <a:pt x="24" y="0"/>
                      <a:pt x="22" y="0"/>
                    </a:cubicBezTo>
                    <a:cubicBezTo>
                      <a:pt x="19" y="0"/>
                      <a:pt x="16" y="2"/>
                      <a:pt x="13" y="2"/>
                    </a:cubicBezTo>
                    <a:cubicBezTo>
                      <a:pt x="11" y="1"/>
                      <a:pt x="8" y="0"/>
                      <a:pt x="8" y="3"/>
                    </a:cubicBezTo>
                    <a:cubicBezTo>
                      <a:pt x="8" y="5"/>
                      <a:pt x="4" y="9"/>
                      <a:pt x="0" y="12"/>
                    </a:cubicBezTo>
                    <a:cubicBezTo>
                      <a:pt x="1" y="13"/>
                      <a:pt x="2" y="14"/>
                      <a:pt x="2" y="16"/>
                    </a:cubicBezTo>
                    <a:cubicBezTo>
                      <a:pt x="5" y="25"/>
                      <a:pt x="7" y="27"/>
                      <a:pt x="11" y="30"/>
                    </a:cubicBezTo>
                    <a:cubicBezTo>
                      <a:pt x="13" y="31"/>
                      <a:pt x="16" y="33"/>
                      <a:pt x="20" y="36"/>
                    </a:cubicBezTo>
                    <a:cubicBezTo>
                      <a:pt x="21" y="34"/>
                      <a:pt x="22" y="33"/>
                      <a:pt x="23" y="32"/>
                    </a:cubicBezTo>
                    <a:cubicBezTo>
                      <a:pt x="25" y="30"/>
                      <a:pt x="31" y="27"/>
                      <a:pt x="32" y="2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5" name="Freeform 33">
                <a:extLst>
                  <a:ext uri="{FF2B5EF4-FFF2-40B4-BE49-F238E27FC236}">
                    <a16:creationId xmlns:a16="http://schemas.microsoft.com/office/drawing/2014/main" id="{D8237670-8E64-4197-97B6-2FFE739EE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3663" y="3406775"/>
                <a:ext cx="207962" cy="169863"/>
              </a:xfrm>
              <a:custGeom>
                <a:avLst/>
                <a:gdLst>
                  <a:gd name="T0" fmla="*/ 44 w 95"/>
                  <a:gd name="T1" fmla="*/ 59 h 77"/>
                  <a:gd name="T2" fmla="*/ 56 w 95"/>
                  <a:gd name="T3" fmla="*/ 51 h 77"/>
                  <a:gd name="T4" fmla="*/ 56 w 95"/>
                  <a:gd name="T5" fmla="*/ 21 h 77"/>
                  <a:gd name="T6" fmla="*/ 94 w 95"/>
                  <a:gd name="T7" fmla="*/ 21 h 77"/>
                  <a:gd name="T8" fmla="*/ 94 w 95"/>
                  <a:gd name="T9" fmla="*/ 5 h 77"/>
                  <a:gd name="T10" fmla="*/ 86 w 95"/>
                  <a:gd name="T11" fmla="*/ 0 h 77"/>
                  <a:gd name="T12" fmla="*/ 44 w 95"/>
                  <a:gd name="T13" fmla="*/ 0 h 77"/>
                  <a:gd name="T14" fmla="*/ 38 w 95"/>
                  <a:gd name="T15" fmla="*/ 11 h 77"/>
                  <a:gd name="T16" fmla="*/ 23 w 95"/>
                  <a:gd name="T17" fmla="*/ 31 h 77"/>
                  <a:gd name="T18" fmla="*/ 3 w 95"/>
                  <a:gd name="T19" fmla="*/ 66 h 77"/>
                  <a:gd name="T20" fmla="*/ 0 w 95"/>
                  <a:gd name="T21" fmla="*/ 77 h 77"/>
                  <a:gd name="T22" fmla="*/ 44 w 95"/>
                  <a:gd name="T23" fmla="*/ 77 h 77"/>
                  <a:gd name="T24" fmla="*/ 44 w 95"/>
                  <a:gd name="T25" fmla="*/ 5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" h="77">
                    <a:moveTo>
                      <a:pt x="44" y="59"/>
                    </a:moveTo>
                    <a:cubicBezTo>
                      <a:pt x="44" y="57"/>
                      <a:pt x="56" y="53"/>
                      <a:pt x="56" y="51"/>
                    </a:cubicBezTo>
                    <a:cubicBezTo>
                      <a:pt x="56" y="48"/>
                      <a:pt x="56" y="21"/>
                      <a:pt x="56" y="21"/>
                    </a:cubicBezTo>
                    <a:cubicBezTo>
                      <a:pt x="56" y="21"/>
                      <a:pt x="93" y="22"/>
                      <a:pt x="94" y="21"/>
                    </a:cubicBezTo>
                    <a:cubicBezTo>
                      <a:pt x="95" y="20"/>
                      <a:pt x="95" y="12"/>
                      <a:pt x="94" y="5"/>
                    </a:cubicBezTo>
                    <a:cubicBezTo>
                      <a:pt x="93" y="2"/>
                      <a:pt x="95" y="0"/>
                      <a:pt x="86" y="0"/>
                    </a:cubicBezTo>
                    <a:cubicBezTo>
                      <a:pt x="79" y="0"/>
                      <a:pt x="58" y="0"/>
                      <a:pt x="44" y="0"/>
                    </a:cubicBezTo>
                    <a:cubicBezTo>
                      <a:pt x="41" y="3"/>
                      <a:pt x="39" y="7"/>
                      <a:pt x="38" y="11"/>
                    </a:cubicBezTo>
                    <a:cubicBezTo>
                      <a:pt x="36" y="16"/>
                      <a:pt x="24" y="24"/>
                      <a:pt x="23" y="31"/>
                    </a:cubicBezTo>
                    <a:cubicBezTo>
                      <a:pt x="23" y="39"/>
                      <a:pt x="11" y="50"/>
                      <a:pt x="3" y="66"/>
                    </a:cubicBezTo>
                    <a:cubicBezTo>
                      <a:pt x="1" y="71"/>
                      <a:pt x="0" y="74"/>
                      <a:pt x="0" y="77"/>
                    </a:cubicBezTo>
                    <a:cubicBezTo>
                      <a:pt x="44" y="77"/>
                      <a:pt x="44" y="77"/>
                      <a:pt x="44" y="77"/>
                    </a:cubicBezTo>
                    <a:cubicBezTo>
                      <a:pt x="44" y="77"/>
                      <a:pt x="44" y="62"/>
                      <a:pt x="44" y="5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6" name="Freeform 34">
                <a:extLst>
                  <a:ext uri="{FF2B5EF4-FFF2-40B4-BE49-F238E27FC236}">
                    <a16:creationId xmlns:a16="http://schemas.microsoft.com/office/drawing/2014/main" id="{4DD6A487-81BB-4059-B73C-6B44E37E1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488" y="3417888"/>
                <a:ext cx="301625" cy="328613"/>
              </a:xfrm>
              <a:custGeom>
                <a:avLst/>
                <a:gdLst>
                  <a:gd name="T0" fmla="*/ 11 w 137"/>
                  <a:gd name="T1" fmla="*/ 129 h 150"/>
                  <a:gd name="T2" fmla="*/ 21 w 137"/>
                  <a:gd name="T3" fmla="*/ 129 h 150"/>
                  <a:gd name="T4" fmla="*/ 30 w 137"/>
                  <a:gd name="T5" fmla="*/ 128 h 150"/>
                  <a:gd name="T6" fmla="*/ 37 w 137"/>
                  <a:gd name="T7" fmla="*/ 134 h 150"/>
                  <a:gd name="T8" fmla="*/ 41 w 137"/>
                  <a:gd name="T9" fmla="*/ 134 h 150"/>
                  <a:gd name="T10" fmla="*/ 48 w 137"/>
                  <a:gd name="T11" fmla="*/ 144 h 150"/>
                  <a:gd name="T12" fmla="*/ 54 w 137"/>
                  <a:gd name="T13" fmla="*/ 150 h 150"/>
                  <a:gd name="T14" fmla="*/ 60 w 137"/>
                  <a:gd name="T15" fmla="*/ 146 h 150"/>
                  <a:gd name="T16" fmla="*/ 66 w 137"/>
                  <a:gd name="T17" fmla="*/ 143 h 150"/>
                  <a:gd name="T18" fmla="*/ 72 w 137"/>
                  <a:gd name="T19" fmla="*/ 142 h 150"/>
                  <a:gd name="T20" fmla="*/ 80 w 137"/>
                  <a:gd name="T21" fmla="*/ 143 h 150"/>
                  <a:gd name="T22" fmla="*/ 87 w 137"/>
                  <a:gd name="T23" fmla="*/ 141 h 150"/>
                  <a:gd name="T24" fmla="*/ 131 w 137"/>
                  <a:gd name="T25" fmla="*/ 140 h 150"/>
                  <a:gd name="T26" fmla="*/ 133 w 137"/>
                  <a:gd name="T27" fmla="*/ 131 h 150"/>
                  <a:gd name="T28" fmla="*/ 129 w 137"/>
                  <a:gd name="T29" fmla="*/ 127 h 150"/>
                  <a:gd name="T30" fmla="*/ 118 w 137"/>
                  <a:gd name="T31" fmla="*/ 28 h 150"/>
                  <a:gd name="T32" fmla="*/ 137 w 137"/>
                  <a:gd name="T33" fmla="*/ 28 h 150"/>
                  <a:gd name="T34" fmla="*/ 98 w 137"/>
                  <a:gd name="T35" fmla="*/ 2 h 150"/>
                  <a:gd name="T36" fmla="*/ 95 w 137"/>
                  <a:gd name="T37" fmla="*/ 0 h 150"/>
                  <a:gd name="T38" fmla="*/ 95 w 137"/>
                  <a:gd name="T39" fmla="*/ 16 h 150"/>
                  <a:gd name="T40" fmla="*/ 57 w 137"/>
                  <a:gd name="T41" fmla="*/ 16 h 150"/>
                  <a:gd name="T42" fmla="*/ 57 w 137"/>
                  <a:gd name="T43" fmla="*/ 46 h 150"/>
                  <a:gd name="T44" fmla="*/ 45 w 137"/>
                  <a:gd name="T45" fmla="*/ 54 h 150"/>
                  <a:gd name="T46" fmla="*/ 45 w 137"/>
                  <a:gd name="T47" fmla="*/ 72 h 150"/>
                  <a:gd name="T48" fmla="*/ 1 w 137"/>
                  <a:gd name="T49" fmla="*/ 72 h 150"/>
                  <a:gd name="T50" fmla="*/ 7 w 137"/>
                  <a:gd name="T51" fmla="*/ 85 h 150"/>
                  <a:gd name="T52" fmla="*/ 10 w 137"/>
                  <a:gd name="T53" fmla="*/ 103 h 150"/>
                  <a:gd name="T54" fmla="*/ 6 w 137"/>
                  <a:gd name="T55" fmla="*/ 125 h 150"/>
                  <a:gd name="T56" fmla="*/ 4 w 137"/>
                  <a:gd name="T57" fmla="*/ 135 h 150"/>
                  <a:gd name="T58" fmla="*/ 5 w 137"/>
                  <a:gd name="T59" fmla="*/ 135 h 150"/>
                  <a:gd name="T60" fmla="*/ 11 w 137"/>
                  <a:gd name="T61" fmla="*/ 12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7" h="150">
                    <a:moveTo>
                      <a:pt x="11" y="129"/>
                    </a:moveTo>
                    <a:cubicBezTo>
                      <a:pt x="15" y="130"/>
                      <a:pt x="21" y="129"/>
                      <a:pt x="21" y="129"/>
                    </a:cubicBezTo>
                    <a:cubicBezTo>
                      <a:pt x="21" y="129"/>
                      <a:pt x="27" y="127"/>
                      <a:pt x="30" y="128"/>
                    </a:cubicBezTo>
                    <a:cubicBezTo>
                      <a:pt x="33" y="130"/>
                      <a:pt x="37" y="134"/>
                      <a:pt x="37" y="134"/>
                    </a:cubicBezTo>
                    <a:cubicBezTo>
                      <a:pt x="41" y="134"/>
                      <a:pt x="41" y="134"/>
                      <a:pt x="41" y="134"/>
                    </a:cubicBezTo>
                    <a:cubicBezTo>
                      <a:pt x="41" y="134"/>
                      <a:pt x="44" y="143"/>
                      <a:pt x="48" y="144"/>
                    </a:cubicBezTo>
                    <a:cubicBezTo>
                      <a:pt x="51" y="145"/>
                      <a:pt x="53" y="148"/>
                      <a:pt x="54" y="150"/>
                    </a:cubicBezTo>
                    <a:cubicBezTo>
                      <a:pt x="57" y="149"/>
                      <a:pt x="60" y="148"/>
                      <a:pt x="60" y="146"/>
                    </a:cubicBezTo>
                    <a:cubicBezTo>
                      <a:pt x="60" y="143"/>
                      <a:pt x="61" y="139"/>
                      <a:pt x="66" y="143"/>
                    </a:cubicBezTo>
                    <a:cubicBezTo>
                      <a:pt x="71" y="148"/>
                      <a:pt x="71" y="144"/>
                      <a:pt x="72" y="142"/>
                    </a:cubicBezTo>
                    <a:cubicBezTo>
                      <a:pt x="73" y="141"/>
                      <a:pt x="77" y="143"/>
                      <a:pt x="80" y="143"/>
                    </a:cubicBezTo>
                    <a:cubicBezTo>
                      <a:pt x="83" y="143"/>
                      <a:pt x="87" y="141"/>
                      <a:pt x="87" y="141"/>
                    </a:cubicBezTo>
                    <a:cubicBezTo>
                      <a:pt x="87" y="141"/>
                      <a:pt x="129" y="141"/>
                      <a:pt x="131" y="140"/>
                    </a:cubicBezTo>
                    <a:cubicBezTo>
                      <a:pt x="133" y="139"/>
                      <a:pt x="133" y="131"/>
                      <a:pt x="133" y="131"/>
                    </a:cubicBezTo>
                    <a:cubicBezTo>
                      <a:pt x="129" y="127"/>
                      <a:pt x="129" y="127"/>
                      <a:pt x="129" y="127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37" y="28"/>
                      <a:pt x="137" y="28"/>
                      <a:pt x="137" y="28"/>
                    </a:cubicBezTo>
                    <a:cubicBezTo>
                      <a:pt x="117" y="14"/>
                      <a:pt x="100" y="3"/>
                      <a:pt x="98" y="2"/>
                    </a:cubicBezTo>
                    <a:cubicBezTo>
                      <a:pt x="96" y="1"/>
                      <a:pt x="96" y="0"/>
                      <a:pt x="95" y="0"/>
                    </a:cubicBezTo>
                    <a:cubicBezTo>
                      <a:pt x="96" y="7"/>
                      <a:pt x="96" y="15"/>
                      <a:pt x="95" y="16"/>
                    </a:cubicBezTo>
                    <a:cubicBezTo>
                      <a:pt x="94" y="17"/>
                      <a:pt x="57" y="16"/>
                      <a:pt x="57" y="16"/>
                    </a:cubicBezTo>
                    <a:cubicBezTo>
                      <a:pt x="57" y="16"/>
                      <a:pt x="57" y="43"/>
                      <a:pt x="57" y="46"/>
                    </a:cubicBezTo>
                    <a:cubicBezTo>
                      <a:pt x="57" y="48"/>
                      <a:pt x="45" y="52"/>
                      <a:pt x="45" y="54"/>
                    </a:cubicBezTo>
                    <a:cubicBezTo>
                      <a:pt x="45" y="57"/>
                      <a:pt x="45" y="72"/>
                      <a:pt x="45" y="72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0" y="79"/>
                      <a:pt x="5" y="82"/>
                      <a:pt x="7" y="85"/>
                    </a:cubicBezTo>
                    <a:cubicBezTo>
                      <a:pt x="11" y="89"/>
                      <a:pt x="5" y="96"/>
                      <a:pt x="10" y="103"/>
                    </a:cubicBezTo>
                    <a:cubicBezTo>
                      <a:pt x="15" y="110"/>
                      <a:pt x="9" y="121"/>
                      <a:pt x="6" y="125"/>
                    </a:cubicBezTo>
                    <a:cubicBezTo>
                      <a:pt x="5" y="127"/>
                      <a:pt x="5" y="131"/>
                      <a:pt x="4" y="135"/>
                    </a:cubicBezTo>
                    <a:cubicBezTo>
                      <a:pt x="4" y="135"/>
                      <a:pt x="5" y="135"/>
                      <a:pt x="5" y="135"/>
                    </a:cubicBezTo>
                    <a:cubicBezTo>
                      <a:pt x="8" y="134"/>
                      <a:pt x="7" y="128"/>
                      <a:pt x="11" y="12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7" name="Freeform 35">
                <a:extLst>
                  <a:ext uri="{FF2B5EF4-FFF2-40B4-BE49-F238E27FC236}">
                    <a16:creationId xmlns:a16="http://schemas.microsoft.com/office/drawing/2014/main" id="{FCA0C17D-100F-4240-A392-3B7EC3821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9550" y="3479800"/>
                <a:ext cx="412750" cy="385763"/>
              </a:xfrm>
              <a:custGeom>
                <a:avLst/>
                <a:gdLst>
                  <a:gd name="T0" fmla="*/ 178 w 188"/>
                  <a:gd name="T1" fmla="*/ 73 h 176"/>
                  <a:gd name="T2" fmla="*/ 173 w 188"/>
                  <a:gd name="T3" fmla="*/ 61 h 176"/>
                  <a:gd name="T4" fmla="*/ 160 w 188"/>
                  <a:gd name="T5" fmla="*/ 57 h 176"/>
                  <a:gd name="T6" fmla="*/ 153 w 188"/>
                  <a:gd name="T7" fmla="*/ 47 h 176"/>
                  <a:gd name="T8" fmla="*/ 83 w 188"/>
                  <a:gd name="T9" fmla="*/ 0 h 176"/>
                  <a:gd name="T10" fmla="*/ 64 w 188"/>
                  <a:gd name="T11" fmla="*/ 0 h 176"/>
                  <a:gd name="T12" fmla="*/ 75 w 188"/>
                  <a:gd name="T13" fmla="*/ 99 h 176"/>
                  <a:gd name="T14" fmla="*/ 79 w 188"/>
                  <a:gd name="T15" fmla="*/ 103 h 176"/>
                  <a:gd name="T16" fmla="*/ 77 w 188"/>
                  <a:gd name="T17" fmla="*/ 112 h 176"/>
                  <a:gd name="T18" fmla="*/ 33 w 188"/>
                  <a:gd name="T19" fmla="*/ 113 h 176"/>
                  <a:gd name="T20" fmla="*/ 26 w 188"/>
                  <a:gd name="T21" fmla="*/ 115 h 176"/>
                  <a:gd name="T22" fmla="*/ 18 w 188"/>
                  <a:gd name="T23" fmla="*/ 114 h 176"/>
                  <a:gd name="T24" fmla="*/ 12 w 188"/>
                  <a:gd name="T25" fmla="*/ 115 h 176"/>
                  <a:gd name="T26" fmla="*/ 6 w 188"/>
                  <a:gd name="T27" fmla="*/ 118 h 176"/>
                  <a:gd name="T28" fmla="*/ 0 w 188"/>
                  <a:gd name="T29" fmla="*/ 122 h 176"/>
                  <a:gd name="T30" fmla="*/ 1 w 188"/>
                  <a:gd name="T31" fmla="*/ 124 h 176"/>
                  <a:gd name="T32" fmla="*/ 3 w 188"/>
                  <a:gd name="T33" fmla="*/ 127 h 176"/>
                  <a:gd name="T34" fmla="*/ 5 w 188"/>
                  <a:gd name="T35" fmla="*/ 134 h 176"/>
                  <a:gd name="T36" fmla="*/ 11 w 188"/>
                  <a:gd name="T37" fmla="*/ 142 h 176"/>
                  <a:gd name="T38" fmla="*/ 11 w 188"/>
                  <a:gd name="T39" fmla="*/ 151 h 176"/>
                  <a:gd name="T40" fmla="*/ 14 w 188"/>
                  <a:gd name="T41" fmla="*/ 154 h 176"/>
                  <a:gd name="T42" fmla="*/ 20 w 188"/>
                  <a:gd name="T43" fmla="*/ 153 h 176"/>
                  <a:gd name="T44" fmla="*/ 28 w 188"/>
                  <a:gd name="T45" fmla="*/ 153 h 176"/>
                  <a:gd name="T46" fmla="*/ 36 w 188"/>
                  <a:gd name="T47" fmla="*/ 148 h 176"/>
                  <a:gd name="T48" fmla="*/ 40 w 188"/>
                  <a:gd name="T49" fmla="*/ 156 h 176"/>
                  <a:gd name="T50" fmla="*/ 44 w 188"/>
                  <a:gd name="T51" fmla="*/ 161 h 176"/>
                  <a:gd name="T52" fmla="*/ 44 w 188"/>
                  <a:gd name="T53" fmla="*/ 165 h 176"/>
                  <a:gd name="T54" fmla="*/ 47 w 188"/>
                  <a:gd name="T55" fmla="*/ 172 h 176"/>
                  <a:gd name="T56" fmla="*/ 52 w 188"/>
                  <a:gd name="T57" fmla="*/ 172 h 176"/>
                  <a:gd name="T58" fmla="*/ 58 w 188"/>
                  <a:gd name="T59" fmla="*/ 174 h 176"/>
                  <a:gd name="T60" fmla="*/ 64 w 188"/>
                  <a:gd name="T61" fmla="*/ 171 h 176"/>
                  <a:gd name="T62" fmla="*/ 70 w 188"/>
                  <a:gd name="T63" fmla="*/ 170 h 176"/>
                  <a:gd name="T64" fmla="*/ 74 w 188"/>
                  <a:gd name="T65" fmla="*/ 172 h 176"/>
                  <a:gd name="T66" fmla="*/ 77 w 188"/>
                  <a:gd name="T67" fmla="*/ 171 h 176"/>
                  <a:gd name="T68" fmla="*/ 80 w 188"/>
                  <a:gd name="T69" fmla="*/ 162 h 176"/>
                  <a:gd name="T70" fmla="*/ 80 w 188"/>
                  <a:gd name="T71" fmla="*/ 155 h 176"/>
                  <a:gd name="T72" fmla="*/ 89 w 188"/>
                  <a:gd name="T73" fmla="*/ 151 h 176"/>
                  <a:gd name="T74" fmla="*/ 92 w 188"/>
                  <a:gd name="T75" fmla="*/ 144 h 176"/>
                  <a:gd name="T76" fmla="*/ 96 w 188"/>
                  <a:gd name="T77" fmla="*/ 136 h 176"/>
                  <a:gd name="T78" fmla="*/ 103 w 188"/>
                  <a:gd name="T79" fmla="*/ 136 h 176"/>
                  <a:gd name="T80" fmla="*/ 108 w 188"/>
                  <a:gd name="T81" fmla="*/ 131 h 176"/>
                  <a:gd name="T82" fmla="*/ 113 w 188"/>
                  <a:gd name="T83" fmla="*/ 128 h 176"/>
                  <a:gd name="T84" fmla="*/ 118 w 188"/>
                  <a:gd name="T85" fmla="*/ 126 h 176"/>
                  <a:gd name="T86" fmla="*/ 127 w 188"/>
                  <a:gd name="T87" fmla="*/ 122 h 176"/>
                  <a:gd name="T88" fmla="*/ 136 w 188"/>
                  <a:gd name="T89" fmla="*/ 118 h 176"/>
                  <a:gd name="T90" fmla="*/ 150 w 188"/>
                  <a:gd name="T91" fmla="*/ 119 h 176"/>
                  <a:gd name="T92" fmla="*/ 159 w 188"/>
                  <a:gd name="T93" fmla="*/ 116 h 176"/>
                  <a:gd name="T94" fmla="*/ 177 w 188"/>
                  <a:gd name="T95" fmla="*/ 114 h 176"/>
                  <a:gd name="T96" fmla="*/ 184 w 188"/>
                  <a:gd name="T97" fmla="*/ 109 h 176"/>
                  <a:gd name="T98" fmla="*/ 187 w 188"/>
                  <a:gd name="T99" fmla="*/ 101 h 176"/>
                  <a:gd name="T100" fmla="*/ 188 w 188"/>
                  <a:gd name="T101" fmla="*/ 71 h 176"/>
                  <a:gd name="T102" fmla="*/ 178 w 188"/>
                  <a:gd name="T103" fmla="*/ 73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8" h="176">
                    <a:moveTo>
                      <a:pt x="178" y="73"/>
                    </a:moveTo>
                    <a:cubicBezTo>
                      <a:pt x="178" y="73"/>
                      <a:pt x="178" y="64"/>
                      <a:pt x="173" y="61"/>
                    </a:cubicBezTo>
                    <a:cubicBezTo>
                      <a:pt x="167" y="58"/>
                      <a:pt x="160" y="57"/>
                      <a:pt x="160" y="57"/>
                    </a:cubicBezTo>
                    <a:cubicBezTo>
                      <a:pt x="160" y="57"/>
                      <a:pt x="156" y="50"/>
                      <a:pt x="153" y="47"/>
                    </a:cubicBezTo>
                    <a:cubicBezTo>
                      <a:pt x="151" y="45"/>
                      <a:pt x="114" y="20"/>
                      <a:pt x="83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75" y="99"/>
                      <a:pt x="75" y="99"/>
                      <a:pt x="75" y="99"/>
                    </a:cubicBezTo>
                    <a:cubicBezTo>
                      <a:pt x="79" y="103"/>
                      <a:pt x="79" y="103"/>
                      <a:pt x="79" y="103"/>
                    </a:cubicBezTo>
                    <a:cubicBezTo>
                      <a:pt x="79" y="103"/>
                      <a:pt x="79" y="111"/>
                      <a:pt x="77" y="112"/>
                    </a:cubicBezTo>
                    <a:cubicBezTo>
                      <a:pt x="75" y="113"/>
                      <a:pt x="33" y="113"/>
                      <a:pt x="33" y="113"/>
                    </a:cubicBezTo>
                    <a:cubicBezTo>
                      <a:pt x="33" y="113"/>
                      <a:pt x="29" y="115"/>
                      <a:pt x="26" y="115"/>
                    </a:cubicBezTo>
                    <a:cubicBezTo>
                      <a:pt x="23" y="115"/>
                      <a:pt x="19" y="113"/>
                      <a:pt x="18" y="114"/>
                    </a:cubicBezTo>
                    <a:cubicBezTo>
                      <a:pt x="17" y="116"/>
                      <a:pt x="17" y="120"/>
                      <a:pt x="12" y="115"/>
                    </a:cubicBezTo>
                    <a:cubicBezTo>
                      <a:pt x="7" y="111"/>
                      <a:pt x="6" y="115"/>
                      <a:pt x="6" y="118"/>
                    </a:cubicBezTo>
                    <a:cubicBezTo>
                      <a:pt x="6" y="120"/>
                      <a:pt x="3" y="121"/>
                      <a:pt x="0" y="122"/>
                    </a:cubicBezTo>
                    <a:cubicBezTo>
                      <a:pt x="0" y="123"/>
                      <a:pt x="1" y="124"/>
                      <a:pt x="1" y="124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32"/>
                      <a:pt x="5" y="134"/>
                    </a:cubicBezTo>
                    <a:cubicBezTo>
                      <a:pt x="7" y="136"/>
                      <a:pt x="10" y="140"/>
                      <a:pt x="11" y="142"/>
                    </a:cubicBezTo>
                    <a:cubicBezTo>
                      <a:pt x="11" y="143"/>
                      <a:pt x="11" y="151"/>
                      <a:pt x="11" y="151"/>
                    </a:cubicBezTo>
                    <a:cubicBezTo>
                      <a:pt x="11" y="151"/>
                      <a:pt x="12" y="156"/>
                      <a:pt x="14" y="154"/>
                    </a:cubicBezTo>
                    <a:cubicBezTo>
                      <a:pt x="16" y="151"/>
                      <a:pt x="19" y="156"/>
                      <a:pt x="20" y="153"/>
                    </a:cubicBezTo>
                    <a:cubicBezTo>
                      <a:pt x="22" y="149"/>
                      <a:pt x="26" y="153"/>
                      <a:pt x="28" y="153"/>
                    </a:cubicBezTo>
                    <a:cubicBezTo>
                      <a:pt x="30" y="153"/>
                      <a:pt x="35" y="147"/>
                      <a:pt x="36" y="148"/>
                    </a:cubicBezTo>
                    <a:cubicBezTo>
                      <a:pt x="37" y="148"/>
                      <a:pt x="40" y="154"/>
                      <a:pt x="40" y="156"/>
                    </a:cubicBezTo>
                    <a:cubicBezTo>
                      <a:pt x="40" y="158"/>
                      <a:pt x="46" y="161"/>
                      <a:pt x="44" y="161"/>
                    </a:cubicBezTo>
                    <a:cubicBezTo>
                      <a:pt x="42" y="162"/>
                      <a:pt x="42" y="165"/>
                      <a:pt x="44" y="165"/>
                    </a:cubicBezTo>
                    <a:cubicBezTo>
                      <a:pt x="47" y="165"/>
                      <a:pt x="46" y="170"/>
                      <a:pt x="47" y="172"/>
                    </a:cubicBezTo>
                    <a:cubicBezTo>
                      <a:pt x="48" y="174"/>
                      <a:pt x="51" y="175"/>
                      <a:pt x="52" y="172"/>
                    </a:cubicBezTo>
                    <a:cubicBezTo>
                      <a:pt x="54" y="169"/>
                      <a:pt x="57" y="172"/>
                      <a:pt x="58" y="174"/>
                    </a:cubicBezTo>
                    <a:cubicBezTo>
                      <a:pt x="59" y="176"/>
                      <a:pt x="64" y="174"/>
                      <a:pt x="64" y="171"/>
                    </a:cubicBezTo>
                    <a:cubicBezTo>
                      <a:pt x="65" y="168"/>
                      <a:pt x="70" y="167"/>
                      <a:pt x="70" y="170"/>
                    </a:cubicBezTo>
                    <a:cubicBezTo>
                      <a:pt x="70" y="173"/>
                      <a:pt x="71" y="174"/>
                      <a:pt x="74" y="172"/>
                    </a:cubicBezTo>
                    <a:cubicBezTo>
                      <a:pt x="75" y="171"/>
                      <a:pt x="76" y="171"/>
                      <a:pt x="77" y="171"/>
                    </a:cubicBezTo>
                    <a:cubicBezTo>
                      <a:pt x="78" y="167"/>
                      <a:pt x="80" y="163"/>
                      <a:pt x="80" y="162"/>
                    </a:cubicBezTo>
                    <a:cubicBezTo>
                      <a:pt x="81" y="160"/>
                      <a:pt x="78" y="156"/>
                      <a:pt x="80" y="155"/>
                    </a:cubicBezTo>
                    <a:cubicBezTo>
                      <a:pt x="81" y="154"/>
                      <a:pt x="87" y="156"/>
                      <a:pt x="89" y="151"/>
                    </a:cubicBezTo>
                    <a:cubicBezTo>
                      <a:pt x="90" y="146"/>
                      <a:pt x="92" y="144"/>
                      <a:pt x="92" y="144"/>
                    </a:cubicBezTo>
                    <a:cubicBezTo>
                      <a:pt x="92" y="144"/>
                      <a:pt x="93" y="134"/>
                      <a:pt x="96" y="136"/>
                    </a:cubicBezTo>
                    <a:cubicBezTo>
                      <a:pt x="99" y="137"/>
                      <a:pt x="103" y="140"/>
                      <a:pt x="103" y="136"/>
                    </a:cubicBezTo>
                    <a:cubicBezTo>
                      <a:pt x="103" y="132"/>
                      <a:pt x="107" y="134"/>
                      <a:pt x="108" y="131"/>
                    </a:cubicBezTo>
                    <a:cubicBezTo>
                      <a:pt x="109" y="127"/>
                      <a:pt x="111" y="127"/>
                      <a:pt x="113" y="128"/>
                    </a:cubicBezTo>
                    <a:cubicBezTo>
                      <a:pt x="116" y="129"/>
                      <a:pt x="118" y="128"/>
                      <a:pt x="118" y="126"/>
                    </a:cubicBezTo>
                    <a:cubicBezTo>
                      <a:pt x="118" y="124"/>
                      <a:pt x="123" y="125"/>
                      <a:pt x="127" y="122"/>
                    </a:cubicBezTo>
                    <a:cubicBezTo>
                      <a:pt x="132" y="119"/>
                      <a:pt x="134" y="116"/>
                      <a:pt x="136" y="118"/>
                    </a:cubicBezTo>
                    <a:cubicBezTo>
                      <a:pt x="137" y="120"/>
                      <a:pt x="148" y="119"/>
                      <a:pt x="150" y="119"/>
                    </a:cubicBezTo>
                    <a:cubicBezTo>
                      <a:pt x="152" y="118"/>
                      <a:pt x="155" y="115"/>
                      <a:pt x="159" y="116"/>
                    </a:cubicBezTo>
                    <a:cubicBezTo>
                      <a:pt x="163" y="116"/>
                      <a:pt x="173" y="114"/>
                      <a:pt x="177" y="114"/>
                    </a:cubicBezTo>
                    <a:cubicBezTo>
                      <a:pt x="181" y="114"/>
                      <a:pt x="182" y="110"/>
                      <a:pt x="184" y="109"/>
                    </a:cubicBezTo>
                    <a:cubicBezTo>
                      <a:pt x="185" y="108"/>
                      <a:pt x="186" y="102"/>
                      <a:pt x="187" y="101"/>
                    </a:cubicBezTo>
                    <a:cubicBezTo>
                      <a:pt x="188" y="100"/>
                      <a:pt x="188" y="79"/>
                      <a:pt x="188" y="71"/>
                    </a:cubicBezTo>
                    <a:cubicBezTo>
                      <a:pt x="184" y="71"/>
                      <a:pt x="178" y="73"/>
                      <a:pt x="178" y="7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8" name="Freeform 36">
                <a:extLst>
                  <a:ext uri="{FF2B5EF4-FFF2-40B4-BE49-F238E27FC236}">
                    <a16:creationId xmlns:a16="http://schemas.microsoft.com/office/drawing/2014/main" id="{4EE36922-E3ED-4386-B94A-1EDDE4982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3733800"/>
                <a:ext cx="204787" cy="147638"/>
              </a:xfrm>
              <a:custGeom>
                <a:avLst/>
                <a:gdLst>
                  <a:gd name="T0" fmla="*/ 92 w 93"/>
                  <a:gd name="T1" fmla="*/ 37 h 67"/>
                  <a:gd name="T2" fmla="*/ 88 w 93"/>
                  <a:gd name="T3" fmla="*/ 35 h 67"/>
                  <a:gd name="T4" fmla="*/ 87 w 93"/>
                  <a:gd name="T5" fmla="*/ 29 h 67"/>
                  <a:gd name="T6" fmla="*/ 81 w 93"/>
                  <a:gd name="T7" fmla="*/ 30 h 67"/>
                  <a:gd name="T8" fmla="*/ 77 w 93"/>
                  <a:gd name="T9" fmla="*/ 26 h 67"/>
                  <a:gd name="T10" fmla="*/ 75 w 93"/>
                  <a:gd name="T11" fmla="*/ 22 h 67"/>
                  <a:gd name="T12" fmla="*/ 69 w 93"/>
                  <a:gd name="T13" fmla="*/ 16 h 67"/>
                  <a:gd name="T14" fmla="*/ 66 w 93"/>
                  <a:gd name="T15" fmla="*/ 9 h 67"/>
                  <a:gd name="T16" fmla="*/ 66 w 93"/>
                  <a:gd name="T17" fmla="*/ 3 h 67"/>
                  <a:gd name="T18" fmla="*/ 59 w 93"/>
                  <a:gd name="T19" fmla="*/ 2 h 67"/>
                  <a:gd name="T20" fmla="*/ 50 w 93"/>
                  <a:gd name="T21" fmla="*/ 6 h 67"/>
                  <a:gd name="T22" fmla="*/ 41 w 93"/>
                  <a:gd name="T23" fmla="*/ 10 h 67"/>
                  <a:gd name="T24" fmla="*/ 36 w 93"/>
                  <a:gd name="T25" fmla="*/ 12 h 67"/>
                  <a:gd name="T26" fmla="*/ 31 w 93"/>
                  <a:gd name="T27" fmla="*/ 15 h 67"/>
                  <a:gd name="T28" fmla="*/ 26 w 93"/>
                  <a:gd name="T29" fmla="*/ 20 h 67"/>
                  <a:gd name="T30" fmla="*/ 19 w 93"/>
                  <a:gd name="T31" fmla="*/ 20 h 67"/>
                  <a:gd name="T32" fmla="*/ 15 w 93"/>
                  <a:gd name="T33" fmla="*/ 28 h 67"/>
                  <a:gd name="T34" fmla="*/ 12 w 93"/>
                  <a:gd name="T35" fmla="*/ 35 h 67"/>
                  <a:gd name="T36" fmla="*/ 3 w 93"/>
                  <a:gd name="T37" fmla="*/ 39 h 67"/>
                  <a:gd name="T38" fmla="*/ 3 w 93"/>
                  <a:gd name="T39" fmla="*/ 46 h 67"/>
                  <a:gd name="T40" fmla="*/ 0 w 93"/>
                  <a:gd name="T41" fmla="*/ 55 h 67"/>
                  <a:gd name="T42" fmla="*/ 6 w 93"/>
                  <a:gd name="T43" fmla="*/ 59 h 67"/>
                  <a:gd name="T44" fmla="*/ 16 w 93"/>
                  <a:gd name="T45" fmla="*/ 63 h 67"/>
                  <a:gd name="T46" fmla="*/ 29 w 93"/>
                  <a:gd name="T47" fmla="*/ 62 h 67"/>
                  <a:gd name="T48" fmla="*/ 33 w 93"/>
                  <a:gd name="T49" fmla="*/ 61 h 67"/>
                  <a:gd name="T50" fmla="*/ 31 w 93"/>
                  <a:gd name="T51" fmla="*/ 49 h 67"/>
                  <a:gd name="T52" fmla="*/ 59 w 93"/>
                  <a:gd name="T53" fmla="*/ 50 h 67"/>
                  <a:gd name="T54" fmla="*/ 63 w 93"/>
                  <a:gd name="T55" fmla="*/ 47 h 67"/>
                  <a:gd name="T56" fmla="*/ 74 w 93"/>
                  <a:gd name="T57" fmla="*/ 48 h 67"/>
                  <a:gd name="T58" fmla="*/ 80 w 93"/>
                  <a:gd name="T59" fmla="*/ 44 h 67"/>
                  <a:gd name="T60" fmla="*/ 89 w 93"/>
                  <a:gd name="T61" fmla="*/ 42 h 67"/>
                  <a:gd name="T62" fmla="*/ 92 w 93"/>
                  <a:gd name="T63" fmla="*/ 38 h 67"/>
                  <a:gd name="T64" fmla="*/ 92 w 93"/>
                  <a:gd name="T65" fmla="*/ 3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3" h="67">
                    <a:moveTo>
                      <a:pt x="92" y="37"/>
                    </a:moveTo>
                    <a:cubicBezTo>
                      <a:pt x="90" y="36"/>
                      <a:pt x="88" y="35"/>
                      <a:pt x="88" y="35"/>
                    </a:cubicBezTo>
                    <a:cubicBezTo>
                      <a:pt x="87" y="35"/>
                      <a:pt x="87" y="30"/>
                      <a:pt x="87" y="29"/>
                    </a:cubicBezTo>
                    <a:cubicBezTo>
                      <a:pt x="86" y="28"/>
                      <a:pt x="83" y="31"/>
                      <a:pt x="81" y="30"/>
                    </a:cubicBezTo>
                    <a:cubicBezTo>
                      <a:pt x="79" y="29"/>
                      <a:pt x="78" y="26"/>
                      <a:pt x="77" y="26"/>
                    </a:cubicBezTo>
                    <a:cubicBezTo>
                      <a:pt x="75" y="26"/>
                      <a:pt x="75" y="24"/>
                      <a:pt x="75" y="22"/>
                    </a:cubicBezTo>
                    <a:cubicBezTo>
                      <a:pt x="75" y="19"/>
                      <a:pt x="71" y="17"/>
                      <a:pt x="69" y="16"/>
                    </a:cubicBezTo>
                    <a:cubicBezTo>
                      <a:pt x="67" y="14"/>
                      <a:pt x="67" y="10"/>
                      <a:pt x="66" y="9"/>
                    </a:cubicBezTo>
                    <a:cubicBezTo>
                      <a:pt x="65" y="9"/>
                      <a:pt x="65" y="6"/>
                      <a:pt x="66" y="3"/>
                    </a:cubicBezTo>
                    <a:cubicBezTo>
                      <a:pt x="62" y="3"/>
                      <a:pt x="59" y="3"/>
                      <a:pt x="59" y="2"/>
                    </a:cubicBezTo>
                    <a:cubicBezTo>
                      <a:pt x="57" y="0"/>
                      <a:pt x="55" y="3"/>
                      <a:pt x="50" y="6"/>
                    </a:cubicBezTo>
                    <a:cubicBezTo>
                      <a:pt x="46" y="9"/>
                      <a:pt x="41" y="8"/>
                      <a:pt x="41" y="10"/>
                    </a:cubicBezTo>
                    <a:cubicBezTo>
                      <a:pt x="41" y="12"/>
                      <a:pt x="39" y="13"/>
                      <a:pt x="36" y="12"/>
                    </a:cubicBezTo>
                    <a:cubicBezTo>
                      <a:pt x="34" y="11"/>
                      <a:pt x="32" y="11"/>
                      <a:pt x="31" y="15"/>
                    </a:cubicBezTo>
                    <a:cubicBezTo>
                      <a:pt x="30" y="18"/>
                      <a:pt x="26" y="16"/>
                      <a:pt x="26" y="20"/>
                    </a:cubicBezTo>
                    <a:cubicBezTo>
                      <a:pt x="26" y="24"/>
                      <a:pt x="22" y="21"/>
                      <a:pt x="19" y="20"/>
                    </a:cubicBezTo>
                    <a:cubicBezTo>
                      <a:pt x="16" y="18"/>
                      <a:pt x="15" y="28"/>
                      <a:pt x="15" y="28"/>
                    </a:cubicBezTo>
                    <a:cubicBezTo>
                      <a:pt x="15" y="28"/>
                      <a:pt x="13" y="30"/>
                      <a:pt x="12" y="35"/>
                    </a:cubicBezTo>
                    <a:cubicBezTo>
                      <a:pt x="10" y="40"/>
                      <a:pt x="4" y="38"/>
                      <a:pt x="3" y="39"/>
                    </a:cubicBezTo>
                    <a:cubicBezTo>
                      <a:pt x="1" y="40"/>
                      <a:pt x="4" y="44"/>
                      <a:pt x="3" y="46"/>
                    </a:cubicBezTo>
                    <a:cubicBezTo>
                      <a:pt x="3" y="47"/>
                      <a:pt x="1" y="51"/>
                      <a:pt x="0" y="55"/>
                    </a:cubicBezTo>
                    <a:cubicBezTo>
                      <a:pt x="3" y="55"/>
                      <a:pt x="5" y="57"/>
                      <a:pt x="6" y="59"/>
                    </a:cubicBezTo>
                    <a:cubicBezTo>
                      <a:pt x="7" y="60"/>
                      <a:pt x="13" y="67"/>
                      <a:pt x="16" y="63"/>
                    </a:cubicBezTo>
                    <a:cubicBezTo>
                      <a:pt x="19" y="60"/>
                      <a:pt x="27" y="60"/>
                      <a:pt x="29" y="62"/>
                    </a:cubicBezTo>
                    <a:cubicBezTo>
                      <a:pt x="31" y="64"/>
                      <a:pt x="32" y="63"/>
                      <a:pt x="33" y="61"/>
                    </a:cubicBezTo>
                    <a:cubicBezTo>
                      <a:pt x="33" y="59"/>
                      <a:pt x="29" y="51"/>
                      <a:pt x="31" y="49"/>
                    </a:cubicBezTo>
                    <a:cubicBezTo>
                      <a:pt x="32" y="47"/>
                      <a:pt x="58" y="48"/>
                      <a:pt x="59" y="50"/>
                    </a:cubicBezTo>
                    <a:cubicBezTo>
                      <a:pt x="60" y="52"/>
                      <a:pt x="60" y="47"/>
                      <a:pt x="63" y="47"/>
                    </a:cubicBezTo>
                    <a:cubicBezTo>
                      <a:pt x="67" y="47"/>
                      <a:pt x="72" y="49"/>
                      <a:pt x="74" y="48"/>
                    </a:cubicBezTo>
                    <a:cubicBezTo>
                      <a:pt x="76" y="48"/>
                      <a:pt x="78" y="44"/>
                      <a:pt x="80" y="44"/>
                    </a:cubicBezTo>
                    <a:cubicBezTo>
                      <a:pt x="82" y="44"/>
                      <a:pt x="88" y="44"/>
                      <a:pt x="89" y="42"/>
                    </a:cubicBezTo>
                    <a:cubicBezTo>
                      <a:pt x="91" y="40"/>
                      <a:pt x="93" y="40"/>
                      <a:pt x="92" y="38"/>
                    </a:cubicBezTo>
                    <a:cubicBezTo>
                      <a:pt x="92" y="38"/>
                      <a:pt x="92" y="38"/>
                      <a:pt x="92" y="3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59" name="Freeform 37">
                <a:extLst>
                  <a:ext uri="{FF2B5EF4-FFF2-40B4-BE49-F238E27FC236}">
                    <a16:creationId xmlns:a16="http://schemas.microsoft.com/office/drawing/2014/main" id="{C97A2F80-F229-4B8E-9101-30F0F2C7E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700" y="3519488"/>
                <a:ext cx="384175" cy="300038"/>
              </a:xfrm>
              <a:custGeom>
                <a:avLst/>
                <a:gdLst>
                  <a:gd name="T0" fmla="*/ 167 w 175"/>
                  <a:gd name="T1" fmla="*/ 20 h 137"/>
                  <a:gd name="T2" fmla="*/ 167 w 175"/>
                  <a:gd name="T3" fmla="*/ 5 h 137"/>
                  <a:gd name="T4" fmla="*/ 158 w 175"/>
                  <a:gd name="T5" fmla="*/ 10 h 137"/>
                  <a:gd name="T6" fmla="*/ 150 w 175"/>
                  <a:gd name="T7" fmla="*/ 3 h 137"/>
                  <a:gd name="T8" fmla="*/ 134 w 175"/>
                  <a:gd name="T9" fmla="*/ 0 h 137"/>
                  <a:gd name="T10" fmla="*/ 85 w 175"/>
                  <a:gd name="T11" fmla="*/ 30 h 137"/>
                  <a:gd name="T12" fmla="*/ 65 w 175"/>
                  <a:gd name="T13" fmla="*/ 47 h 137"/>
                  <a:gd name="T14" fmla="*/ 47 w 175"/>
                  <a:gd name="T15" fmla="*/ 52 h 137"/>
                  <a:gd name="T16" fmla="*/ 46 w 175"/>
                  <a:gd name="T17" fmla="*/ 53 h 137"/>
                  <a:gd name="T18" fmla="*/ 45 w 175"/>
                  <a:gd name="T19" fmla="*/ 83 h 137"/>
                  <a:gd name="T20" fmla="*/ 42 w 175"/>
                  <a:gd name="T21" fmla="*/ 91 h 137"/>
                  <a:gd name="T22" fmla="*/ 35 w 175"/>
                  <a:gd name="T23" fmla="*/ 96 h 137"/>
                  <a:gd name="T24" fmla="*/ 17 w 175"/>
                  <a:gd name="T25" fmla="*/ 98 h 137"/>
                  <a:gd name="T26" fmla="*/ 8 w 175"/>
                  <a:gd name="T27" fmla="*/ 101 h 137"/>
                  <a:gd name="T28" fmla="*/ 1 w 175"/>
                  <a:gd name="T29" fmla="*/ 101 h 137"/>
                  <a:gd name="T30" fmla="*/ 1 w 175"/>
                  <a:gd name="T31" fmla="*/ 107 h 137"/>
                  <a:gd name="T32" fmla="*/ 4 w 175"/>
                  <a:gd name="T33" fmla="*/ 114 h 137"/>
                  <a:gd name="T34" fmla="*/ 10 w 175"/>
                  <a:gd name="T35" fmla="*/ 120 h 137"/>
                  <a:gd name="T36" fmla="*/ 12 w 175"/>
                  <a:gd name="T37" fmla="*/ 124 h 137"/>
                  <a:gd name="T38" fmla="*/ 16 w 175"/>
                  <a:gd name="T39" fmla="*/ 128 h 137"/>
                  <a:gd name="T40" fmla="*/ 22 w 175"/>
                  <a:gd name="T41" fmla="*/ 127 h 137"/>
                  <a:gd name="T42" fmla="*/ 23 w 175"/>
                  <a:gd name="T43" fmla="*/ 133 h 137"/>
                  <a:gd name="T44" fmla="*/ 27 w 175"/>
                  <a:gd name="T45" fmla="*/ 135 h 137"/>
                  <a:gd name="T46" fmla="*/ 31 w 175"/>
                  <a:gd name="T47" fmla="*/ 130 h 137"/>
                  <a:gd name="T48" fmla="*/ 35 w 175"/>
                  <a:gd name="T49" fmla="*/ 136 h 137"/>
                  <a:gd name="T50" fmla="*/ 40 w 175"/>
                  <a:gd name="T51" fmla="*/ 134 h 137"/>
                  <a:gd name="T52" fmla="*/ 45 w 175"/>
                  <a:gd name="T53" fmla="*/ 126 h 137"/>
                  <a:gd name="T54" fmla="*/ 47 w 175"/>
                  <a:gd name="T55" fmla="*/ 117 h 137"/>
                  <a:gd name="T56" fmla="*/ 58 w 175"/>
                  <a:gd name="T57" fmla="*/ 117 h 137"/>
                  <a:gd name="T58" fmla="*/ 64 w 175"/>
                  <a:gd name="T59" fmla="*/ 114 h 137"/>
                  <a:gd name="T60" fmla="*/ 73 w 175"/>
                  <a:gd name="T61" fmla="*/ 117 h 137"/>
                  <a:gd name="T62" fmla="*/ 80 w 175"/>
                  <a:gd name="T63" fmla="*/ 123 h 137"/>
                  <a:gd name="T64" fmla="*/ 89 w 175"/>
                  <a:gd name="T65" fmla="*/ 120 h 137"/>
                  <a:gd name="T66" fmla="*/ 98 w 175"/>
                  <a:gd name="T67" fmla="*/ 125 h 137"/>
                  <a:gd name="T68" fmla="*/ 109 w 175"/>
                  <a:gd name="T69" fmla="*/ 125 h 137"/>
                  <a:gd name="T70" fmla="*/ 117 w 175"/>
                  <a:gd name="T71" fmla="*/ 120 h 137"/>
                  <a:gd name="T72" fmla="*/ 131 w 175"/>
                  <a:gd name="T73" fmla="*/ 120 h 137"/>
                  <a:gd name="T74" fmla="*/ 141 w 175"/>
                  <a:gd name="T75" fmla="*/ 122 h 137"/>
                  <a:gd name="T76" fmla="*/ 149 w 175"/>
                  <a:gd name="T77" fmla="*/ 115 h 137"/>
                  <a:gd name="T78" fmla="*/ 150 w 175"/>
                  <a:gd name="T79" fmla="*/ 115 h 137"/>
                  <a:gd name="T80" fmla="*/ 150 w 175"/>
                  <a:gd name="T81" fmla="*/ 111 h 137"/>
                  <a:gd name="T82" fmla="*/ 153 w 175"/>
                  <a:gd name="T83" fmla="*/ 102 h 137"/>
                  <a:gd name="T84" fmla="*/ 171 w 175"/>
                  <a:gd name="T85" fmla="*/ 79 h 137"/>
                  <a:gd name="T86" fmla="*/ 172 w 175"/>
                  <a:gd name="T87" fmla="*/ 51 h 137"/>
                  <a:gd name="T88" fmla="*/ 174 w 175"/>
                  <a:gd name="T89" fmla="*/ 39 h 137"/>
                  <a:gd name="T90" fmla="*/ 172 w 175"/>
                  <a:gd name="T91" fmla="*/ 30 h 137"/>
                  <a:gd name="T92" fmla="*/ 167 w 175"/>
                  <a:gd name="T93" fmla="*/ 2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75" h="137">
                    <a:moveTo>
                      <a:pt x="167" y="20"/>
                    </a:moveTo>
                    <a:cubicBezTo>
                      <a:pt x="167" y="18"/>
                      <a:pt x="167" y="11"/>
                      <a:pt x="167" y="5"/>
                    </a:cubicBezTo>
                    <a:cubicBezTo>
                      <a:pt x="158" y="10"/>
                      <a:pt x="158" y="10"/>
                      <a:pt x="158" y="10"/>
                    </a:cubicBezTo>
                    <a:cubicBezTo>
                      <a:pt x="158" y="10"/>
                      <a:pt x="155" y="6"/>
                      <a:pt x="150" y="3"/>
                    </a:cubicBezTo>
                    <a:cubicBezTo>
                      <a:pt x="146" y="0"/>
                      <a:pt x="134" y="0"/>
                      <a:pt x="134" y="0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65" y="47"/>
                      <a:pt x="65" y="47"/>
                      <a:pt x="65" y="47"/>
                    </a:cubicBezTo>
                    <a:cubicBezTo>
                      <a:pt x="65" y="47"/>
                      <a:pt x="51" y="51"/>
                      <a:pt x="47" y="52"/>
                    </a:cubicBezTo>
                    <a:cubicBezTo>
                      <a:pt x="47" y="52"/>
                      <a:pt x="46" y="52"/>
                      <a:pt x="46" y="53"/>
                    </a:cubicBezTo>
                    <a:cubicBezTo>
                      <a:pt x="46" y="61"/>
                      <a:pt x="46" y="82"/>
                      <a:pt x="45" y="83"/>
                    </a:cubicBezTo>
                    <a:cubicBezTo>
                      <a:pt x="44" y="84"/>
                      <a:pt x="43" y="90"/>
                      <a:pt x="42" y="91"/>
                    </a:cubicBezTo>
                    <a:cubicBezTo>
                      <a:pt x="40" y="92"/>
                      <a:pt x="39" y="96"/>
                      <a:pt x="35" y="96"/>
                    </a:cubicBezTo>
                    <a:cubicBezTo>
                      <a:pt x="31" y="96"/>
                      <a:pt x="21" y="98"/>
                      <a:pt x="17" y="98"/>
                    </a:cubicBezTo>
                    <a:cubicBezTo>
                      <a:pt x="13" y="97"/>
                      <a:pt x="10" y="100"/>
                      <a:pt x="8" y="101"/>
                    </a:cubicBezTo>
                    <a:cubicBezTo>
                      <a:pt x="7" y="101"/>
                      <a:pt x="4" y="101"/>
                      <a:pt x="1" y="101"/>
                    </a:cubicBezTo>
                    <a:cubicBezTo>
                      <a:pt x="0" y="104"/>
                      <a:pt x="0" y="107"/>
                      <a:pt x="1" y="107"/>
                    </a:cubicBezTo>
                    <a:cubicBezTo>
                      <a:pt x="2" y="108"/>
                      <a:pt x="2" y="112"/>
                      <a:pt x="4" y="114"/>
                    </a:cubicBezTo>
                    <a:cubicBezTo>
                      <a:pt x="6" y="115"/>
                      <a:pt x="10" y="117"/>
                      <a:pt x="10" y="120"/>
                    </a:cubicBezTo>
                    <a:cubicBezTo>
                      <a:pt x="10" y="122"/>
                      <a:pt x="10" y="124"/>
                      <a:pt x="12" y="124"/>
                    </a:cubicBezTo>
                    <a:cubicBezTo>
                      <a:pt x="13" y="124"/>
                      <a:pt x="14" y="127"/>
                      <a:pt x="16" y="128"/>
                    </a:cubicBezTo>
                    <a:cubicBezTo>
                      <a:pt x="18" y="129"/>
                      <a:pt x="21" y="126"/>
                      <a:pt x="22" y="127"/>
                    </a:cubicBezTo>
                    <a:cubicBezTo>
                      <a:pt x="22" y="128"/>
                      <a:pt x="22" y="133"/>
                      <a:pt x="23" y="133"/>
                    </a:cubicBezTo>
                    <a:cubicBezTo>
                      <a:pt x="23" y="133"/>
                      <a:pt x="25" y="134"/>
                      <a:pt x="27" y="135"/>
                    </a:cubicBezTo>
                    <a:cubicBezTo>
                      <a:pt x="27" y="133"/>
                      <a:pt x="28" y="129"/>
                      <a:pt x="31" y="130"/>
                    </a:cubicBezTo>
                    <a:cubicBezTo>
                      <a:pt x="35" y="131"/>
                      <a:pt x="32" y="134"/>
                      <a:pt x="35" y="136"/>
                    </a:cubicBezTo>
                    <a:cubicBezTo>
                      <a:pt x="38" y="137"/>
                      <a:pt x="40" y="136"/>
                      <a:pt x="40" y="134"/>
                    </a:cubicBezTo>
                    <a:cubicBezTo>
                      <a:pt x="40" y="131"/>
                      <a:pt x="44" y="127"/>
                      <a:pt x="45" y="126"/>
                    </a:cubicBezTo>
                    <a:cubicBezTo>
                      <a:pt x="46" y="125"/>
                      <a:pt x="45" y="118"/>
                      <a:pt x="47" y="117"/>
                    </a:cubicBezTo>
                    <a:cubicBezTo>
                      <a:pt x="49" y="115"/>
                      <a:pt x="55" y="116"/>
                      <a:pt x="58" y="117"/>
                    </a:cubicBezTo>
                    <a:cubicBezTo>
                      <a:pt x="60" y="117"/>
                      <a:pt x="62" y="112"/>
                      <a:pt x="64" y="114"/>
                    </a:cubicBezTo>
                    <a:cubicBezTo>
                      <a:pt x="67" y="117"/>
                      <a:pt x="71" y="115"/>
                      <a:pt x="73" y="117"/>
                    </a:cubicBezTo>
                    <a:cubicBezTo>
                      <a:pt x="75" y="119"/>
                      <a:pt x="76" y="125"/>
                      <a:pt x="80" y="123"/>
                    </a:cubicBezTo>
                    <a:cubicBezTo>
                      <a:pt x="83" y="121"/>
                      <a:pt x="87" y="120"/>
                      <a:pt x="89" y="120"/>
                    </a:cubicBezTo>
                    <a:cubicBezTo>
                      <a:pt x="91" y="120"/>
                      <a:pt x="96" y="124"/>
                      <a:pt x="98" y="125"/>
                    </a:cubicBezTo>
                    <a:cubicBezTo>
                      <a:pt x="100" y="126"/>
                      <a:pt x="106" y="126"/>
                      <a:pt x="109" y="125"/>
                    </a:cubicBezTo>
                    <a:cubicBezTo>
                      <a:pt x="111" y="124"/>
                      <a:pt x="114" y="119"/>
                      <a:pt x="117" y="120"/>
                    </a:cubicBezTo>
                    <a:cubicBezTo>
                      <a:pt x="120" y="120"/>
                      <a:pt x="129" y="119"/>
                      <a:pt x="131" y="120"/>
                    </a:cubicBezTo>
                    <a:cubicBezTo>
                      <a:pt x="133" y="121"/>
                      <a:pt x="138" y="123"/>
                      <a:pt x="141" y="122"/>
                    </a:cubicBezTo>
                    <a:cubicBezTo>
                      <a:pt x="144" y="121"/>
                      <a:pt x="146" y="116"/>
                      <a:pt x="149" y="115"/>
                    </a:cubicBezTo>
                    <a:cubicBezTo>
                      <a:pt x="149" y="115"/>
                      <a:pt x="150" y="115"/>
                      <a:pt x="150" y="115"/>
                    </a:cubicBezTo>
                    <a:cubicBezTo>
                      <a:pt x="150" y="114"/>
                      <a:pt x="150" y="112"/>
                      <a:pt x="150" y="111"/>
                    </a:cubicBezTo>
                    <a:cubicBezTo>
                      <a:pt x="150" y="105"/>
                      <a:pt x="152" y="108"/>
                      <a:pt x="153" y="102"/>
                    </a:cubicBezTo>
                    <a:cubicBezTo>
                      <a:pt x="154" y="96"/>
                      <a:pt x="169" y="80"/>
                      <a:pt x="171" y="79"/>
                    </a:cubicBezTo>
                    <a:cubicBezTo>
                      <a:pt x="172" y="78"/>
                      <a:pt x="172" y="54"/>
                      <a:pt x="172" y="51"/>
                    </a:cubicBezTo>
                    <a:cubicBezTo>
                      <a:pt x="172" y="48"/>
                      <a:pt x="173" y="44"/>
                      <a:pt x="174" y="39"/>
                    </a:cubicBezTo>
                    <a:cubicBezTo>
                      <a:pt x="175" y="34"/>
                      <a:pt x="172" y="35"/>
                      <a:pt x="172" y="30"/>
                    </a:cubicBezTo>
                    <a:cubicBezTo>
                      <a:pt x="172" y="26"/>
                      <a:pt x="167" y="23"/>
                      <a:pt x="167" y="2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0" name="Freeform 38">
                <a:extLst>
                  <a:ext uri="{FF2B5EF4-FFF2-40B4-BE49-F238E27FC236}">
                    <a16:creationId xmlns:a16="http://schemas.microsoft.com/office/drawing/2014/main" id="{511CC8F1-6AAE-4874-87CC-C721732C9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900" y="3519488"/>
                <a:ext cx="247650" cy="412750"/>
              </a:xfrm>
              <a:custGeom>
                <a:avLst/>
                <a:gdLst>
                  <a:gd name="T0" fmla="*/ 113 w 113"/>
                  <a:gd name="T1" fmla="*/ 46 h 188"/>
                  <a:gd name="T2" fmla="*/ 27 w 113"/>
                  <a:gd name="T3" fmla="*/ 0 h 188"/>
                  <a:gd name="T4" fmla="*/ 17 w 113"/>
                  <a:gd name="T5" fmla="*/ 5 h 188"/>
                  <a:gd name="T6" fmla="*/ 17 w 113"/>
                  <a:gd name="T7" fmla="*/ 20 h 188"/>
                  <a:gd name="T8" fmla="*/ 22 w 113"/>
                  <a:gd name="T9" fmla="*/ 30 h 188"/>
                  <a:gd name="T10" fmla="*/ 24 w 113"/>
                  <a:gd name="T11" fmla="*/ 39 h 188"/>
                  <a:gd name="T12" fmla="*/ 22 w 113"/>
                  <a:gd name="T13" fmla="*/ 51 h 188"/>
                  <a:gd name="T14" fmla="*/ 21 w 113"/>
                  <a:gd name="T15" fmla="*/ 79 h 188"/>
                  <a:gd name="T16" fmla="*/ 3 w 113"/>
                  <a:gd name="T17" fmla="*/ 102 h 188"/>
                  <a:gd name="T18" fmla="*/ 0 w 113"/>
                  <a:gd name="T19" fmla="*/ 111 h 188"/>
                  <a:gd name="T20" fmla="*/ 0 w 113"/>
                  <a:gd name="T21" fmla="*/ 115 h 188"/>
                  <a:gd name="T22" fmla="*/ 3 w 113"/>
                  <a:gd name="T23" fmla="*/ 117 h 188"/>
                  <a:gd name="T24" fmla="*/ 8 w 113"/>
                  <a:gd name="T25" fmla="*/ 122 h 188"/>
                  <a:gd name="T26" fmla="*/ 15 w 113"/>
                  <a:gd name="T27" fmla="*/ 133 h 188"/>
                  <a:gd name="T28" fmla="*/ 16 w 113"/>
                  <a:gd name="T29" fmla="*/ 143 h 188"/>
                  <a:gd name="T30" fmla="*/ 21 w 113"/>
                  <a:gd name="T31" fmla="*/ 157 h 188"/>
                  <a:gd name="T32" fmla="*/ 16 w 113"/>
                  <a:gd name="T33" fmla="*/ 158 h 188"/>
                  <a:gd name="T34" fmla="*/ 6 w 113"/>
                  <a:gd name="T35" fmla="*/ 160 h 188"/>
                  <a:gd name="T36" fmla="*/ 9 w 113"/>
                  <a:gd name="T37" fmla="*/ 168 h 188"/>
                  <a:gd name="T38" fmla="*/ 18 w 113"/>
                  <a:gd name="T39" fmla="*/ 177 h 188"/>
                  <a:gd name="T40" fmla="*/ 23 w 113"/>
                  <a:gd name="T41" fmla="*/ 187 h 188"/>
                  <a:gd name="T42" fmla="*/ 29 w 113"/>
                  <a:gd name="T43" fmla="*/ 184 h 188"/>
                  <a:gd name="T44" fmla="*/ 36 w 113"/>
                  <a:gd name="T45" fmla="*/ 184 h 188"/>
                  <a:gd name="T46" fmla="*/ 49 w 113"/>
                  <a:gd name="T47" fmla="*/ 180 h 188"/>
                  <a:gd name="T48" fmla="*/ 59 w 113"/>
                  <a:gd name="T49" fmla="*/ 175 h 188"/>
                  <a:gd name="T50" fmla="*/ 59 w 113"/>
                  <a:gd name="T51" fmla="*/ 169 h 188"/>
                  <a:gd name="T52" fmla="*/ 75 w 113"/>
                  <a:gd name="T53" fmla="*/ 166 h 188"/>
                  <a:gd name="T54" fmla="*/ 86 w 113"/>
                  <a:gd name="T55" fmla="*/ 154 h 188"/>
                  <a:gd name="T56" fmla="*/ 89 w 113"/>
                  <a:gd name="T57" fmla="*/ 149 h 188"/>
                  <a:gd name="T58" fmla="*/ 98 w 113"/>
                  <a:gd name="T59" fmla="*/ 145 h 188"/>
                  <a:gd name="T60" fmla="*/ 100 w 113"/>
                  <a:gd name="T61" fmla="*/ 146 h 188"/>
                  <a:gd name="T62" fmla="*/ 99 w 113"/>
                  <a:gd name="T63" fmla="*/ 145 h 188"/>
                  <a:gd name="T64" fmla="*/ 101 w 113"/>
                  <a:gd name="T65" fmla="*/ 140 h 188"/>
                  <a:gd name="T66" fmla="*/ 95 w 113"/>
                  <a:gd name="T67" fmla="*/ 133 h 188"/>
                  <a:gd name="T68" fmla="*/ 93 w 113"/>
                  <a:gd name="T69" fmla="*/ 125 h 188"/>
                  <a:gd name="T70" fmla="*/ 92 w 113"/>
                  <a:gd name="T71" fmla="*/ 119 h 188"/>
                  <a:gd name="T72" fmla="*/ 92 w 113"/>
                  <a:gd name="T73" fmla="*/ 110 h 188"/>
                  <a:gd name="T74" fmla="*/ 97 w 113"/>
                  <a:gd name="T75" fmla="*/ 102 h 188"/>
                  <a:gd name="T76" fmla="*/ 102 w 113"/>
                  <a:gd name="T77" fmla="*/ 95 h 188"/>
                  <a:gd name="T78" fmla="*/ 111 w 113"/>
                  <a:gd name="T79" fmla="*/ 89 h 188"/>
                  <a:gd name="T80" fmla="*/ 113 w 113"/>
                  <a:gd name="T81" fmla="*/ 77 h 188"/>
                  <a:gd name="T82" fmla="*/ 113 w 113"/>
                  <a:gd name="T83" fmla="*/ 4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3" h="188">
                    <a:moveTo>
                      <a:pt x="113" y="46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11"/>
                      <a:pt x="17" y="18"/>
                      <a:pt x="17" y="20"/>
                    </a:cubicBezTo>
                    <a:cubicBezTo>
                      <a:pt x="17" y="23"/>
                      <a:pt x="22" y="26"/>
                      <a:pt x="22" y="30"/>
                    </a:cubicBezTo>
                    <a:cubicBezTo>
                      <a:pt x="22" y="35"/>
                      <a:pt x="25" y="34"/>
                      <a:pt x="24" y="39"/>
                    </a:cubicBezTo>
                    <a:cubicBezTo>
                      <a:pt x="23" y="44"/>
                      <a:pt x="22" y="48"/>
                      <a:pt x="22" y="51"/>
                    </a:cubicBezTo>
                    <a:cubicBezTo>
                      <a:pt x="22" y="54"/>
                      <a:pt x="22" y="78"/>
                      <a:pt x="21" y="79"/>
                    </a:cubicBezTo>
                    <a:cubicBezTo>
                      <a:pt x="19" y="80"/>
                      <a:pt x="4" y="96"/>
                      <a:pt x="3" y="102"/>
                    </a:cubicBezTo>
                    <a:cubicBezTo>
                      <a:pt x="2" y="108"/>
                      <a:pt x="0" y="105"/>
                      <a:pt x="0" y="111"/>
                    </a:cubicBezTo>
                    <a:cubicBezTo>
                      <a:pt x="0" y="112"/>
                      <a:pt x="0" y="114"/>
                      <a:pt x="0" y="115"/>
                    </a:cubicBezTo>
                    <a:cubicBezTo>
                      <a:pt x="1" y="115"/>
                      <a:pt x="1" y="116"/>
                      <a:pt x="3" y="117"/>
                    </a:cubicBezTo>
                    <a:cubicBezTo>
                      <a:pt x="4" y="119"/>
                      <a:pt x="4" y="122"/>
                      <a:pt x="8" y="122"/>
                    </a:cubicBezTo>
                    <a:cubicBezTo>
                      <a:pt x="11" y="122"/>
                      <a:pt x="15" y="130"/>
                      <a:pt x="15" y="133"/>
                    </a:cubicBezTo>
                    <a:cubicBezTo>
                      <a:pt x="14" y="136"/>
                      <a:pt x="16" y="137"/>
                      <a:pt x="16" y="143"/>
                    </a:cubicBezTo>
                    <a:cubicBezTo>
                      <a:pt x="16" y="148"/>
                      <a:pt x="19" y="156"/>
                      <a:pt x="21" y="157"/>
                    </a:cubicBezTo>
                    <a:cubicBezTo>
                      <a:pt x="22" y="158"/>
                      <a:pt x="20" y="159"/>
                      <a:pt x="16" y="158"/>
                    </a:cubicBezTo>
                    <a:cubicBezTo>
                      <a:pt x="12" y="158"/>
                      <a:pt x="6" y="158"/>
                      <a:pt x="6" y="160"/>
                    </a:cubicBezTo>
                    <a:cubicBezTo>
                      <a:pt x="6" y="161"/>
                      <a:pt x="5" y="164"/>
                      <a:pt x="9" y="168"/>
                    </a:cubicBezTo>
                    <a:cubicBezTo>
                      <a:pt x="13" y="172"/>
                      <a:pt x="17" y="173"/>
                      <a:pt x="18" y="177"/>
                    </a:cubicBezTo>
                    <a:cubicBezTo>
                      <a:pt x="20" y="182"/>
                      <a:pt x="21" y="186"/>
                      <a:pt x="23" y="187"/>
                    </a:cubicBezTo>
                    <a:cubicBezTo>
                      <a:pt x="24" y="188"/>
                      <a:pt x="27" y="187"/>
                      <a:pt x="29" y="184"/>
                    </a:cubicBezTo>
                    <a:cubicBezTo>
                      <a:pt x="31" y="181"/>
                      <a:pt x="34" y="187"/>
                      <a:pt x="36" y="184"/>
                    </a:cubicBezTo>
                    <a:cubicBezTo>
                      <a:pt x="39" y="181"/>
                      <a:pt x="47" y="181"/>
                      <a:pt x="49" y="180"/>
                    </a:cubicBezTo>
                    <a:cubicBezTo>
                      <a:pt x="51" y="179"/>
                      <a:pt x="57" y="177"/>
                      <a:pt x="59" y="175"/>
                    </a:cubicBezTo>
                    <a:cubicBezTo>
                      <a:pt x="61" y="173"/>
                      <a:pt x="56" y="171"/>
                      <a:pt x="59" y="169"/>
                    </a:cubicBezTo>
                    <a:cubicBezTo>
                      <a:pt x="62" y="167"/>
                      <a:pt x="72" y="170"/>
                      <a:pt x="75" y="166"/>
                    </a:cubicBezTo>
                    <a:cubicBezTo>
                      <a:pt x="79" y="161"/>
                      <a:pt x="85" y="156"/>
                      <a:pt x="86" y="154"/>
                    </a:cubicBezTo>
                    <a:cubicBezTo>
                      <a:pt x="88" y="153"/>
                      <a:pt x="86" y="151"/>
                      <a:pt x="89" y="149"/>
                    </a:cubicBezTo>
                    <a:cubicBezTo>
                      <a:pt x="91" y="147"/>
                      <a:pt x="96" y="144"/>
                      <a:pt x="98" y="145"/>
                    </a:cubicBezTo>
                    <a:cubicBezTo>
                      <a:pt x="98" y="146"/>
                      <a:pt x="99" y="146"/>
                      <a:pt x="100" y="146"/>
                    </a:cubicBezTo>
                    <a:cubicBezTo>
                      <a:pt x="100" y="145"/>
                      <a:pt x="99" y="145"/>
                      <a:pt x="99" y="145"/>
                    </a:cubicBezTo>
                    <a:cubicBezTo>
                      <a:pt x="101" y="140"/>
                      <a:pt x="101" y="140"/>
                      <a:pt x="101" y="140"/>
                    </a:cubicBezTo>
                    <a:cubicBezTo>
                      <a:pt x="101" y="140"/>
                      <a:pt x="95" y="138"/>
                      <a:pt x="95" y="133"/>
                    </a:cubicBezTo>
                    <a:cubicBezTo>
                      <a:pt x="95" y="129"/>
                      <a:pt x="97" y="125"/>
                      <a:pt x="93" y="125"/>
                    </a:cubicBezTo>
                    <a:cubicBezTo>
                      <a:pt x="90" y="125"/>
                      <a:pt x="89" y="122"/>
                      <a:pt x="92" y="119"/>
                    </a:cubicBezTo>
                    <a:cubicBezTo>
                      <a:pt x="95" y="116"/>
                      <a:pt x="88" y="110"/>
                      <a:pt x="92" y="110"/>
                    </a:cubicBezTo>
                    <a:cubicBezTo>
                      <a:pt x="97" y="110"/>
                      <a:pt x="94" y="103"/>
                      <a:pt x="97" y="102"/>
                    </a:cubicBezTo>
                    <a:cubicBezTo>
                      <a:pt x="101" y="101"/>
                      <a:pt x="102" y="99"/>
                      <a:pt x="102" y="95"/>
                    </a:cubicBezTo>
                    <a:cubicBezTo>
                      <a:pt x="102" y="92"/>
                      <a:pt x="109" y="90"/>
                      <a:pt x="111" y="89"/>
                    </a:cubicBezTo>
                    <a:cubicBezTo>
                      <a:pt x="113" y="88"/>
                      <a:pt x="113" y="77"/>
                      <a:pt x="113" y="77"/>
                    </a:cubicBezTo>
                    <a:lnTo>
                      <a:pt x="113" y="46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1" name="Freeform 39">
                <a:extLst>
                  <a:ext uri="{FF2B5EF4-FFF2-40B4-BE49-F238E27FC236}">
                    <a16:creationId xmlns:a16="http://schemas.microsoft.com/office/drawing/2014/main" id="{ABD1D1B1-7A14-48B6-A4A9-EB337004A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5" y="3290888"/>
                <a:ext cx="269875" cy="269875"/>
              </a:xfrm>
              <a:custGeom>
                <a:avLst/>
                <a:gdLst>
                  <a:gd name="T0" fmla="*/ 115 w 123"/>
                  <a:gd name="T1" fmla="*/ 27 h 123"/>
                  <a:gd name="T2" fmla="*/ 107 w 123"/>
                  <a:gd name="T3" fmla="*/ 7 h 123"/>
                  <a:gd name="T4" fmla="*/ 106 w 123"/>
                  <a:gd name="T5" fmla="*/ 9 h 123"/>
                  <a:gd name="T6" fmla="*/ 94 w 123"/>
                  <a:gd name="T7" fmla="*/ 8 h 123"/>
                  <a:gd name="T8" fmla="*/ 79 w 123"/>
                  <a:gd name="T9" fmla="*/ 5 h 123"/>
                  <a:gd name="T10" fmla="*/ 56 w 123"/>
                  <a:gd name="T11" fmla="*/ 9 h 123"/>
                  <a:gd name="T12" fmla="*/ 43 w 123"/>
                  <a:gd name="T13" fmla="*/ 10 h 123"/>
                  <a:gd name="T14" fmla="*/ 23 w 123"/>
                  <a:gd name="T15" fmla="*/ 4 h 123"/>
                  <a:gd name="T16" fmla="*/ 6 w 123"/>
                  <a:gd name="T17" fmla="*/ 0 h 123"/>
                  <a:gd name="T18" fmla="*/ 4 w 123"/>
                  <a:gd name="T19" fmla="*/ 3 h 123"/>
                  <a:gd name="T20" fmla="*/ 3 w 123"/>
                  <a:gd name="T21" fmla="*/ 17 h 123"/>
                  <a:gd name="T22" fmla="*/ 3 w 123"/>
                  <a:gd name="T23" fmla="*/ 34 h 123"/>
                  <a:gd name="T24" fmla="*/ 3 w 123"/>
                  <a:gd name="T25" fmla="*/ 121 h 123"/>
                  <a:gd name="T26" fmla="*/ 72 w 123"/>
                  <a:gd name="T27" fmla="*/ 121 h 123"/>
                  <a:gd name="T28" fmla="*/ 76 w 123"/>
                  <a:gd name="T29" fmla="*/ 118 h 123"/>
                  <a:gd name="T30" fmla="*/ 81 w 123"/>
                  <a:gd name="T31" fmla="*/ 120 h 123"/>
                  <a:gd name="T32" fmla="*/ 96 w 123"/>
                  <a:gd name="T33" fmla="*/ 120 h 123"/>
                  <a:gd name="T34" fmla="*/ 102 w 123"/>
                  <a:gd name="T35" fmla="*/ 123 h 123"/>
                  <a:gd name="T36" fmla="*/ 109 w 123"/>
                  <a:gd name="T37" fmla="*/ 118 h 123"/>
                  <a:gd name="T38" fmla="*/ 116 w 123"/>
                  <a:gd name="T39" fmla="*/ 110 h 123"/>
                  <a:gd name="T40" fmla="*/ 122 w 123"/>
                  <a:gd name="T41" fmla="*/ 106 h 123"/>
                  <a:gd name="T42" fmla="*/ 122 w 123"/>
                  <a:gd name="T43" fmla="*/ 105 h 123"/>
                  <a:gd name="T44" fmla="*/ 122 w 123"/>
                  <a:gd name="T45" fmla="*/ 101 h 123"/>
                  <a:gd name="T46" fmla="*/ 117 w 123"/>
                  <a:gd name="T47" fmla="*/ 88 h 123"/>
                  <a:gd name="T48" fmla="*/ 105 w 123"/>
                  <a:gd name="T49" fmla="*/ 65 h 123"/>
                  <a:gd name="T50" fmla="*/ 100 w 123"/>
                  <a:gd name="T51" fmla="*/ 54 h 123"/>
                  <a:gd name="T52" fmla="*/ 92 w 123"/>
                  <a:gd name="T53" fmla="*/ 41 h 123"/>
                  <a:gd name="T54" fmla="*/ 87 w 123"/>
                  <a:gd name="T55" fmla="*/ 21 h 123"/>
                  <a:gd name="T56" fmla="*/ 94 w 123"/>
                  <a:gd name="T57" fmla="*/ 35 h 123"/>
                  <a:gd name="T58" fmla="*/ 106 w 123"/>
                  <a:gd name="T59" fmla="*/ 50 h 123"/>
                  <a:gd name="T60" fmla="*/ 113 w 123"/>
                  <a:gd name="T61" fmla="*/ 34 h 123"/>
                  <a:gd name="T62" fmla="*/ 113 w 123"/>
                  <a:gd name="T63" fmla="*/ 35 h 123"/>
                  <a:gd name="T64" fmla="*/ 113 w 123"/>
                  <a:gd name="T65" fmla="*/ 32 h 123"/>
                  <a:gd name="T66" fmla="*/ 115 w 123"/>
                  <a:gd name="T67" fmla="*/ 27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3" h="123">
                    <a:moveTo>
                      <a:pt x="115" y="27"/>
                    </a:moveTo>
                    <a:cubicBezTo>
                      <a:pt x="107" y="7"/>
                      <a:pt x="107" y="7"/>
                      <a:pt x="107" y="7"/>
                    </a:cubicBezTo>
                    <a:cubicBezTo>
                      <a:pt x="106" y="8"/>
                      <a:pt x="106" y="9"/>
                      <a:pt x="106" y="9"/>
                    </a:cubicBezTo>
                    <a:cubicBezTo>
                      <a:pt x="104" y="10"/>
                      <a:pt x="99" y="7"/>
                      <a:pt x="94" y="8"/>
                    </a:cubicBezTo>
                    <a:cubicBezTo>
                      <a:pt x="88" y="10"/>
                      <a:pt x="84" y="8"/>
                      <a:pt x="79" y="5"/>
                    </a:cubicBezTo>
                    <a:cubicBezTo>
                      <a:pt x="74" y="3"/>
                      <a:pt x="58" y="6"/>
                      <a:pt x="56" y="9"/>
                    </a:cubicBezTo>
                    <a:cubicBezTo>
                      <a:pt x="54" y="12"/>
                      <a:pt x="48" y="12"/>
                      <a:pt x="43" y="10"/>
                    </a:cubicBezTo>
                    <a:cubicBezTo>
                      <a:pt x="38" y="8"/>
                      <a:pt x="32" y="5"/>
                      <a:pt x="23" y="4"/>
                    </a:cubicBezTo>
                    <a:cubicBezTo>
                      <a:pt x="14" y="4"/>
                      <a:pt x="7" y="2"/>
                      <a:pt x="6" y="0"/>
                    </a:cubicBezTo>
                    <a:cubicBezTo>
                      <a:pt x="5" y="1"/>
                      <a:pt x="5" y="2"/>
                      <a:pt x="4" y="3"/>
                    </a:cubicBezTo>
                    <a:cubicBezTo>
                      <a:pt x="2" y="11"/>
                      <a:pt x="7" y="13"/>
                      <a:pt x="3" y="17"/>
                    </a:cubicBezTo>
                    <a:cubicBezTo>
                      <a:pt x="0" y="21"/>
                      <a:pt x="3" y="26"/>
                      <a:pt x="3" y="34"/>
                    </a:cubicBezTo>
                    <a:cubicBezTo>
                      <a:pt x="3" y="39"/>
                      <a:pt x="3" y="90"/>
                      <a:pt x="3" y="121"/>
                    </a:cubicBezTo>
                    <a:cubicBezTo>
                      <a:pt x="72" y="121"/>
                      <a:pt x="72" y="121"/>
                      <a:pt x="72" y="121"/>
                    </a:cubicBezTo>
                    <a:cubicBezTo>
                      <a:pt x="72" y="121"/>
                      <a:pt x="74" y="119"/>
                      <a:pt x="76" y="118"/>
                    </a:cubicBezTo>
                    <a:cubicBezTo>
                      <a:pt x="78" y="117"/>
                      <a:pt x="81" y="120"/>
                      <a:pt x="81" y="120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96" y="120"/>
                      <a:pt x="99" y="123"/>
                      <a:pt x="102" y="123"/>
                    </a:cubicBezTo>
                    <a:cubicBezTo>
                      <a:pt x="105" y="123"/>
                      <a:pt x="103" y="118"/>
                      <a:pt x="109" y="118"/>
                    </a:cubicBezTo>
                    <a:cubicBezTo>
                      <a:pt x="114" y="118"/>
                      <a:pt x="113" y="110"/>
                      <a:pt x="116" y="110"/>
                    </a:cubicBezTo>
                    <a:cubicBezTo>
                      <a:pt x="119" y="110"/>
                      <a:pt x="119" y="111"/>
                      <a:pt x="122" y="106"/>
                    </a:cubicBezTo>
                    <a:cubicBezTo>
                      <a:pt x="122" y="106"/>
                      <a:pt x="122" y="106"/>
                      <a:pt x="122" y="105"/>
                    </a:cubicBezTo>
                    <a:cubicBezTo>
                      <a:pt x="122" y="104"/>
                      <a:pt x="122" y="102"/>
                      <a:pt x="122" y="101"/>
                    </a:cubicBezTo>
                    <a:cubicBezTo>
                      <a:pt x="123" y="96"/>
                      <a:pt x="119" y="96"/>
                      <a:pt x="117" y="88"/>
                    </a:cubicBezTo>
                    <a:cubicBezTo>
                      <a:pt x="115" y="81"/>
                      <a:pt x="105" y="70"/>
                      <a:pt x="105" y="65"/>
                    </a:cubicBezTo>
                    <a:cubicBezTo>
                      <a:pt x="105" y="61"/>
                      <a:pt x="100" y="59"/>
                      <a:pt x="100" y="54"/>
                    </a:cubicBezTo>
                    <a:cubicBezTo>
                      <a:pt x="100" y="49"/>
                      <a:pt x="97" y="49"/>
                      <a:pt x="92" y="41"/>
                    </a:cubicBezTo>
                    <a:cubicBezTo>
                      <a:pt x="87" y="34"/>
                      <a:pt x="85" y="21"/>
                      <a:pt x="87" y="21"/>
                    </a:cubicBezTo>
                    <a:cubicBezTo>
                      <a:pt x="88" y="20"/>
                      <a:pt x="93" y="32"/>
                      <a:pt x="94" y="35"/>
                    </a:cubicBezTo>
                    <a:cubicBezTo>
                      <a:pt x="96" y="39"/>
                      <a:pt x="102" y="50"/>
                      <a:pt x="106" y="50"/>
                    </a:cubicBezTo>
                    <a:cubicBezTo>
                      <a:pt x="110" y="50"/>
                      <a:pt x="111" y="33"/>
                      <a:pt x="113" y="34"/>
                    </a:cubicBezTo>
                    <a:cubicBezTo>
                      <a:pt x="113" y="34"/>
                      <a:pt x="113" y="34"/>
                      <a:pt x="113" y="35"/>
                    </a:cubicBezTo>
                    <a:cubicBezTo>
                      <a:pt x="113" y="32"/>
                      <a:pt x="113" y="32"/>
                      <a:pt x="113" y="32"/>
                    </a:cubicBezTo>
                    <a:lnTo>
                      <a:pt x="115" y="27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2" name="Freeform 40">
                <a:extLst>
                  <a:ext uri="{FF2B5EF4-FFF2-40B4-BE49-F238E27FC236}">
                    <a16:creationId xmlns:a16="http://schemas.microsoft.com/office/drawing/2014/main" id="{61A2892E-D5DE-44AE-AEF9-0846CC1E5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3425" y="4056063"/>
                <a:ext cx="141287" cy="157163"/>
              </a:xfrm>
              <a:custGeom>
                <a:avLst/>
                <a:gdLst>
                  <a:gd name="T0" fmla="*/ 32 w 64"/>
                  <a:gd name="T1" fmla="*/ 68 h 71"/>
                  <a:gd name="T2" fmla="*/ 33 w 64"/>
                  <a:gd name="T3" fmla="*/ 59 h 71"/>
                  <a:gd name="T4" fmla="*/ 40 w 64"/>
                  <a:gd name="T5" fmla="*/ 54 h 71"/>
                  <a:gd name="T6" fmla="*/ 45 w 64"/>
                  <a:gd name="T7" fmla="*/ 48 h 71"/>
                  <a:gd name="T8" fmla="*/ 51 w 64"/>
                  <a:gd name="T9" fmla="*/ 55 h 71"/>
                  <a:gd name="T10" fmla="*/ 60 w 64"/>
                  <a:gd name="T11" fmla="*/ 56 h 71"/>
                  <a:gd name="T12" fmla="*/ 63 w 64"/>
                  <a:gd name="T13" fmla="*/ 43 h 71"/>
                  <a:gd name="T14" fmla="*/ 60 w 64"/>
                  <a:gd name="T15" fmla="*/ 31 h 71"/>
                  <a:gd name="T16" fmla="*/ 58 w 64"/>
                  <a:gd name="T17" fmla="*/ 22 h 71"/>
                  <a:gd name="T18" fmla="*/ 60 w 64"/>
                  <a:gd name="T19" fmla="*/ 13 h 71"/>
                  <a:gd name="T20" fmla="*/ 48 w 64"/>
                  <a:gd name="T21" fmla="*/ 13 h 71"/>
                  <a:gd name="T22" fmla="*/ 50 w 64"/>
                  <a:gd name="T23" fmla="*/ 1 h 71"/>
                  <a:gd name="T24" fmla="*/ 33 w 64"/>
                  <a:gd name="T25" fmla="*/ 0 h 71"/>
                  <a:gd name="T26" fmla="*/ 31 w 64"/>
                  <a:gd name="T27" fmla="*/ 1 h 71"/>
                  <a:gd name="T28" fmla="*/ 30 w 64"/>
                  <a:gd name="T29" fmla="*/ 15 h 71"/>
                  <a:gd name="T30" fmla="*/ 15 w 64"/>
                  <a:gd name="T31" fmla="*/ 16 h 71"/>
                  <a:gd name="T32" fmla="*/ 10 w 64"/>
                  <a:gd name="T33" fmla="*/ 17 h 71"/>
                  <a:gd name="T34" fmla="*/ 8 w 64"/>
                  <a:gd name="T35" fmla="*/ 19 h 71"/>
                  <a:gd name="T36" fmla="*/ 12 w 64"/>
                  <a:gd name="T37" fmla="*/ 25 h 71"/>
                  <a:gd name="T38" fmla="*/ 6 w 64"/>
                  <a:gd name="T39" fmla="*/ 30 h 71"/>
                  <a:gd name="T40" fmla="*/ 2 w 64"/>
                  <a:gd name="T41" fmla="*/ 37 h 71"/>
                  <a:gd name="T42" fmla="*/ 7 w 64"/>
                  <a:gd name="T43" fmla="*/ 47 h 71"/>
                  <a:gd name="T44" fmla="*/ 15 w 64"/>
                  <a:gd name="T45" fmla="*/ 57 h 71"/>
                  <a:gd name="T46" fmla="*/ 26 w 64"/>
                  <a:gd name="T47" fmla="*/ 71 h 71"/>
                  <a:gd name="T48" fmla="*/ 32 w 64"/>
                  <a:gd name="T49" fmla="*/ 6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4" h="71">
                    <a:moveTo>
                      <a:pt x="32" y="68"/>
                    </a:moveTo>
                    <a:cubicBezTo>
                      <a:pt x="37" y="68"/>
                      <a:pt x="35" y="64"/>
                      <a:pt x="33" y="59"/>
                    </a:cubicBezTo>
                    <a:cubicBezTo>
                      <a:pt x="31" y="53"/>
                      <a:pt x="37" y="54"/>
                      <a:pt x="40" y="54"/>
                    </a:cubicBezTo>
                    <a:cubicBezTo>
                      <a:pt x="44" y="54"/>
                      <a:pt x="42" y="48"/>
                      <a:pt x="45" y="48"/>
                    </a:cubicBezTo>
                    <a:cubicBezTo>
                      <a:pt x="48" y="48"/>
                      <a:pt x="48" y="55"/>
                      <a:pt x="51" y="55"/>
                    </a:cubicBezTo>
                    <a:cubicBezTo>
                      <a:pt x="54" y="54"/>
                      <a:pt x="56" y="57"/>
                      <a:pt x="60" y="56"/>
                    </a:cubicBezTo>
                    <a:cubicBezTo>
                      <a:pt x="63" y="55"/>
                      <a:pt x="63" y="48"/>
                      <a:pt x="63" y="43"/>
                    </a:cubicBezTo>
                    <a:cubicBezTo>
                      <a:pt x="63" y="37"/>
                      <a:pt x="64" y="33"/>
                      <a:pt x="60" y="31"/>
                    </a:cubicBezTo>
                    <a:cubicBezTo>
                      <a:pt x="57" y="29"/>
                      <a:pt x="54" y="24"/>
                      <a:pt x="58" y="22"/>
                    </a:cubicBezTo>
                    <a:cubicBezTo>
                      <a:pt x="62" y="20"/>
                      <a:pt x="63" y="15"/>
                      <a:pt x="60" y="13"/>
                    </a:cubicBezTo>
                    <a:cubicBezTo>
                      <a:pt x="56" y="10"/>
                      <a:pt x="48" y="15"/>
                      <a:pt x="48" y="13"/>
                    </a:cubicBezTo>
                    <a:cubicBezTo>
                      <a:pt x="48" y="11"/>
                      <a:pt x="49" y="6"/>
                      <a:pt x="50" y="1"/>
                    </a:cubicBezTo>
                    <a:cubicBezTo>
                      <a:pt x="42" y="1"/>
                      <a:pt x="33" y="0"/>
                      <a:pt x="33" y="0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1" y="9"/>
                      <a:pt x="30" y="15"/>
                      <a:pt x="30" y="15"/>
                    </a:cubicBezTo>
                    <a:cubicBezTo>
                      <a:pt x="30" y="15"/>
                      <a:pt x="18" y="16"/>
                      <a:pt x="15" y="16"/>
                    </a:cubicBezTo>
                    <a:cubicBezTo>
                      <a:pt x="14" y="16"/>
                      <a:pt x="12" y="16"/>
                      <a:pt x="10" y="17"/>
                    </a:cubicBezTo>
                    <a:cubicBezTo>
                      <a:pt x="9" y="18"/>
                      <a:pt x="8" y="19"/>
                      <a:pt x="8" y="19"/>
                    </a:cubicBezTo>
                    <a:cubicBezTo>
                      <a:pt x="6" y="21"/>
                      <a:pt x="11" y="23"/>
                      <a:pt x="12" y="25"/>
                    </a:cubicBezTo>
                    <a:cubicBezTo>
                      <a:pt x="13" y="27"/>
                      <a:pt x="6" y="26"/>
                      <a:pt x="6" y="30"/>
                    </a:cubicBezTo>
                    <a:cubicBezTo>
                      <a:pt x="6" y="33"/>
                      <a:pt x="4" y="35"/>
                      <a:pt x="2" y="37"/>
                    </a:cubicBezTo>
                    <a:cubicBezTo>
                      <a:pt x="0" y="38"/>
                      <a:pt x="7" y="45"/>
                      <a:pt x="7" y="47"/>
                    </a:cubicBezTo>
                    <a:cubicBezTo>
                      <a:pt x="7" y="49"/>
                      <a:pt x="9" y="51"/>
                      <a:pt x="15" y="57"/>
                    </a:cubicBezTo>
                    <a:cubicBezTo>
                      <a:pt x="21" y="63"/>
                      <a:pt x="18" y="64"/>
                      <a:pt x="26" y="71"/>
                    </a:cubicBezTo>
                    <a:cubicBezTo>
                      <a:pt x="27" y="69"/>
                      <a:pt x="29" y="68"/>
                      <a:pt x="32" y="6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3" name="Freeform 41">
                <a:extLst>
                  <a:ext uri="{FF2B5EF4-FFF2-40B4-BE49-F238E27FC236}">
                    <a16:creationId xmlns:a16="http://schemas.microsoft.com/office/drawing/2014/main" id="{9177DF31-BA60-4EF0-BEEF-89989B924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7713" y="4059238"/>
                <a:ext cx="53975" cy="34925"/>
              </a:xfrm>
              <a:custGeom>
                <a:avLst/>
                <a:gdLst>
                  <a:gd name="T0" fmla="*/ 24 w 25"/>
                  <a:gd name="T1" fmla="*/ 14 h 16"/>
                  <a:gd name="T2" fmla="*/ 25 w 25"/>
                  <a:gd name="T3" fmla="*/ 0 h 16"/>
                  <a:gd name="T4" fmla="*/ 22 w 25"/>
                  <a:gd name="T5" fmla="*/ 1 h 16"/>
                  <a:gd name="T6" fmla="*/ 6 w 25"/>
                  <a:gd name="T7" fmla="*/ 1 h 16"/>
                  <a:gd name="T8" fmla="*/ 7 w 25"/>
                  <a:gd name="T9" fmla="*/ 1 h 16"/>
                  <a:gd name="T10" fmla="*/ 4 w 25"/>
                  <a:gd name="T11" fmla="*/ 8 h 16"/>
                  <a:gd name="T12" fmla="*/ 3 w 25"/>
                  <a:gd name="T13" fmla="*/ 13 h 16"/>
                  <a:gd name="T14" fmla="*/ 4 w 25"/>
                  <a:gd name="T15" fmla="*/ 16 h 16"/>
                  <a:gd name="T16" fmla="*/ 9 w 25"/>
                  <a:gd name="T17" fmla="*/ 15 h 16"/>
                  <a:gd name="T18" fmla="*/ 24 w 25"/>
                  <a:gd name="T19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16">
                    <a:moveTo>
                      <a:pt x="24" y="14"/>
                    </a:moveTo>
                    <a:cubicBezTo>
                      <a:pt x="24" y="14"/>
                      <a:pt x="25" y="8"/>
                      <a:pt x="25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7" y="1"/>
                    </a:cubicBezTo>
                    <a:cubicBezTo>
                      <a:pt x="8" y="4"/>
                      <a:pt x="7" y="7"/>
                      <a:pt x="4" y="8"/>
                    </a:cubicBezTo>
                    <a:cubicBezTo>
                      <a:pt x="0" y="10"/>
                      <a:pt x="1" y="13"/>
                      <a:pt x="3" y="13"/>
                    </a:cubicBezTo>
                    <a:cubicBezTo>
                      <a:pt x="5" y="13"/>
                      <a:pt x="5" y="14"/>
                      <a:pt x="4" y="16"/>
                    </a:cubicBezTo>
                    <a:cubicBezTo>
                      <a:pt x="6" y="15"/>
                      <a:pt x="8" y="15"/>
                      <a:pt x="9" y="15"/>
                    </a:cubicBezTo>
                    <a:cubicBezTo>
                      <a:pt x="12" y="15"/>
                      <a:pt x="24" y="14"/>
                      <a:pt x="24" y="1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4" name="Freeform 42">
                <a:extLst>
                  <a:ext uri="{FF2B5EF4-FFF2-40B4-BE49-F238E27FC236}">
                    <a16:creationId xmlns:a16="http://schemas.microsoft.com/office/drawing/2014/main" id="{7B55EACE-3868-42CA-ACF7-A023D5FD5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4021138"/>
                <a:ext cx="176212" cy="220663"/>
              </a:xfrm>
              <a:custGeom>
                <a:avLst/>
                <a:gdLst>
                  <a:gd name="T0" fmla="*/ 22 w 80"/>
                  <a:gd name="T1" fmla="*/ 94 h 100"/>
                  <a:gd name="T2" fmla="*/ 29 w 80"/>
                  <a:gd name="T3" fmla="*/ 95 h 100"/>
                  <a:gd name="T4" fmla="*/ 38 w 80"/>
                  <a:gd name="T5" fmla="*/ 96 h 100"/>
                  <a:gd name="T6" fmla="*/ 43 w 80"/>
                  <a:gd name="T7" fmla="*/ 95 h 100"/>
                  <a:gd name="T8" fmla="*/ 50 w 80"/>
                  <a:gd name="T9" fmla="*/ 89 h 100"/>
                  <a:gd name="T10" fmla="*/ 54 w 80"/>
                  <a:gd name="T11" fmla="*/ 80 h 100"/>
                  <a:gd name="T12" fmla="*/ 55 w 80"/>
                  <a:gd name="T13" fmla="*/ 61 h 100"/>
                  <a:gd name="T14" fmla="*/ 65 w 80"/>
                  <a:gd name="T15" fmla="*/ 49 h 100"/>
                  <a:gd name="T16" fmla="*/ 73 w 80"/>
                  <a:gd name="T17" fmla="*/ 25 h 100"/>
                  <a:gd name="T18" fmla="*/ 77 w 80"/>
                  <a:gd name="T19" fmla="*/ 13 h 100"/>
                  <a:gd name="T20" fmla="*/ 79 w 80"/>
                  <a:gd name="T21" fmla="*/ 2 h 100"/>
                  <a:gd name="T22" fmla="*/ 79 w 80"/>
                  <a:gd name="T23" fmla="*/ 2 h 100"/>
                  <a:gd name="T24" fmla="*/ 69 w 80"/>
                  <a:gd name="T25" fmla="*/ 0 h 100"/>
                  <a:gd name="T26" fmla="*/ 65 w 80"/>
                  <a:gd name="T27" fmla="*/ 2 h 100"/>
                  <a:gd name="T28" fmla="*/ 58 w 80"/>
                  <a:gd name="T29" fmla="*/ 3 h 100"/>
                  <a:gd name="T30" fmla="*/ 56 w 80"/>
                  <a:gd name="T31" fmla="*/ 11 h 100"/>
                  <a:gd name="T32" fmla="*/ 53 w 80"/>
                  <a:gd name="T33" fmla="*/ 23 h 100"/>
                  <a:gd name="T34" fmla="*/ 37 w 80"/>
                  <a:gd name="T35" fmla="*/ 17 h 100"/>
                  <a:gd name="T36" fmla="*/ 24 w 80"/>
                  <a:gd name="T37" fmla="*/ 17 h 100"/>
                  <a:gd name="T38" fmla="*/ 22 w 80"/>
                  <a:gd name="T39" fmla="*/ 29 h 100"/>
                  <a:gd name="T40" fmla="*/ 34 w 80"/>
                  <a:gd name="T41" fmla="*/ 29 h 100"/>
                  <a:gd name="T42" fmla="*/ 32 w 80"/>
                  <a:gd name="T43" fmla="*/ 38 h 100"/>
                  <a:gd name="T44" fmla="*/ 34 w 80"/>
                  <a:gd name="T45" fmla="*/ 47 h 100"/>
                  <a:gd name="T46" fmla="*/ 37 w 80"/>
                  <a:gd name="T47" fmla="*/ 59 h 100"/>
                  <a:gd name="T48" fmla="*/ 34 w 80"/>
                  <a:gd name="T49" fmla="*/ 72 h 100"/>
                  <a:gd name="T50" fmla="*/ 25 w 80"/>
                  <a:gd name="T51" fmla="*/ 71 h 100"/>
                  <a:gd name="T52" fmla="*/ 19 w 80"/>
                  <a:gd name="T53" fmla="*/ 64 h 100"/>
                  <a:gd name="T54" fmla="*/ 14 w 80"/>
                  <a:gd name="T55" fmla="*/ 70 h 100"/>
                  <a:gd name="T56" fmla="*/ 7 w 80"/>
                  <a:gd name="T57" fmla="*/ 75 h 100"/>
                  <a:gd name="T58" fmla="*/ 6 w 80"/>
                  <a:gd name="T59" fmla="*/ 84 h 100"/>
                  <a:gd name="T60" fmla="*/ 0 w 80"/>
                  <a:gd name="T61" fmla="*/ 87 h 100"/>
                  <a:gd name="T62" fmla="*/ 2 w 80"/>
                  <a:gd name="T63" fmla="*/ 88 h 100"/>
                  <a:gd name="T64" fmla="*/ 11 w 80"/>
                  <a:gd name="T65" fmla="*/ 100 h 100"/>
                  <a:gd name="T66" fmla="*/ 22 w 80"/>
                  <a:gd name="T67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0" h="100">
                    <a:moveTo>
                      <a:pt x="22" y="94"/>
                    </a:moveTo>
                    <a:cubicBezTo>
                      <a:pt x="24" y="95"/>
                      <a:pt x="25" y="98"/>
                      <a:pt x="29" y="95"/>
                    </a:cubicBezTo>
                    <a:cubicBezTo>
                      <a:pt x="34" y="91"/>
                      <a:pt x="38" y="92"/>
                      <a:pt x="38" y="96"/>
                    </a:cubicBezTo>
                    <a:cubicBezTo>
                      <a:pt x="38" y="99"/>
                      <a:pt x="40" y="98"/>
                      <a:pt x="43" y="95"/>
                    </a:cubicBezTo>
                    <a:cubicBezTo>
                      <a:pt x="47" y="91"/>
                      <a:pt x="50" y="96"/>
                      <a:pt x="50" y="89"/>
                    </a:cubicBezTo>
                    <a:cubicBezTo>
                      <a:pt x="50" y="82"/>
                      <a:pt x="54" y="88"/>
                      <a:pt x="54" y="80"/>
                    </a:cubicBezTo>
                    <a:cubicBezTo>
                      <a:pt x="54" y="73"/>
                      <a:pt x="55" y="65"/>
                      <a:pt x="55" y="61"/>
                    </a:cubicBezTo>
                    <a:cubicBezTo>
                      <a:pt x="55" y="58"/>
                      <a:pt x="65" y="54"/>
                      <a:pt x="65" y="49"/>
                    </a:cubicBezTo>
                    <a:cubicBezTo>
                      <a:pt x="65" y="43"/>
                      <a:pt x="73" y="32"/>
                      <a:pt x="73" y="25"/>
                    </a:cubicBezTo>
                    <a:cubicBezTo>
                      <a:pt x="73" y="18"/>
                      <a:pt x="75" y="17"/>
                      <a:pt x="77" y="13"/>
                    </a:cubicBezTo>
                    <a:cubicBezTo>
                      <a:pt x="79" y="11"/>
                      <a:pt x="80" y="6"/>
                      <a:pt x="79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3"/>
                      <a:pt x="59" y="8"/>
                      <a:pt x="56" y="11"/>
                    </a:cubicBezTo>
                    <a:cubicBezTo>
                      <a:pt x="53" y="15"/>
                      <a:pt x="53" y="23"/>
                      <a:pt x="53" y="23"/>
                    </a:cubicBezTo>
                    <a:cubicBezTo>
                      <a:pt x="53" y="23"/>
                      <a:pt x="40" y="16"/>
                      <a:pt x="37" y="17"/>
                    </a:cubicBezTo>
                    <a:cubicBezTo>
                      <a:pt x="35" y="17"/>
                      <a:pt x="30" y="17"/>
                      <a:pt x="24" y="17"/>
                    </a:cubicBezTo>
                    <a:cubicBezTo>
                      <a:pt x="23" y="22"/>
                      <a:pt x="22" y="27"/>
                      <a:pt x="22" y="29"/>
                    </a:cubicBezTo>
                    <a:cubicBezTo>
                      <a:pt x="22" y="31"/>
                      <a:pt x="30" y="26"/>
                      <a:pt x="34" y="29"/>
                    </a:cubicBezTo>
                    <a:cubicBezTo>
                      <a:pt x="37" y="31"/>
                      <a:pt x="36" y="36"/>
                      <a:pt x="32" y="38"/>
                    </a:cubicBezTo>
                    <a:cubicBezTo>
                      <a:pt x="28" y="40"/>
                      <a:pt x="31" y="45"/>
                      <a:pt x="34" y="47"/>
                    </a:cubicBezTo>
                    <a:cubicBezTo>
                      <a:pt x="38" y="49"/>
                      <a:pt x="37" y="53"/>
                      <a:pt x="37" y="59"/>
                    </a:cubicBezTo>
                    <a:cubicBezTo>
                      <a:pt x="37" y="64"/>
                      <a:pt x="37" y="71"/>
                      <a:pt x="34" y="72"/>
                    </a:cubicBezTo>
                    <a:cubicBezTo>
                      <a:pt x="30" y="73"/>
                      <a:pt x="28" y="70"/>
                      <a:pt x="25" y="71"/>
                    </a:cubicBezTo>
                    <a:cubicBezTo>
                      <a:pt x="22" y="71"/>
                      <a:pt x="22" y="64"/>
                      <a:pt x="19" y="64"/>
                    </a:cubicBezTo>
                    <a:cubicBezTo>
                      <a:pt x="16" y="64"/>
                      <a:pt x="18" y="70"/>
                      <a:pt x="14" y="70"/>
                    </a:cubicBezTo>
                    <a:cubicBezTo>
                      <a:pt x="11" y="70"/>
                      <a:pt x="5" y="69"/>
                      <a:pt x="7" y="75"/>
                    </a:cubicBezTo>
                    <a:cubicBezTo>
                      <a:pt x="9" y="80"/>
                      <a:pt x="11" y="84"/>
                      <a:pt x="6" y="84"/>
                    </a:cubicBezTo>
                    <a:cubicBezTo>
                      <a:pt x="3" y="84"/>
                      <a:pt x="1" y="85"/>
                      <a:pt x="0" y="87"/>
                    </a:cubicBezTo>
                    <a:cubicBezTo>
                      <a:pt x="1" y="87"/>
                      <a:pt x="1" y="88"/>
                      <a:pt x="2" y="88"/>
                    </a:cubicBezTo>
                    <a:cubicBezTo>
                      <a:pt x="6" y="92"/>
                      <a:pt x="9" y="96"/>
                      <a:pt x="11" y="100"/>
                    </a:cubicBezTo>
                    <a:cubicBezTo>
                      <a:pt x="16" y="97"/>
                      <a:pt x="21" y="94"/>
                      <a:pt x="22" y="9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5" name="Freeform 43">
                <a:extLst>
                  <a:ext uri="{FF2B5EF4-FFF2-40B4-BE49-F238E27FC236}">
                    <a16:creationId xmlns:a16="http://schemas.microsoft.com/office/drawing/2014/main" id="{6F100595-2A3B-47CB-AEFA-E59A94450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521075"/>
                <a:ext cx="411162" cy="506413"/>
              </a:xfrm>
              <a:custGeom>
                <a:avLst/>
                <a:gdLst>
                  <a:gd name="T0" fmla="*/ 141 w 187"/>
                  <a:gd name="T1" fmla="*/ 13 h 231"/>
                  <a:gd name="T2" fmla="*/ 128 w 187"/>
                  <a:gd name="T3" fmla="*/ 15 h 231"/>
                  <a:gd name="T4" fmla="*/ 108 w 187"/>
                  <a:gd name="T5" fmla="*/ 13 h 231"/>
                  <a:gd name="T6" fmla="*/ 35 w 187"/>
                  <a:gd name="T7" fmla="*/ 16 h 231"/>
                  <a:gd name="T8" fmla="*/ 25 w 187"/>
                  <a:gd name="T9" fmla="*/ 39 h 231"/>
                  <a:gd name="T10" fmla="*/ 23 w 187"/>
                  <a:gd name="T11" fmla="*/ 88 h 231"/>
                  <a:gd name="T12" fmla="*/ 9 w 187"/>
                  <a:gd name="T13" fmla="*/ 101 h 231"/>
                  <a:gd name="T14" fmla="*/ 4 w 187"/>
                  <a:gd name="T15" fmla="*/ 118 h 231"/>
                  <a:gd name="T16" fmla="*/ 7 w 187"/>
                  <a:gd name="T17" fmla="*/ 132 h 231"/>
                  <a:gd name="T18" fmla="*/ 11 w 187"/>
                  <a:gd name="T19" fmla="*/ 144 h 231"/>
                  <a:gd name="T20" fmla="*/ 20 w 187"/>
                  <a:gd name="T21" fmla="*/ 165 h 231"/>
                  <a:gd name="T22" fmla="*/ 24 w 187"/>
                  <a:gd name="T23" fmla="*/ 170 h 231"/>
                  <a:gd name="T24" fmla="*/ 34 w 187"/>
                  <a:gd name="T25" fmla="*/ 178 h 231"/>
                  <a:gd name="T26" fmla="*/ 46 w 187"/>
                  <a:gd name="T27" fmla="*/ 191 h 231"/>
                  <a:gd name="T28" fmla="*/ 58 w 187"/>
                  <a:gd name="T29" fmla="*/ 204 h 231"/>
                  <a:gd name="T30" fmla="*/ 64 w 187"/>
                  <a:gd name="T31" fmla="*/ 213 h 231"/>
                  <a:gd name="T32" fmla="*/ 75 w 187"/>
                  <a:gd name="T33" fmla="*/ 219 h 231"/>
                  <a:gd name="T34" fmla="*/ 87 w 187"/>
                  <a:gd name="T35" fmla="*/ 218 h 231"/>
                  <a:gd name="T36" fmla="*/ 109 w 187"/>
                  <a:gd name="T37" fmla="*/ 227 h 231"/>
                  <a:gd name="T38" fmla="*/ 124 w 187"/>
                  <a:gd name="T39" fmla="*/ 227 h 231"/>
                  <a:gd name="T40" fmla="*/ 135 w 187"/>
                  <a:gd name="T41" fmla="*/ 223 h 231"/>
                  <a:gd name="T42" fmla="*/ 145 w 187"/>
                  <a:gd name="T43" fmla="*/ 215 h 231"/>
                  <a:gd name="T44" fmla="*/ 155 w 187"/>
                  <a:gd name="T45" fmla="*/ 217 h 231"/>
                  <a:gd name="T46" fmla="*/ 144 w 187"/>
                  <a:gd name="T47" fmla="*/ 199 h 231"/>
                  <a:gd name="T48" fmla="*/ 124 w 187"/>
                  <a:gd name="T49" fmla="*/ 181 h 231"/>
                  <a:gd name="T50" fmla="*/ 135 w 187"/>
                  <a:gd name="T51" fmla="*/ 172 h 231"/>
                  <a:gd name="T52" fmla="*/ 140 w 187"/>
                  <a:gd name="T53" fmla="*/ 149 h 231"/>
                  <a:gd name="T54" fmla="*/ 149 w 187"/>
                  <a:gd name="T55" fmla="*/ 133 h 231"/>
                  <a:gd name="T56" fmla="*/ 160 w 187"/>
                  <a:gd name="T57" fmla="*/ 119 h 231"/>
                  <a:gd name="T58" fmla="*/ 165 w 187"/>
                  <a:gd name="T59" fmla="*/ 91 h 231"/>
                  <a:gd name="T60" fmla="*/ 176 w 187"/>
                  <a:gd name="T61" fmla="*/ 73 h 231"/>
                  <a:gd name="T62" fmla="*/ 180 w 187"/>
                  <a:gd name="T63" fmla="*/ 57 h 231"/>
                  <a:gd name="T64" fmla="*/ 170 w 187"/>
                  <a:gd name="T65" fmla="*/ 21 h 231"/>
                  <a:gd name="T66" fmla="*/ 154 w 187"/>
                  <a:gd name="T67" fmla="*/ 0 h 231"/>
                  <a:gd name="T68" fmla="*/ 148 w 187"/>
                  <a:gd name="T69" fmla="*/ 5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7" h="231">
                    <a:moveTo>
                      <a:pt x="148" y="5"/>
                    </a:moveTo>
                    <a:cubicBezTo>
                      <a:pt x="145" y="5"/>
                      <a:pt x="146" y="13"/>
                      <a:pt x="141" y="13"/>
                    </a:cubicBezTo>
                    <a:cubicBezTo>
                      <a:pt x="135" y="13"/>
                      <a:pt x="137" y="18"/>
                      <a:pt x="134" y="18"/>
                    </a:cubicBezTo>
                    <a:cubicBezTo>
                      <a:pt x="131" y="18"/>
                      <a:pt x="128" y="15"/>
                      <a:pt x="128" y="15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15"/>
                      <a:pt x="110" y="12"/>
                      <a:pt x="108" y="13"/>
                    </a:cubicBezTo>
                    <a:cubicBezTo>
                      <a:pt x="106" y="14"/>
                      <a:pt x="104" y="16"/>
                      <a:pt x="104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29"/>
                      <a:pt x="35" y="39"/>
                      <a:pt x="35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76"/>
                      <a:pt x="25" y="76"/>
                      <a:pt x="25" y="76"/>
                    </a:cubicBezTo>
                    <a:cubicBezTo>
                      <a:pt x="25" y="76"/>
                      <a:pt x="25" y="87"/>
                      <a:pt x="23" y="88"/>
                    </a:cubicBezTo>
                    <a:cubicBezTo>
                      <a:pt x="21" y="89"/>
                      <a:pt x="14" y="91"/>
                      <a:pt x="14" y="94"/>
                    </a:cubicBezTo>
                    <a:cubicBezTo>
                      <a:pt x="14" y="98"/>
                      <a:pt x="13" y="100"/>
                      <a:pt x="9" y="101"/>
                    </a:cubicBezTo>
                    <a:cubicBezTo>
                      <a:pt x="6" y="102"/>
                      <a:pt x="9" y="109"/>
                      <a:pt x="4" y="109"/>
                    </a:cubicBezTo>
                    <a:cubicBezTo>
                      <a:pt x="0" y="109"/>
                      <a:pt x="7" y="115"/>
                      <a:pt x="4" y="118"/>
                    </a:cubicBezTo>
                    <a:cubicBezTo>
                      <a:pt x="1" y="121"/>
                      <a:pt x="2" y="124"/>
                      <a:pt x="5" y="124"/>
                    </a:cubicBezTo>
                    <a:cubicBezTo>
                      <a:pt x="9" y="124"/>
                      <a:pt x="7" y="128"/>
                      <a:pt x="7" y="132"/>
                    </a:cubicBezTo>
                    <a:cubicBezTo>
                      <a:pt x="7" y="137"/>
                      <a:pt x="13" y="139"/>
                      <a:pt x="13" y="139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1" y="144"/>
                      <a:pt x="19" y="153"/>
                      <a:pt x="20" y="155"/>
                    </a:cubicBezTo>
                    <a:cubicBezTo>
                      <a:pt x="20" y="157"/>
                      <a:pt x="25" y="163"/>
                      <a:pt x="20" y="165"/>
                    </a:cubicBezTo>
                    <a:cubicBezTo>
                      <a:pt x="16" y="167"/>
                      <a:pt x="19" y="169"/>
                      <a:pt x="19" y="169"/>
                    </a:cubicBezTo>
                    <a:cubicBezTo>
                      <a:pt x="24" y="170"/>
                      <a:pt x="24" y="170"/>
                      <a:pt x="24" y="170"/>
                    </a:cubicBezTo>
                    <a:cubicBezTo>
                      <a:pt x="25" y="173"/>
                      <a:pt x="25" y="173"/>
                      <a:pt x="25" y="173"/>
                    </a:cubicBezTo>
                    <a:cubicBezTo>
                      <a:pt x="25" y="173"/>
                      <a:pt x="31" y="173"/>
                      <a:pt x="34" y="178"/>
                    </a:cubicBezTo>
                    <a:cubicBezTo>
                      <a:pt x="38" y="182"/>
                      <a:pt x="39" y="182"/>
                      <a:pt x="39" y="185"/>
                    </a:cubicBezTo>
                    <a:cubicBezTo>
                      <a:pt x="39" y="187"/>
                      <a:pt x="42" y="187"/>
                      <a:pt x="46" y="191"/>
                    </a:cubicBezTo>
                    <a:cubicBezTo>
                      <a:pt x="50" y="194"/>
                      <a:pt x="50" y="196"/>
                      <a:pt x="50" y="198"/>
                    </a:cubicBezTo>
                    <a:cubicBezTo>
                      <a:pt x="50" y="201"/>
                      <a:pt x="58" y="204"/>
                      <a:pt x="58" y="204"/>
                    </a:cubicBezTo>
                    <a:cubicBezTo>
                      <a:pt x="61" y="211"/>
                      <a:pt x="61" y="211"/>
                      <a:pt x="61" y="211"/>
                    </a:cubicBezTo>
                    <a:cubicBezTo>
                      <a:pt x="62" y="211"/>
                      <a:pt x="63" y="212"/>
                      <a:pt x="64" y="213"/>
                    </a:cubicBezTo>
                    <a:cubicBezTo>
                      <a:pt x="65" y="217"/>
                      <a:pt x="68" y="219"/>
                      <a:pt x="68" y="219"/>
                    </a:cubicBezTo>
                    <a:cubicBezTo>
                      <a:pt x="68" y="219"/>
                      <a:pt x="73" y="222"/>
                      <a:pt x="75" y="219"/>
                    </a:cubicBezTo>
                    <a:cubicBezTo>
                      <a:pt x="78" y="216"/>
                      <a:pt x="82" y="220"/>
                      <a:pt x="82" y="220"/>
                    </a:cubicBezTo>
                    <a:cubicBezTo>
                      <a:pt x="82" y="220"/>
                      <a:pt x="85" y="217"/>
                      <a:pt x="87" y="218"/>
                    </a:cubicBezTo>
                    <a:cubicBezTo>
                      <a:pt x="89" y="219"/>
                      <a:pt x="95" y="224"/>
                      <a:pt x="100" y="229"/>
                    </a:cubicBezTo>
                    <a:cubicBezTo>
                      <a:pt x="101" y="229"/>
                      <a:pt x="106" y="227"/>
                      <a:pt x="109" y="227"/>
                    </a:cubicBezTo>
                    <a:cubicBezTo>
                      <a:pt x="111" y="227"/>
                      <a:pt x="115" y="231"/>
                      <a:pt x="116" y="229"/>
                    </a:cubicBezTo>
                    <a:cubicBezTo>
                      <a:pt x="117" y="228"/>
                      <a:pt x="122" y="226"/>
                      <a:pt x="124" y="227"/>
                    </a:cubicBezTo>
                    <a:cubicBezTo>
                      <a:pt x="126" y="228"/>
                      <a:pt x="131" y="228"/>
                      <a:pt x="131" y="226"/>
                    </a:cubicBezTo>
                    <a:cubicBezTo>
                      <a:pt x="131" y="225"/>
                      <a:pt x="133" y="224"/>
                      <a:pt x="135" y="223"/>
                    </a:cubicBezTo>
                    <a:cubicBezTo>
                      <a:pt x="135" y="222"/>
                      <a:pt x="136" y="221"/>
                      <a:pt x="136" y="221"/>
                    </a:cubicBezTo>
                    <a:cubicBezTo>
                      <a:pt x="137" y="219"/>
                      <a:pt x="143" y="215"/>
                      <a:pt x="145" y="215"/>
                    </a:cubicBezTo>
                    <a:cubicBezTo>
                      <a:pt x="148" y="214"/>
                      <a:pt x="151" y="214"/>
                      <a:pt x="152" y="215"/>
                    </a:cubicBezTo>
                    <a:cubicBezTo>
                      <a:pt x="152" y="216"/>
                      <a:pt x="154" y="217"/>
                      <a:pt x="155" y="217"/>
                    </a:cubicBezTo>
                    <a:cubicBezTo>
                      <a:pt x="156" y="211"/>
                      <a:pt x="157" y="207"/>
                      <a:pt x="155" y="207"/>
                    </a:cubicBezTo>
                    <a:cubicBezTo>
                      <a:pt x="152" y="207"/>
                      <a:pt x="146" y="204"/>
                      <a:pt x="144" y="199"/>
                    </a:cubicBezTo>
                    <a:cubicBezTo>
                      <a:pt x="142" y="193"/>
                      <a:pt x="136" y="190"/>
                      <a:pt x="135" y="186"/>
                    </a:cubicBezTo>
                    <a:cubicBezTo>
                      <a:pt x="133" y="183"/>
                      <a:pt x="126" y="184"/>
                      <a:pt x="124" y="181"/>
                    </a:cubicBezTo>
                    <a:cubicBezTo>
                      <a:pt x="123" y="178"/>
                      <a:pt x="126" y="178"/>
                      <a:pt x="126" y="174"/>
                    </a:cubicBezTo>
                    <a:cubicBezTo>
                      <a:pt x="126" y="171"/>
                      <a:pt x="135" y="173"/>
                      <a:pt x="135" y="172"/>
                    </a:cubicBezTo>
                    <a:cubicBezTo>
                      <a:pt x="136" y="172"/>
                      <a:pt x="137" y="164"/>
                      <a:pt x="137" y="160"/>
                    </a:cubicBezTo>
                    <a:cubicBezTo>
                      <a:pt x="137" y="156"/>
                      <a:pt x="142" y="151"/>
                      <a:pt x="140" y="149"/>
                    </a:cubicBezTo>
                    <a:cubicBezTo>
                      <a:pt x="138" y="147"/>
                      <a:pt x="142" y="147"/>
                      <a:pt x="145" y="144"/>
                    </a:cubicBezTo>
                    <a:cubicBezTo>
                      <a:pt x="148" y="142"/>
                      <a:pt x="146" y="136"/>
                      <a:pt x="149" y="133"/>
                    </a:cubicBezTo>
                    <a:cubicBezTo>
                      <a:pt x="151" y="131"/>
                      <a:pt x="153" y="125"/>
                      <a:pt x="156" y="125"/>
                    </a:cubicBezTo>
                    <a:cubicBezTo>
                      <a:pt x="158" y="125"/>
                      <a:pt x="160" y="122"/>
                      <a:pt x="160" y="119"/>
                    </a:cubicBezTo>
                    <a:cubicBezTo>
                      <a:pt x="160" y="117"/>
                      <a:pt x="165" y="111"/>
                      <a:pt x="165" y="106"/>
                    </a:cubicBezTo>
                    <a:cubicBezTo>
                      <a:pt x="164" y="101"/>
                      <a:pt x="162" y="95"/>
                      <a:pt x="165" y="91"/>
                    </a:cubicBezTo>
                    <a:cubicBezTo>
                      <a:pt x="169" y="87"/>
                      <a:pt x="170" y="83"/>
                      <a:pt x="169" y="80"/>
                    </a:cubicBezTo>
                    <a:cubicBezTo>
                      <a:pt x="169" y="76"/>
                      <a:pt x="174" y="75"/>
                      <a:pt x="176" y="73"/>
                    </a:cubicBezTo>
                    <a:cubicBezTo>
                      <a:pt x="177" y="72"/>
                      <a:pt x="183" y="70"/>
                      <a:pt x="187" y="63"/>
                    </a:cubicBezTo>
                    <a:cubicBezTo>
                      <a:pt x="184" y="60"/>
                      <a:pt x="181" y="58"/>
                      <a:pt x="180" y="57"/>
                    </a:cubicBezTo>
                    <a:cubicBezTo>
                      <a:pt x="176" y="55"/>
                      <a:pt x="173" y="48"/>
                      <a:pt x="173" y="39"/>
                    </a:cubicBezTo>
                    <a:cubicBezTo>
                      <a:pt x="173" y="30"/>
                      <a:pt x="171" y="23"/>
                      <a:pt x="170" y="21"/>
                    </a:cubicBezTo>
                    <a:cubicBezTo>
                      <a:pt x="170" y="18"/>
                      <a:pt x="166" y="12"/>
                      <a:pt x="161" y="9"/>
                    </a:cubicBezTo>
                    <a:cubicBezTo>
                      <a:pt x="157" y="7"/>
                      <a:pt x="155" y="4"/>
                      <a:pt x="154" y="0"/>
                    </a:cubicBezTo>
                    <a:cubicBezTo>
                      <a:pt x="154" y="1"/>
                      <a:pt x="154" y="1"/>
                      <a:pt x="154" y="1"/>
                    </a:cubicBezTo>
                    <a:cubicBezTo>
                      <a:pt x="151" y="6"/>
                      <a:pt x="151" y="5"/>
                      <a:pt x="148" y="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6" name="Freeform 44">
                <a:extLst>
                  <a:ext uri="{FF2B5EF4-FFF2-40B4-BE49-F238E27FC236}">
                    <a16:creationId xmlns:a16="http://schemas.microsoft.com/office/drawing/2014/main" id="{347007A3-D599-4E6C-806D-69C01A7F8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0350" y="3795713"/>
                <a:ext cx="49212" cy="47625"/>
              </a:xfrm>
              <a:custGeom>
                <a:avLst/>
                <a:gdLst>
                  <a:gd name="T0" fmla="*/ 8 w 22"/>
                  <a:gd name="T1" fmla="*/ 3 h 22"/>
                  <a:gd name="T2" fmla="*/ 2 w 22"/>
                  <a:gd name="T3" fmla="*/ 11 h 22"/>
                  <a:gd name="T4" fmla="*/ 2 w 22"/>
                  <a:gd name="T5" fmla="*/ 20 h 22"/>
                  <a:gd name="T6" fmla="*/ 8 w 22"/>
                  <a:gd name="T7" fmla="*/ 20 h 22"/>
                  <a:gd name="T8" fmla="*/ 14 w 22"/>
                  <a:gd name="T9" fmla="*/ 22 h 22"/>
                  <a:gd name="T10" fmla="*/ 18 w 22"/>
                  <a:gd name="T11" fmla="*/ 16 h 22"/>
                  <a:gd name="T12" fmla="*/ 12 w 22"/>
                  <a:gd name="T13" fmla="*/ 14 h 22"/>
                  <a:gd name="T14" fmla="*/ 19 w 22"/>
                  <a:gd name="T15" fmla="*/ 8 h 22"/>
                  <a:gd name="T16" fmla="*/ 18 w 22"/>
                  <a:gd name="T17" fmla="*/ 2 h 22"/>
                  <a:gd name="T18" fmla="*/ 16 w 22"/>
                  <a:gd name="T19" fmla="*/ 0 h 22"/>
                  <a:gd name="T20" fmla="*/ 13 w 22"/>
                  <a:gd name="T21" fmla="*/ 3 h 22"/>
                  <a:gd name="T22" fmla="*/ 8 w 22"/>
                  <a:gd name="T23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22">
                    <a:moveTo>
                      <a:pt x="8" y="3"/>
                    </a:moveTo>
                    <a:cubicBezTo>
                      <a:pt x="7" y="4"/>
                      <a:pt x="4" y="8"/>
                      <a:pt x="2" y="11"/>
                    </a:cubicBezTo>
                    <a:cubicBezTo>
                      <a:pt x="0" y="14"/>
                      <a:pt x="1" y="19"/>
                      <a:pt x="2" y="20"/>
                    </a:cubicBezTo>
                    <a:cubicBezTo>
                      <a:pt x="3" y="22"/>
                      <a:pt x="6" y="21"/>
                      <a:pt x="8" y="20"/>
                    </a:cubicBezTo>
                    <a:cubicBezTo>
                      <a:pt x="10" y="19"/>
                      <a:pt x="11" y="19"/>
                      <a:pt x="14" y="22"/>
                    </a:cubicBezTo>
                    <a:cubicBezTo>
                      <a:pt x="15" y="20"/>
                      <a:pt x="17" y="18"/>
                      <a:pt x="18" y="16"/>
                    </a:cubicBezTo>
                    <a:cubicBezTo>
                      <a:pt x="15" y="15"/>
                      <a:pt x="13" y="14"/>
                      <a:pt x="12" y="14"/>
                    </a:cubicBezTo>
                    <a:cubicBezTo>
                      <a:pt x="11" y="12"/>
                      <a:pt x="16" y="9"/>
                      <a:pt x="19" y="8"/>
                    </a:cubicBezTo>
                    <a:cubicBezTo>
                      <a:pt x="22" y="8"/>
                      <a:pt x="20" y="4"/>
                      <a:pt x="18" y="2"/>
                    </a:cubicBezTo>
                    <a:cubicBezTo>
                      <a:pt x="17" y="1"/>
                      <a:pt x="17" y="1"/>
                      <a:pt x="16" y="0"/>
                    </a:cubicBezTo>
                    <a:cubicBezTo>
                      <a:pt x="15" y="1"/>
                      <a:pt x="13" y="2"/>
                      <a:pt x="13" y="3"/>
                    </a:cubicBezTo>
                    <a:cubicBezTo>
                      <a:pt x="12" y="4"/>
                      <a:pt x="10" y="3"/>
                      <a:pt x="8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7" name="Freeform 45">
                <a:extLst>
                  <a:ext uri="{FF2B5EF4-FFF2-40B4-BE49-F238E27FC236}">
                    <a16:creationId xmlns:a16="http://schemas.microsoft.com/office/drawing/2014/main" id="{7B6E7779-FA9A-494E-9C22-27187E34F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588" y="3659188"/>
                <a:ext cx="166687" cy="144463"/>
              </a:xfrm>
              <a:custGeom>
                <a:avLst/>
                <a:gdLst>
                  <a:gd name="T0" fmla="*/ 14 w 76"/>
                  <a:gd name="T1" fmla="*/ 10 h 66"/>
                  <a:gd name="T2" fmla="*/ 7 w 76"/>
                  <a:gd name="T3" fmla="*/ 17 h 66"/>
                  <a:gd name="T4" fmla="*/ 3 w 76"/>
                  <a:gd name="T5" fmla="*/ 28 h 66"/>
                  <a:gd name="T6" fmla="*/ 3 w 76"/>
                  <a:gd name="T7" fmla="*/ 43 h 66"/>
                  <a:gd name="T8" fmla="*/ 12 w 76"/>
                  <a:gd name="T9" fmla="*/ 44 h 66"/>
                  <a:gd name="T10" fmla="*/ 16 w 76"/>
                  <a:gd name="T11" fmla="*/ 40 h 66"/>
                  <a:gd name="T12" fmla="*/ 21 w 76"/>
                  <a:gd name="T13" fmla="*/ 39 h 66"/>
                  <a:gd name="T14" fmla="*/ 28 w 76"/>
                  <a:gd name="T15" fmla="*/ 41 h 66"/>
                  <a:gd name="T16" fmla="*/ 33 w 76"/>
                  <a:gd name="T17" fmla="*/ 41 h 66"/>
                  <a:gd name="T18" fmla="*/ 44 w 76"/>
                  <a:gd name="T19" fmla="*/ 41 h 66"/>
                  <a:gd name="T20" fmla="*/ 68 w 76"/>
                  <a:gd name="T21" fmla="*/ 65 h 66"/>
                  <a:gd name="T22" fmla="*/ 68 w 76"/>
                  <a:gd name="T23" fmla="*/ 65 h 66"/>
                  <a:gd name="T24" fmla="*/ 73 w 76"/>
                  <a:gd name="T25" fmla="*/ 65 h 66"/>
                  <a:gd name="T26" fmla="*/ 76 w 76"/>
                  <a:gd name="T27" fmla="*/ 62 h 66"/>
                  <a:gd name="T28" fmla="*/ 64 w 76"/>
                  <a:gd name="T29" fmla="*/ 49 h 66"/>
                  <a:gd name="T30" fmla="*/ 46 w 76"/>
                  <a:gd name="T31" fmla="*/ 37 h 66"/>
                  <a:gd name="T32" fmla="*/ 39 w 76"/>
                  <a:gd name="T33" fmla="*/ 29 h 66"/>
                  <a:gd name="T34" fmla="*/ 31 w 76"/>
                  <a:gd name="T35" fmla="*/ 13 h 66"/>
                  <a:gd name="T36" fmla="*/ 25 w 76"/>
                  <a:gd name="T37" fmla="*/ 0 h 66"/>
                  <a:gd name="T38" fmla="*/ 14 w 76"/>
                  <a:gd name="T39" fmla="*/ 1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6" h="66">
                    <a:moveTo>
                      <a:pt x="14" y="10"/>
                    </a:moveTo>
                    <a:cubicBezTo>
                      <a:pt x="12" y="12"/>
                      <a:pt x="7" y="13"/>
                      <a:pt x="7" y="17"/>
                    </a:cubicBezTo>
                    <a:cubicBezTo>
                      <a:pt x="8" y="20"/>
                      <a:pt x="7" y="24"/>
                      <a:pt x="3" y="28"/>
                    </a:cubicBezTo>
                    <a:cubicBezTo>
                      <a:pt x="0" y="32"/>
                      <a:pt x="2" y="38"/>
                      <a:pt x="3" y="43"/>
                    </a:cubicBezTo>
                    <a:cubicBezTo>
                      <a:pt x="7" y="43"/>
                      <a:pt x="11" y="43"/>
                      <a:pt x="12" y="44"/>
                    </a:cubicBezTo>
                    <a:cubicBezTo>
                      <a:pt x="14" y="45"/>
                      <a:pt x="14" y="44"/>
                      <a:pt x="16" y="40"/>
                    </a:cubicBezTo>
                    <a:cubicBezTo>
                      <a:pt x="17" y="37"/>
                      <a:pt x="19" y="37"/>
                      <a:pt x="21" y="39"/>
                    </a:cubicBezTo>
                    <a:cubicBezTo>
                      <a:pt x="23" y="40"/>
                      <a:pt x="24" y="43"/>
                      <a:pt x="28" y="41"/>
                    </a:cubicBezTo>
                    <a:cubicBezTo>
                      <a:pt x="31" y="40"/>
                      <a:pt x="31" y="41"/>
                      <a:pt x="33" y="41"/>
                    </a:cubicBezTo>
                    <a:cubicBezTo>
                      <a:pt x="35" y="42"/>
                      <a:pt x="42" y="41"/>
                      <a:pt x="44" y="41"/>
                    </a:cubicBezTo>
                    <a:cubicBezTo>
                      <a:pt x="46" y="42"/>
                      <a:pt x="68" y="65"/>
                      <a:pt x="68" y="65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70" y="65"/>
                      <a:pt x="72" y="66"/>
                      <a:pt x="73" y="65"/>
                    </a:cubicBezTo>
                    <a:cubicBezTo>
                      <a:pt x="73" y="64"/>
                      <a:pt x="75" y="63"/>
                      <a:pt x="76" y="62"/>
                    </a:cubicBezTo>
                    <a:cubicBezTo>
                      <a:pt x="73" y="60"/>
                      <a:pt x="69" y="56"/>
                      <a:pt x="64" y="49"/>
                    </a:cubicBezTo>
                    <a:cubicBezTo>
                      <a:pt x="58" y="41"/>
                      <a:pt x="50" y="37"/>
                      <a:pt x="46" y="37"/>
                    </a:cubicBezTo>
                    <a:cubicBezTo>
                      <a:pt x="42" y="37"/>
                      <a:pt x="42" y="30"/>
                      <a:pt x="39" y="29"/>
                    </a:cubicBezTo>
                    <a:cubicBezTo>
                      <a:pt x="37" y="29"/>
                      <a:pt x="31" y="19"/>
                      <a:pt x="31" y="13"/>
                    </a:cubicBezTo>
                    <a:cubicBezTo>
                      <a:pt x="31" y="9"/>
                      <a:pt x="28" y="4"/>
                      <a:pt x="25" y="0"/>
                    </a:cubicBezTo>
                    <a:cubicBezTo>
                      <a:pt x="21" y="7"/>
                      <a:pt x="15" y="9"/>
                      <a:pt x="14" y="1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8" name="Freeform 46">
                <a:extLst>
                  <a:ext uri="{FF2B5EF4-FFF2-40B4-BE49-F238E27FC236}">
                    <a16:creationId xmlns:a16="http://schemas.microsoft.com/office/drawing/2014/main" id="{63F12FA7-C241-48A6-84AC-100F1B388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863" y="3740150"/>
                <a:ext cx="373062" cy="290513"/>
              </a:xfrm>
              <a:custGeom>
                <a:avLst/>
                <a:gdLst>
                  <a:gd name="T0" fmla="*/ 12 w 170"/>
                  <a:gd name="T1" fmla="*/ 86 h 132"/>
                  <a:gd name="T2" fmla="*/ 21 w 170"/>
                  <a:gd name="T3" fmla="*/ 99 h 132"/>
                  <a:gd name="T4" fmla="*/ 32 w 170"/>
                  <a:gd name="T5" fmla="*/ 107 h 132"/>
                  <a:gd name="T6" fmla="*/ 32 w 170"/>
                  <a:gd name="T7" fmla="*/ 117 h 132"/>
                  <a:gd name="T8" fmla="*/ 35 w 170"/>
                  <a:gd name="T9" fmla="*/ 119 h 132"/>
                  <a:gd name="T10" fmla="*/ 47 w 170"/>
                  <a:gd name="T11" fmla="*/ 121 h 132"/>
                  <a:gd name="T12" fmla="*/ 60 w 170"/>
                  <a:gd name="T13" fmla="*/ 128 h 132"/>
                  <a:gd name="T14" fmla="*/ 73 w 170"/>
                  <a:gd name="T15" fmla="*/ 131 h 132"/>
                  <a:gd name="T16" fmla="*/ 80 w 170"/>
                  <a:gd name="T17" fmla="*/ 125 h 132"/>
                  <a:gd name="T18" fmla="*/ 90 w 170"/>
                  <a:gd name="T19" fmla="*/ 123 h 132"/>
                  <a:gd name="T20" fmla="*/ 96 w 170"/>
                  <a:gd name="T21" fmla="*/ 125 h 132"/>
                  <a:gd name="T22" fmla="*/ 101 w 170"/>
                  <a:gd name="T23" fmla="*/ 123 h 132"/>
                  <a:gd name="T24" fmla="*/ 110 w 170"/>
                  <a:gd name="T25" fmla="*/ 122 h 132"/>
                  <a:gd name="T26" fmla="*/ 125 w 170"/>
                  <a:gd name="T27" fmla="*/ 114 h 132"/>
                  <a:gd name="T28" fmla="*/ 138 w 170"/>
                  <a:gd name="T29" fmla="*/ 112 h 132"/>
                  <a:gd name="T30" fmla="*/ 168 w 170"/>
                  <a:gd name="T31" fmla="*/ 82 h 132"/>
                  <a:gd name="T32" fmla="*/ 164 w 170"/>
                  <a:gd name="T33" fmla="*/ 79 h 132"/>
                  <a:gd name="T34" fmla="*/ 148 w 170"/>
                  <a:gd name="T35" fmla="*/ 76 h 132"/>
                  <a:gd name="T36" fmla="*/ 125 w 170"/>
                  <a:gd name="T37" fmla="*/ 68 h 132"/>
                  <a:gd name="T38" fmla="*/ 118 w 170"/>
                  <a:gd name="T39" fmla="*/ 61 h 132"/>
                  <a:gd name="T40" fmla="*/ 111 w 170"/>
                  <a:gd name="T41" fmla="*/ 51 h 132"/>
                  <a:gd name="T42" fmla="*/ 113 w 170"/>
                  <a:gd name="T43" fmla="*/ 47 h 132"/>
                  <a:gd name="T44" fmla="*/ 107 w 170"/>
                  <a:gd name="T45" fmla="*/ 45 h 132"/>
                  <a:gd name="T46" fmla="*/ 101 w 170"/>
                  <a:gd name="T47" fmla="*/ 45 h 132"/>
                  <a:gd name="T48" fmla="*/ 101 w 170"/>
                  <a:gd name="T49" fmla="*/ 36 h 132"/>
                  <a:gd name="T50" fmla="*/ 107 w 170"/>
                  <a:gd name="T51" fmla="*/ 28 h 132"/>
                  <a:gd name="T52" fmla="*/ 83 w 170"/>
                  <a:gd name="T53" fmla="*/ 4 h 132"/>
                  <a:gd name="T54" fmla="*/ 72 w 170"/>
                  <a:gd name="T55" fmla="*/ 4 h 132"/>
                  <a:gd name="T56" fmla="*/ 67 w 170"/>
                  <a:gd name="T57" fmla="*/ 4 h 132"/>
                  <a:gd name="T58" fmla="*/ 60 w 170"/>
                  <a:gd name="T59" fmla="*/ 2 h 132"/>
                  <a:gd name="T60" fmla="*/ 55 w 170"/>
                  <a:gd name="T61" fmla="*/ 3 h 132"/>
                  <a:gd name="T62" fmla="*/ 51 w 170"/>
                  <a:gd name="T63" fmla="*/ 7 h 132"/>
                  <a:gd name="T64" fmla="*/ 42 w 170"/>
                  <a:gd name="T65" fmla="*/ 6 h 132"/>
                  <a:gd name="T66" fmla="*/ 42 w 170"/>
                  <a:gd name="T67" fmla="*/ 6 h 132"/>
                  <a:gd name="T68" fmla="*/ 37 w 170"/>
                  <a:gd name="T69" fmla="*/ 19 h 132"/>
                  <a:gd name="T70" fmla="*/ 33 w 170"/>
                  <a:gd name="T71" fmla="*/ 25 h 132"/>
                  <a:gd name="T72" fmla="*/ 26 w 170"/>
                  <a:gd name="T73" fmla="*/ 33 h 132"/>
                  <a:gd name="T74" fmla="*/ 22 w 170"/>
                  <a:gd name="T75" fmla="*/ 44 h 132"/>
                  <a:gd name="T76" fmla="*/ 17 w 170"/>
                  <a:gd name="T77" fmla="*/ 49 h 132"/>
                  <a:gd name="T78" fmla="*/ 14 w 170"/>
                  <a:gd name="T79" fmla="*/ 60 h 132"/>
                  <a:gd name="T80" fmla="*/ 12 w 170"/>
                  <a:gd name="T81" fmla="*/ 72 h 132"/>
                  <a:gd name="T82" fmla="*/ 3 w 170"/>
                  <a:gd name="T83" fmla="*/ 74 h 132"/>
                  <a:gd name="T84" fmla="*/ 1 w 170"/>
                  <a:gd name="T85" fmla="*/ 81 h 132"/>
                  <a:gd name="T86" fmla="*/ 12 w 170"/>
                  <a:gd name="T87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0" h="132">
                    <a:moveTo>
                      <a:pt x="12" y="86"/>
                    </a:moveTo>
                    <a:cubicBezTo>
                      <a:pt x="13" y="90"/>
                      <a:pt x="19" y="93"/>
                      <a:pt x="21" y="99"/>
                    </a:cubicBezTo>
                    <a:cubicBezTo>
                      <a:pt x="23" y="104"/>
                      <a:pt x="29" y="107"/>
                      <a:pt x="32" y="107"/>
                    </a:cubicBezTo>
                    <a:cubicBezTo>
                      <a:pt x="34" y="107"/>
                      <a:pt x="33" y="111"/>
                      <a:pt x="32" y="117"/>
                    </a:cubicBezTo>
                    <a:cubicBezTo>
                      <a:pt x="33" y="118"/>
                      <a:pt x="34" y="118"/>
                      <a:pt x="35" y="119"/>
                    </a:cubicBezTo>
                    <a:cubicBezTo>
                      <a:pt x="37" y="120"/>
                      <a:pt x="44" y="119"/>
                      <a:pt x="47" y="121"/>
                    </a:cubicBezTo>
                    <a:cubicBezTo>
                      <a:pt x="49" y="123"/>
                      <a:pt x="57" y="128"/>
                      <a:pt x="60" y="128"/>
                    </a:cubicBezTo>
                    <a:cubicBezTo>
                      <a:pt x="62" y="128"/>
                      <a:pt x="71" y="130"/>
                      <a:pt x="73" y="131"/>
                    </a:cubicBezTo>
                    <a:cubicBezTo>
                      <a:pt x="74" y="132"/>
                      <a:pt x="76" y="127"/>
                      <a:pt x="80" y="125"/>
                    </a:cubicBezTo>
                    <a:cubicBezTo>
                      <a:pt x="84" y="122"/>
                      <a:pt x="89" y="121"/>
                      <a:pt x="90" y="123"/>
                    </a:cubicBezTo>
                    <a:cubicBezTo>
                      <a:pt x="91" y="124"/>
                      <a:pt x="94" y="126"/>
                      <a:pt x="96" y="125"/>
                    </a:cubicBezTo>
                    <a:cubicBezTo>
                      <a:pt x="96" y="125"/>
                      <a:pt x="99" y="124"/>
                      <a:pt x="101" y="123"/>
                    </a:cubicBezTo>
                    <a:cubicBezTo>
                      <a:pt x="105" y="122"/>
                      <a:pt x="109" y="122"/>
                      <a:pt x="110" y="122"/>
                    </a:cubicBezTo>
                    <a:cubicBezTo>
                      <a:pt x="112" y="122"/>
                      <a:pt x="118" y="114"/>
                      <a:pt x="125" y="114"/>
                    </a:cubicBezTo>
                    <a:cubicBezTo>
                      <a:pt x="132" y="114"/>
                      <a:pt x="134" y="115"/>
                      <a:pt x="138" y="112"/>
                    </a:cubicBezTo>
                    <a:cubicBezTo>
                      <a:pt x="141" y="108"/>
                      <a:pt x="165" y="84"/>
                      <a:pt x="168" y="82"/>
                    </a:cubicBezTo>
                    <a:cubicBezTo>
                      <a:pt x="170" y="80"/>
                      <a:pt x="166" y="79"/>
                      <a:pt x="164" y="79"/>
                    </a:cubicBezTo>
                    <a:cubicBezTo>
                      <a:pt x="161" y="79"/>
                      <a:pt x="156" y="79"/>
                      <a:pt x="148" y="76"/>
                    </a:cubicBezTo>
                    <a:cubicBezTo>
                      <a:pt x="140" y="73"/>
                      <a:pt x="128" y="68"/>
                      <a:pt x="125" y="68"/>
                    </a:cubicBezTo>
                    <a:cubicBezTo>
                      <a:pt x="123" y="67"/>
                      <a:pt x="120" y="62"/>
                      <a:pt x="118" y="61"/>
                    </a:cubicBezTo>
                    <a:cubicBezTo>
                      <a:pt x="116" y="60"/>
                      <a:pt x="112" y="53"/>
                      <a:pt x="111" y="51"/>
                    </a:cubicBezTo>
                    <a:cubicBezTo>
                      <a:pt x="111" y="50"/>
                      <a:pt x="111" y="49"/>
                      <a:pt x="113" y="47"/>
                    </a:cubicBezTo>
                    <a:cubicBezTo>
                      <a:pt x="110" y="44"/>
                      <a:pt x="109" y="44"/>
                      <a:pt x="107" y="45"/>
                    </a:cubicBezTo>
                    <a:cubicBezTo>
                      <a:pt x="105" y="46"/>
                      <a:pt x="102" y="47"/>
                      <a:pt x="101" y="45"/>
                    </a:cubicBezTo>
                    <a:cubicBezTo>
                      <a:pt x="100" y="44"/>
                      <a:pt x="99" y="39"/>
                      <a:pt x="101" y="36"/>
                    </a:cubicBezTo>
                    <a:cubicBezTo>
                      <a:pt x="104" y="33"/>
                      <a:pt x="107" y="28"/>
                      <a:pt x="107" y="28"/>
                    </a:cubicBezTo>
                    <a:cubicBezTo>
                      <a:pt x="107" y="28"/>
                      <a:pt x="85" y="5"/>
                      <a:pt x="83" y="4"/>
                    </a:cubicBezTo>
                    <a:cubicBezTo>
                      <a:pt x="81" y="4"/>
                      <a:pt x="74" y="5"/>
                      <a:pt x="72" y="4"/>
                    </a:cubicBezTo>
                    <a:cubicBezTo>
                      <a:pt x="70" y="4"/>
                      <a:pt x="70" y="3"/>
                      <a:pt x="67" y="4"/>
                    </a:cubicBezTo>
                    <a:cubicBezTo>
                      <a:pt x="63" y="6"/>
                      <a:pt x="62" y="3"/>
                      <a:pt x="60" y="2"/>
                    </a:cubicBezTo>
                    <a:cubicBezTo>
                      <a:pt x="58" y="0"/>
                      <a:pt x="56" y="0"/>
                      <a:pt x="55" y="3"/>
                    </a:cubicBezTo>
                    <a:cubicBezTo>
                      <a:pt x="53" y="7"/>
                      <a:pt x="53" y="8"/>
                      <a:pt x="51" y="7"/>
                    </a:cubicBezTo>
                    <a:cubicBezTo>
                      <a:pt x="50" y="6"/>
                      <a:pt x="46" y="6"/>
                      <a:pt x="42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11"/>
                      <a:pt x="37" y="17"/>
                      <a:pt x="37" y="19"/>
                    </a:cubicBezTo>
                    <a:cubicBezTo>
                      <a:pt x="37" y="22"/>
                      <a:pt x="35" y="25"/>
                      <a:pt x="33" y="25"/>
                    </a:cubicBezTo>
                    <a:cubicBezTo>
                      <a:pt x="30" y="25"/>
                      <a:pt x="28" y="31"/>
                      <a:pt x="26" y="33"/>
                    </a:cubicBezTo>
                    <a:cubicBezTo>
                      <a:pt x="23" y="36"/>
                      <a:pt x="25" y="42"/>
                      <a:pt x="22" y="44"/>
                    </a:cubicBezTo>
                    <a:cubicBezTo>
                      <a:pt x="19" y="47"/>
                      <a:pt x="15" y="47"/>
                      <a:pt x="17" y="49"/>
                    </a:cubicBezTo>
                    <a:cubicBezTo>
                      <a:pt x="19" y="51"/>
                      <a:pt x="14" y="56"/>
                      <a:pt x="14" y="60"/>
                    </a:cubicBezTo>
                    <a:cubicBezTo>
                      <a:pt x="14" y="64"/>
                      <a:pt x="13" y="72"/>
                      <a:pt x="12" y="72"/>
                    </a:cubicBezTo>
                    <a:cubicBezTo>
                      <a:pt x="12" y="73"/>
                      <a:pt x="3" y="71"/>
                      <a:pt x="3" y="74"/>
                    </a:cubicBezTo>
                    <a:cubicBezTo>
                      <a:pt x="3" y="78"/>
                      <a:pt x="0" y="78"/>
                      <a:pt x="1" y="81"/>
                    </a:cubicBezTo>
                    <a:cubicBezTo>
                      <a:pt x="3" y="84"/>
                      <a:pt x="10" y="83"/>
                      <a:pt x="12" y="8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69" name="Freeform 47">
                <a:extLst>
                  <a:ext uri="{FF2B5EF4-FFF2-40B4-BE49-F238E27FC236}">
                    <a16:creationId xmlns:a16="http://schemas.microsoft.com/office/drawing/2014/main" id="{CADE1070-0D27-429C-A870-6411D7858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013" y="3209925"/>
                <a:ext cx="39687" cy="46038"/>
              </a:xfrm>
              <a:custGeom>
                <a:avLst/>
                <a:gdLst>
                  <a:gd name="T0" fmla="*/ 14 w 18"/>
                  <a:gd name="T1" fmla="*/ 9 h 21"/>
                  <a:gd name="T2" fmla="*/ 9 w 18"/>
                  <a:gd name="T3" fmla="*/ 0 h 21"/>
                  <a:gd name="T4" fmla="*/ 9 w 18"/>
                  <a:gd name="T5" fmla="*/ 2 h 21"/>
                  <a:gd name="T6" fmla="*/ 0 w 18"/>
                  <a:gd name="T7" fmla="*/ 19 h 21"/>
                  <a:gd name="T8" fmla="*/ 6 w 18"/>
                  <a:gd name="T9" fmla="*/ 21 h 21"/>
                  <a:gd name="T10" fmla="*/ 14 w 18"/>
                  <a:gd name="T11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1">
                    <a:moveTo>
                      <a:pt x="14" y="9"/>
                    </a:moveTo>
                    <a:cubicBezTo>
                      <a:pt x="17" y="7"/>
                      <a:pt x="18" y="0"/>
                      <a:pt x="9" y="0"/>
                    </a:cubicBezTo>
                    <a:cubicBezTo>
                      <a:pt x="9" y="1"/>
                      <a:pt x="9" y="1"/>
                      <a:pt x="9" y="2"/>
                    </a:cubicBezTo>
                    <a:cubicBezTo>
                      <a:pt x="9" y="5"/>
                      <a:pt x="3" y="12"/>
                      <a:pt x="0" y="19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9" y="16"/>
                      <a:pt x="13" y="11"/>
                      <a:pt x="14" y="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0" name="Freeform 48">
                <a:extLst>
                  <a:ext uri="{FF2B5EF4-FFF2-40B4-BE49-F238E27FC236}">
                    <a16:creationId xmlns:a16="http://schemas.microsoft.com/office/drawing/2014/main" id="{95879228-438B-4EBF-B555-60D845161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300" y="3141663"/>
                <a:ext cx="168275" cy="136525"/>
              </a:xfrm>
              <a:custGeom>
                <a:avLst/>
                <a:gdLst>
                  <a:gd name="T0" fmla="*/ 8 w 77"/>
                  <a:gd name="T1" fmla="*/ 40 h 62"/>
                  <a:gd name="T2" fmla="*/ 0 w 77"/>
                  <a:gd name="T3" fmla="*/ 52 h 62"/>
                  <a:gd name="T4" fmla="*/ 0 w 77"/>
                  <a:gd name="T5" fmla="*/ 52 h 62"/>
                  <a:gd name="T6" fmla="*/ 1 w 77"/>
                  <a:gd name="T7" fmla="*/ 56 h 62"/>
                  <a:gd name="T8" fmla="*/ 12 w 77"/>
                  <a:gd name="T9" fmla="*/ 62 h 62"/>
                  <a:gd name="T10" fmla="*/ 22 w 77"/>
                  <a:gd name="T11" fmla="*/ 56 h 62"/>
                  <a:gd name="T12" fmla="*/ 61 w 77"/>
                  <a:gd name="T13" fmla="*/ 36 h 62"/>
                  <a:gd name="T14" fmla="*/ 64 w 77"/>
                  <a:gd name="T15" fmla="*/ 30 h 62"/>
                  <a:gd name="T16" fmla="*/ 64 w 77"/>
                  <a:gd name="T17" fmla="*/ 21 h 62"/>
                  <a:gd name="T18" fmla="*/ 64 w 77"/>
                  <a:gd name="T19" fmla="*/ 11 h 62"/>
                  <a:gd name="T20" fmla="*/ 71 w 77"/>
                  <a:gd name="T21" fmla="*/ 6 h 62"/>
                  <a:gd name="T22" fmla="*/ 77 w 77"/>
                  <a:gd name="T23" fmla="*/ 1 h 62"/>
                  <a:gd name="T24" fmla="*/ 73 w 77"/>
                  <a:gd name="T25" fmla="*/ 0 h 62"/>
                  <a:gd name="T26" fmla="*/ 60 w 77"/>
                  <a:gd name="T27" fmla="*/ 2 h 62"/>
                  <a:gd name="T28" fmla="*/ 45 w 77"/>
                  <a:gd name="T29" fmla="*/ 6 h 62"/>
                  <a:gd name="T30" fmla="*/ 32 w 77"/>
                  <a:gd name="T31" fmla="*/ 6 h 62"/>
                  <a:gd name="T32" fmla="*/ 25 w 77"/>
                  <a:gd name="T33" fmla="*/ 7 h 62"/>
                  <a:gd name="T34" fmla="*/ 15 w 77"/>
                  <a:gd name="T35" fmla="*/ 7 h 62"/>
                  <a:gd name="T36" fmla="*/ 11 w 77"/>
                  <a:gd name="T37" fmla="*/ 10 h 62"/>
                  <a:gd name="T38" fmla="*/ 4 w 77"/>
                  <a:gd name="T39" fmla="*/ 17 h 62"/>
                  <a:gd name="T40" fmla="*/ 4 w 77"/>
                  <a:gd name="T41" fmla="*/ 23 h 62"/>
                  <a:gd name="T42" fmla="*/ 3 w 77"/>
                  <a:gd name="T43" fmla="*/ 31 h 62"/>
                  <a:gd name="T44" fmla="*/ 8 w 77"/>
                  <a:gd name="T45" fmla="*/ 4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62">
                    <a:moveTo>
                      <a:pt x="8" y="40"/>
                    </a:moveTo>
                    <a:cubicBezTo>
                      <a:pt x="7" y="42"/>
                      <a:pt x="3" y="47"/>
                      <a:pt x="0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2" y="62"/>
                      <a:pt x="12" y="62"/>
                      <a:pt x="12" y="62"/>
                    </a:cubicBezTo>
                    <a:cubicBezTo>
                      <a:pt x="12" y="62"/>
                      <a:pt x="19" y="56"/>
                      <a:pt x="22" y="56"/>
                    </a:cubicBezTo>
                    <a:cubicBezTo>
                      <a:pt x="25" y="55"/>
                      <a:pt x="61" y="36"/>
                      <a:pt x="61" y="36"/>
                    </a:cubicBezTo>
                    <a:cubicBezTo>
                      <a:pt x="61" y="36"/>
                      <a:pt x="64" y="31"/>
                      <a:pt x="64" y="30"/>
                    </a:cubicBezTo>
                    <a:cubicBezTo>
                      <a:pt x="63" y="28"/>
                      <a:pt x="63" y="23"/>
                      <a:pt x="64" y="21"/>
                    </a:cubicBezTo>
                    <a:cubicBezTo>
                      <a:pt x="66" y="18"/>
                      <a:pt x="62" y="15"/>
                      <a:pt x="64" y="11"/>
                    </a:cubicBezTo>
                    <a:cubicBezTo>
                      <a:pt x="65" y="8"/>
                      <a:pt x="71" y="6"/>
                      <a:pt x="71" y="6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67" y="2"/>
                      <a:pt x="60" y="2"/>
                    </a:cubicBezTo>
                    <a:cubicBezTo>
                      <a:pt x="54" y="1"/>
                      <a:pt x="52" y="6"/>
                      <a:pt x="45" y="6"/>
                    </a:cubicBezTo>
                    <a:cubicBezTo>
                      <a:pt x="38" y="6"/>
                      <a:pt x="34" y="8"/>
                      <a:pt x="32" y="6"/>
                    </a:cubicBezTo>
                    <a:cubicBezTo>
                      <a:pt x="31" y="3"/>
                      <a:pt x="30" y="5"/>
                      <a:pt x="25" y="7"/>
                    </a:cubicBezTo>
                    <a:cubicBezTo>
                      <a:pt x="20" y="9"/>
                      <a:pt x="17" y="9"/>
                      <a:pt x="15" y="7"/>
                    </a:cubicBezTo>
                    <a:cubicBezTo>
                      <a:pt x="13" y="5"/>
                      <a:pt x="11" y="7"/>
                      <a:pt x="11" y="10"/>
                    </a:cubicBezTo>
                    <a:cubicBezTo>
                      <a:pt x="10" y="12"/>
                      <a:pt x="11" y="16"/>
                      <a:pt x="4" y="17"/>
                    </a:cubicBezTo>
                    <a:cubicBezTo>
                      <a:pt x="3" y="19"/>
                      <a:pt x="3" y="22"/>
                      <a:pt x="4" y="23"/>
                    </a:cubicBezTo>
                    <a:cubicBezTo>
                      <a:pt x="6" y="25"/>
                      <a:pt x="3" y="28"/>
                      <a:pt x="3" y="31"/>
                    </a:cubicBezTo>
                    <a:cubicBezTo>
                      <a:pt x="12" y="31"/>
                      <a:pt x="11" y="38"/>
                      <a:pt x="8" y="4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1" name="Freeform 49">
                <a:extLst>
                  <a:ext uri="{FF2B5EF4-FFF2-40B4-BE49-F238E27FC236}">
                    <a16:creationId xmlns:a16="http://schemas.microsoft.com/office/drawing/2014/main" id="{0FE117DD-E4C4-41D9-B448-2D8DB3F70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9975" y="3109913"/>
                <a:ext cx="96837" cy="117475"/>
              </a:xfrm>
              <a:custGeom>
                <a:avLst/>
                <a:gdLst>
                  <a:gd name="T0" fmla="*/ 11 w 44"/>
                  <a:gd name="T1" fmla="*/ 4 h 53"/>
                  <a:gd name="T2" fmla="*/ 4 w 44"/>
                  <a:gd name="T3" fmla="*/ 9 h 53"/>
                  <a:gd name="T4" fmla="*/ 8 w 44"/>
                  <a:gd name="T5" fmla="*/ 15 h 53"/>
                  <a:gd name="T6" fmla="*/ 7 w 44"/>
                  <a:gd name="T7" fmla="*/ 20 h 53"/>
                  <a:gd name="T8" fmla="*/ 7 w 44"/>
                  <a:gd name="T9" fmla="*/ 31 h 53"/>
                  <a:gd name="T10" fmla="*/ 3 w 44"/>
                  <a:gd name="T11" fmla="*/ 44 h 53"/>
                  <a:gd name="T12" fmla="*/ 5 w 44"/>
                  <a:gd name="T13" fmla="*/ 52 h 53"/>
                  <a:gd name="T14" fmla="*/ 26 w 44"/>
                  <a:gd name="T15" fmla="*/ 45 h 53"/>
                  <a:gd name="T16" fmla="*/ 37 w 44"/>
                  <a:gd name="T17" fmla="*/ 40 h 53"/>
                  <a:gd name="T18" fmla="*/ 42 w 44"/>
                  <a:gd name="T19" fmla="*/ 35 h 53"/>
                  <a:gd name="T20" fmla="*/ 39 w 44"/>
                  <a:gd name="T21" fmla="*/ 19 h 53"/>
                  <a:gd name="T22" fmla="*/ 27 w 44"/>
                  <a:gd name="T23" fmla="*/ 0 h 53"/>
                  <a:gd name="T24" fmla="*/ 21 w 44"/>
                  <a:gd name="T25" fmla="*/ 2 h 53"/>
                  <a:gd name="T26" fmla="*/ 11 w 44"/>
                  <a:gd name="T27" fmla="*/ 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53">
                    <a:moveTo>
                      <a:pt x="11" y="4"/>
                    </a:moveTo>
                    <a:cubicBezTo>
                      <a:pt x="10" y="5"/>
                      <a:pt x="7" y="7"/>
                      <a:pt x="4" y="9"/>
                    </a:cubicBezTo>
                    <a:cubicBezTo>
                      <a:pt x="6" y="12"/>
                      <a:pt x="5" y="15"/>
                      <a:pt x="8" y="15"/>
                    </a:cubicBezTo>
                    <a:cubicBezTo>
                      <a:pt x="11" y="16"/>
                      <a:pt x="11" y="21"/>
                      <a:pt x="7" y="20"/>
                    </a:cubicBezTo>
                    <a:cubicBezTo>
                      <a:pt x="3" y="19"/>
                      <a:pt x="3" y="25"/>
                      <a:pt x="7" y="31"/>
                    </a:cubicBezTo>
                    <a:cubicBezTo>
                      <a:pt x="10" y="36"/>
                      <a:pt x="0" y="42"/>
                      <a:pt x="3" y="44"/>
                    </a:cubicBezTo>
                    <a:cubicBezTo>
                      <a:pt x="6" y="47"/>
                      <a:pt x="4" y="50"/>
                      <a:pt x="5" y="52"/>
                    </a:cubicBezTo>
                    <a:cubicBezTo>
                      <a:pt x="6" y="53"/>
                      <a:pt x="20" y="51"/>
                      <a:pt x="26" y="45"/>
                    </a:cubicBezTo>
                    <a:cubicBezTo>
                      <a:pt x="32" y="38"/>
                      <a:pt x="34" y="39"/>
                      <a:pt x="37" y="40"/>
                    </a:cubicBezTo>
                    <a:cubicBezTo>
                      <a:pt x="40" y="41"/>
                      <a:pt x="44" y="38"/>
                      <a:pt x="42" y="35"/>
                    </a:cubicBezTo>
                    <a:cubicBezTo>
                      <a:pt x="40" y="33"/>
                      <a:pt x="38" y="27"/>
                      <a:pt x="39" y="19"/>
                    </a:cubicBezTo>
                    <a:cubicBezTo>
                      <a:pt x="39" y="14"/>
                      <a:pt x="33" y="6"/>
                      <a:pt x="27" y="0"/>
                    </a:cubicBezTo>
                    <a:cubicBezTo>
                      <a:pt x="25" y="1"/>
                      <a:pt x="24" y="2"/>
                      <a:pt x="21" y="2"/>
                    </a:cubicBezTo>
                    <a:cubicBezTo>
                      <a:pt x="17" y="2"/>
                      <a:pt x="13" y="3"/>
                      <a:pt x="11" y="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2" name="Freeform 50">
                <a:extLst>
                  <a:ext uri="{FF2B5EF4-FFF2-40B4-BE49-F238E27FC236}">
                    <a16:creationId xmlns:a16="http://schemas.microsoft.com/office/drawing/2014/main" id="{BB46DFA8-C72A-4B4B-81DE-A3A7A48724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113" y="3441700"/>
                <a:ext cx="112712" cy="146050"/>
              </a:xfrm>
              <a:custGeom>
                <a:avLst/>
                <a:gdLst>
                  <a:gd name="T0" fmla="*/ 51 w 51"/>
                  <a:gd name="T1" fmla="*/ 55 h 66"/>
                  <a:gd name="T2" fmla="*/ 46 w 51"/>
                  <a:gd name="T3" fmla="*/ 33 h 66"/>
                  <a:gd name="T4" fmla="*/ 38 w 51"/>
                  <a:gd name="T5" fmla="*/ 42 h 66"/>
                  <a:gd name="T6" fmla="*/ 39 w 51"/>
                  <a:gd name="T7" fmla="*/ 30 h 66"/>
                  <a:gd name="T8" fmla="*/ 47 w 51"/>
                  <a:gd name="T9" fmla="*/ 19 h 66"/>
                  <a:gd name="T10" fmla="*/ 39 w 51"/>
                  <a:gd name="T11" fmla="*/ 16 h 66"/>
                  <a:gd name="T12" fmla="*/ 26 w 51"/>
                  <a:gd name="T13" fmla="*/ 17 h 66"/>
                  <a:gd name="T14" fmla="*/ 21 w 51"/>
                  <a:gd name="T15" fmla="*/ 11 h 66"/>
                  <a:gd name="T16" fmla="*/ 14 w 51"/>
                  <a:gd name="T17" fmla="*/ 5 h 66"/>
                  <a:gd name="T18" fmla="*/ 4 w 51"/>
                  <a:gd name="T19" fmla="*/ 5 h 66"/>
                  <a:gd name="T20" fmla="*/ 12 w 51"/>
                  <a:gd name="T21" fmla="*/ 15 h 66"/>
                  <a:gd name="T22" fmla="*/ 5 w 51"/>
                  <a:gd name="T23" fmla="*/ 19 h 66"/>
                  <a:gd name="T24" fmla="*/ 8 w 51"/>
                  <a:gd name="T25" fmla="*/ 36 h 66"/>
                  <a:gd name="T26" fmla="*/ 12 w 51"/>
                  <a:gd name="T27" fmla="*/ 57 h 66"/>
                  <a:gd name="T28" fmla="*/ 20 w 51"/>
                  <a:gd name="T29" fmla="*/ 55 h 66"/>
                  <a:gd name="T30" fmla="*/ 29 w 51"/>
                  <a:gd name="T31" fmla="*/ 50 h 66"/>
                  <a:gd name="T32" fmla="*/ 36 w 51"/>
                  <a:gd name="T33" fmla="*/ 45 h 66"/>
                  <a:gd name="T34" fmla="*/ 42 w 51"/>
                  <a:gd name="T35" fmla="*/ 60 h 66"/>
                  <a:gd name="T36" fmla="*/ 43 w 51"/>
                  <a:gd name="T37" fmla="*/ 66 h 66"/>
                  <a:gd name="T38" fmla="*/ 47 w 51"/>
                  <a:gd name="T39" fmla="*/ 63 h 66"/>
                  <a:gd name="T40" fmla="*/ 51 w 51"/>
                  <a:gd name="T4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66">
                    <a:moveTo>
                      <a:pt x="51" y="55"/>
                    </a:moveTo>
                    <a:cubicBezTo>
                      <a:pt x="49" y="44"/>
                      <a:pt x="47" y="33"/>
                      <a:pt x="46" y="33"/>
                    </a:cubicBezTo>
                    <a:cubicBezTo>
                      <a:pt x="44" y="33"/>
                      <a:pt x="41" y="43"/>
                      <a:pt x="38" y="42"/>
                    </a:cubicBezTo>
                    <a:cubicBezTo>
                      <a:pt x="35" y="42"/>
                      <a:pt x="35" y="30"/>
                      <a:pt x="39" y="30"/>
                    </a:cubicBezTo>
                    <a:cubicBezTo>
                      <a:pt x="43" y="30"/>
                      <a:pt x="47" y="21"/>
                      <a:pt x="47" y="19"/>
                    </a:cubicBezTo>
                    <a:cubicBezTo>
                      <a:pt x="47" y="16"/>
                      <a:pt x="43" y="16"/>
                      <a:pt x="39" y="16"/>
                    </a:cubicBezTo>
                    <a:cubicBezTo>
                      <a:pt x="35" y="16"/>
                      <a:pt x="26" y="17"/>
                      <a:pt x="26" y="17"/>
                    </a:cubicBezTo>
                    <a:cubicBezTo>
                      <a:pt x="26" y="17"/>
                      <a:pt x="21" y="15"/>
                      <a:pt x="21" y="11"/>
                    </a:cubicBezTo>
                    <a:cubicBezTo>
                      <a:pt x="21" y="8"/>
                      <a:pt x="19" y="5"/>
                      <a:pt x="14" y="5"/>
                    </a:cubicBezTo>
                    <a:cubicBezTo>
                      <a:pt x="8" y="5"/>
                      <a:pt x="8" y="0"/>
                      <a:pt x="4" y="5"/>
                    </a:cubicBezTo>
                    <a:cubicBezTo>
                      <a:pt x="0" y="11"/>
                      <a:pt x="13" y="11"/>
                      <a:pt x="12" y="15"/>
                    </a:cubicBezTo>
                    <a:cubicBezTo>
                      <a:pt x="10" y="19"/>
                      <a:pt x="6" y="16"/>
                      <a:pt x="5" y="19"/>
                    </a:cubicBezTo>
                    <a:cubicBezTo>
                      <a:pt x="5" y="23"/>
                      <a:pt x="6" y="31"/>
                      <a:pt x="8" y="36"/>
                    </a:cubicBezTo>
                    <a:cubicBezTo>
                      <a:pt x="10" y="40"/>
                      <a:pt x="12" y="49"/>
                      <a:pt x="12" y="57"/>
                    </a:cubicBezTo>
                    <a:cubicBezTo>
                      <a:pt x="15" y="56"/>
                      <a:pt x="17" y="55"/>
                      <a:pt x="20" y="55"/>
                    </a:cubicBezTo>
                    <a:cubicBezTo>
                      <a:pt x="23" y="55"/>
                      <a:pt x="28" y="54"/>
                      <a:pt x="29" y="50"/>
                    </a:cubicBezTo>
                    <a:cubicBezTo>
                      <a:pt x="29" y="47"/>
                      <a:pt x="33" y="44"/>
                      <a:pt x="36" y="45"/>
                    </a:cubicBezTo>
                    <a:cubicBezTo>
                      <a:pt x="38" y="46"/>
                      <a:pt x="41" y="55"/>
                      <a:pt x="42" y="60"/>
                    </a:cubicBezTo>
                    <a:cubicBezTo>
                      <a:pt x="42" y="62"/>
                      <a:pt x="42" y="64"/>
                      <a:pt x="43" y="66"/>
                    </a:cubicBezTo>
                    <a:cubicBezTo>
                      <a:pt x="45" y="64"/>
                      <a:pt x="47" y="63"/>
                      <a:pt x="47" y="63"/>
                    </a:cubicBezTo>
                    <a:cubicBezTo>
                      <a:pt x="47" y="63"/>
                      <a:pt x="49" y="57"/>
                      <a:pt x="51" y="5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3" name="Freeform 51">
                <a:extLst>
                  <a:ext uri="{FF2B5EF4-FFF2-40B4-BE49-F238E27FC236}">
                    <a16:creationId xmlns:a16="http://schemas.microsoft.com/office/drawing/2014/main" id="{A10989DB-869A-4B46-890C-76CA39863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5038" y="3194050"/>
                <a:ext cx="688975" cy="727075"/>
              </a:xfrm>
              <a:custGeom>
                <a:avLst/>
                <a:gdLst>
                  <a:gd name="T0" fmla="*/ 221 w 314"/>
                  <a:gd name="T1" fmla="*/ 132 h 331"/>
                  <a:gd name="T2" fmla="*/ 220 w 314"/>
                  <a:gd name="T3" fmla="*/ 118 h 331"/>
                  <a:gd name="T4" fmla="*/ 237 w 314"/>
                  <a:gd name="T5" fmla="*/ 124 h 331"/>
                  <a:gd name="T6" fmla="*/ 255 w 314"/>
                  <a:gd name="T7" fmla="*/ 129 h 331"/>
                  <a:gd name="T8" fmla="*/ 255 w 314"/>
                  <a:gd name="T9" fmla="*/ 143 h 331"/>
                  <a:gd name="T10" fmla="*/ 262 w 314"/>
                  <a:gd name="T11" fmla="*/ 146 h 331"/>
                  <a:gd name="T12" fmla="*/ 268 w 314"/>
                  <a:gd name="T13" fmla="*/ 167 h 331"/>
                  <a:gd name="T14" fmla="*/ 274 w 314"/>
                  <a:gd name="T15" fmla="*/ 144 h 331"/>
                  <a:gd name="T16" fmla="*/ 286 w 314"/>
                  <a:gd name="T17" fmla="*/ 131 h 331"/>
                  <a:gd name="T18" fmla="*/ 297 w 314"/>
                  <a:gd name="T19" fmla="*/ 108 h 331"/>
                  <a:gd name="T20" fmla="*/ 311 w 314"/>
                  <a:gd name="T21" fmla="*/ 104 h 331"/>
                  <a:gd name="T22" fmla="*/ 313 w 314"/>
                  <a:gd name="T23" fmla="*/ 91 h 331"/>
                  <a:gd name="T24" fmla="*/ 302 w 314"/>
                  <a:gd name="T25" fmla="*/ 80 h 331"/>
                  <a:gd name="T26" fmla="*/ 283 w 314"/>
                  <a:gd name="T27" fmla="*/ 81 h 331"/>
                  <a:gd name="T28" fmla="*/ 269 w 314"/>
                  <a:gd name="T29" fmla="*/ 92 h 331"/>
                  <a:gd name="T30" fmla="*/ 258 w 314"/>
                  <a:gd name="T31" fmla="*/ 99 h 331"/>
                  <a:gd name="T32" fmla="*/ 248 w 314"/>
                  <a:gd name="T33" fmla="*/ 110 h 331"/>
                  <a:gd name="T34" fmla="*/ 229 w 314"/>
                  <a:gd name="T35" fmla="*/ 108 h 331"/>
                  <a:gd name="T36" fmla="*/ 222 w 314"/>
                  <a:gd name="T37" fmla="*/ 94 h 331"/>
                  <a:gd name="T38" fmla="*/ 217 w 314"/>
                  <a:gd name="T39" fmla="*/ 111 h 331"/>
                  <a:gd name="T40" fmla="*/ 183 w 314"/>
                  <a:gd name="T41" fmla="*/ 107 h 331"/>
                  <a:gd name="T42" fmla="*/ 166 w 314"/>
                  <a:gd name="T43" fmla="*/ 103 h 331"/>
                  <a:gd name="T44" fmla="*/ 148 w 314"/>
                  <a:gd name="T45" fmla="*/ 93 h 331"/>
                  <a:gd name="T46" fmla="*/ 134 w 314"/>
                  <a:gd name="T47" fmla="*/ 84 h 331"/>
                  <a:gd name="T48" fmla="*/ 141 w 314"/>
                  <a:gd name="T49" fmla="*/ 68 h 331"/>
                  <a:gd name="T50" fmla="*/ 129 w 314"/>
                  <a:gd name="T51" fmla="*/ 58 h 331"/>
                  <a:gd name="T52" fmla="*/ 116 w 314"/>
                  <a:gd name="T53" fmla="*/ 42 h 331"/>
                  <a:gd name="T54" fmla="*/ 125 w 314"/>
                  <a:gd name="T55" fmla="*/ 33 h 331"/>
                  <a:gd name="T56" fmla="*/ 119 w 314"/>
                  <a:gd name="T57" fmla="*/ 13 h 331"/>
                  <a:gd name="T58" fmla="*/ 108 w 314"/>
                  <a:gd name="T59" fmla="*/ 0 h 331"/>
                  <a:gd name="T60" fmla="*/ 99 w 314"/>
                  <a:gd name="T61" fmla="*/ 8 h 331"/>
                  <a:gd name="T62" fmla="*/ 71 w 314"/>
                  <a:gd name="T63" fmla="*/ 10 h 331"/>
                  <a:gd name="T64" fmla="*/ 67 w 314"/>
                  <a:gd name="T65" fmla="*/ 27 h 331"/>
                  <a:gd name="T66" fmla="*/ 79 w 314"/>
                  <a:gd name="T67" fmla="*/ 42 h 331"/>
                  <a:gd name="T68" fmla="*/ 71 w 314"/>
                  <a:gd name="T69" fmla="*/ 59 h 331"/>
                  <a:gd name="T70" fmla="*/ 59 w 314"/>
                  <a:gd name="T71" fmla="*/ 71 h 331"/>
                  <a:gd name="T72" fmla="*/ 45 w 314"/>
                  <a:gd name="T73" fmla="*/ 88 h 331"/>
                  <a:gd name="T74" fmla="*/ 31 w 314"/>
                  <a:gd name="T75" fmla="*/ 97 h 331"/>
                  <a:gd name="T76" fmla="*/ 14 w 314"/>
                  <a:gd name="T77" fmla="*/ 107 h 331"/>
                  <a:gd name="T78" fmla="*/ 26 w 314"/>
                  <a:gd name="T79" fmla="*/ 127 h 331"/>
                  <a:gd name="T80" fmla="*/ 22 w 314"/>
                  <a:gd name="T81" fmla="*/ 139 h 331"/>
                  <a:gd name="T82" fmla="*/ 1 w 314"/>
                  <a:gd name="T83" fmla="*/ 147 h 331"/>
                  <a:gd name="T84" fmla="*/ 10 w 314"/>
                  <a:gd name="T85" fmla="*/ 157 h 331"/>
                  <a:gd name="T86" fmla="*/ 7 w 314"/>
                  <a:gd name="T87" fmla="*/ 163 h 331"/>
                  <a:gd name="T88" fmla="*/ 43 w 314"/>
                  <a:gd name="T89" fmla="*/ 171 h 331"/>
                  <a:gd name="T90" fmla="*/ 49 w 314"/>
                  <a:gd name="T91" fmla="*/ 177 h 331"/>
                  <a:gd name="T92" fmla="*/ 51 w 314"/>
                  <a:gd name="T93" fmla="*/ 206 h 331"/>
                  <a:gd name="T94" fmla="*/ 67 w 314"/>
                  <a:gd name="T95" fmla="*/ 257 h 331"/>
                  <a:gd name="T96" fmla="*/ 89 w 314"/>
                  <a:gd name="T97" fmla="*/ 309 h 331"/>
                  <a:gd name="T98" fmla="*/ 110 w 314"/>
                  <a:gd name="T99" fmla="*/ 322 h 331"/>
                  <a:gd name="T100" fmla="*/ 125 w 314"/>
                  <a:gd name="T101" fmla="*/ 304 h 331"/>
                  <a:gd name="T102" fmla="*/ 131 w 314"/>
                  <a:gd name="T103" fmla="*/ 282 h 331"/>
                  <a:gd name="T104" fmla="*/ 134 w 314"/>
                  <a:gd name="T105" fmla="*/ 249 h 331"/>
                  <a:gd name="T106" fmla="*/ 149 w 314"/>
                  <a:gd name="T107" fmla="*/ 232 h 331"/>
                  <a:gd name="T108" fmla="*/ 185 w 314"/>
                  <a:gd name="T109" fmla="*/ 200 h 331"/>
                  <a:gd name="T110" fmla="*/ 205 w 314"/>
                  <a:gd name="T111" fmla="*/ 177 h 331"/>
                  <a:gd name="T112" fmla="*/ 228 w 314"/>
                  <a:gd name="T113" fmla="*/ 17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14" h="331">
                    <a:moveTo>
                      <a:pt x="224" y="149"/>
                    </a:moveTo>
                    <a:cubicBezTo>
                      <a:pt x="222" y="144"/>
                      <a:pt x="221" y="136"/>
                      <a:pt x="221" y="132"/>
                    </a:cubicBezTo>
                    <a:cubicBezTo>
                      <a:pt x="222" y="129"/>
                      <a:pt x="226" y="132"/>
                      <a:pt x="228" y="128"/>
                    </a:cubicBezTo>
                    <a:cubicBezTo>
                      <a:pt x="229" y="124"/>
                      <a:pt x="216" y="124"/>
                      <a:pt x="220" y="118"/>
                    </a:cubicBezTo>
                    <a:cubicBezTo>
                      <a:pt x="224" y="113"/>
                      <a:pt x="224" y="118"/>
                      <a:pt x="230" y="118"/>
                    </a:cubicBezTo>
                    <a:cubicBezTo>
                      <a:pt x="235" y="118"/>
                      <a:pt x="237" y="121"/>
                      <a:pt x="237" y="124"/>
                    </a:cubicBezTo>
                    <a:cubicBezTo>
                      <a:pt x="237" y="128"/>
                      <a:pt x="242" y="130"/>
                      <a:pt x="242" y="130"/>
                    </a:cubicBezTo>
                    <a:cubicBezTo>
                      <a:pt x="242" y="130"/>
                      <a:pt x="251" y="129"/>
                      <a:pt x="255" y="129"/>
                    </a:cubicBezTo>
                    <a:cubicBezTo>
                      <a:pt x="259" y="129"/>
                      <a:pt x="263" y="129"/>
                      <a:pt x="263" y="132"/>
                    </a:cubicBezTo>
                    <a:cubicBezTo>
                      <a:pt x="263" y="134"/>
                      <a:pt x="259" y="143"/>
                      <a:pt x="255" y="143"/>
                    </a:cubicBezTo>
                    <a:cubicBezTo>
                      <a:pt x="251" y="143"/>
                      <a:pt x="251" y="155"/>
                      <a:pt x="254" y="155"/>
                    </a:cubicBezTo>
                    <a:cubicBezTo>
                      <a:pt x="257" y="156"/>
                      <a:pt x="260" y="146"/>
                      <a:pt x="262" y="146"/>
                    </a:cubicBezTo>
                    <a:cubicBezTo>
                      <a:pt x="263" y="146"/>
                      <a:pt x="265" y="157"/>
                      <a:pt x="267" y="168"/>
                    </a:cubicBezTo>
                    <a:cubicBezTo>
                      <a:pt x="267" y="168"/>
                      <a:pt x="268" y="167"/>
                      <a:pt x="268" y="167"/>
                    </a:cubicBezTo>
                    <a:cubicBezTo>
                      <a:pt x="271" y="167"/>
                      <a:pt x="270" y="158"/>
                      <a:pt x="271" y="155"/>
                    </a:cubicBezTo>
                    <a:cubicBezTo>
                      <a:pt x="273" y="152"/>
                      <a:pt x="272" y="144"/>
                      <a:pt x="274" y="144"/>
                    </a:cubicBezTo>
                    <a:cubicBezTo>
                      <a:pt x="275" y="144"/>
                      <a:pt x="283" y="147"/>
                      <a:pt x="282" y="144"/>
                    </a:cubicBezTo>
                    <a:cubicBezTo>
                      <a:pt x="282" y="142"/>
                      <a:pt x="287" y="135"/>
                      <a:pt x="286" y="131"/>
                    </a:cubicBezTo>
                    <a:cubicBezTo>
                      <a:pt x="286" y="127"/>
                      <a:pt x="290" y="122"/>
                      <a:pt x="290" y="117"/>
                    </a:cubicBezTo>
                    <a:cubicBezTo>
                      <a:pt x="290" y="112"/>
                      <a:pt x="294" y="111"/>
                      <a:pt x="297" y="108"/>
                    </a:cubicBezTo>
                    <a:cubicBezTo>
                      <a:pt x="300" y="105"/>
                      <a:pt x="306" y="102"/>
                      <a:pt x="306" y="104"/>
                    </a:cubicBezTo>
                    <a:cubicBezTo>
                      <a:pt x="307" y="106"/>
                      <a:pt x="314" y="108"/>
                      <a:pt x="311" y="104"/>
                    </a:cubicBezTo>
                    <a:cubicBezTo>
                      <a:pt x="309" y="100"/>
                      <a:pt x="309" y="97"/>
                      <a:pt x="310" y="96"/>
                    </a:cubicBezTo>
                    <a:cubicBezTo>
                      <a:pt x="312" y="96"/>
                      <a:pt x="313" y="91"/>
                      <a:pt x="313" y="91"/>
                    </a:cubicBezTo>
                    <a:cubicBezTo>
                      <a:pt x="313" y="91"/>
                      <a:pt x="307" y="90"/>
                      <a:pt x="306" y="88"/>
                    </a:cubicBezTo>
                    <a:cubicBezTo>
                      <a:pt x="306" y="85"/>
                      <a:pt x="302" y="82"/>
                      <a:pt x="302" y="80"/>
                    </a:cubicBezTo>
                    <a:cubicBezTo>
                      <a:pt x="302" y="78"/>
                      <a:pt x="299" y="79"/>
                      <a:pt x="296" y="81"/>
                    </a:cubicBezTo>
                    <a:cubicBezTo>
                      <a:pt x="294" y="83"/>
                      <a:pt x="289" y="78"/>
                      <a:pt x="283" y="81"/>
                    </a:cubicBezTo>
                    <a:cubicBezTo>
                      <a:pt x="277" y="84"/>
                      <a:pt x="276" y="88"/>
                      <a:pt x="273" y="88"/>
                    </a:cubicBezTo>
                    <a:cubicBezTo>
                      <a:pt x="270" y="87"/>
                      <a:pt x="271" y="90"/>
                      <a:pt x="269" y="92"/>
                    </a:cubicBezTo>
                    <a:cubicBezTo>
                      <a:pt x="266" y="94"/>
                      <a:pt x="265" y="97"/>
                      <a:pt x="263" y="97"/>
                    </a:cubicBezTo>
                    <a:cubicBezTo>
                      <a:pt x="262" y="97"/>
                      <a:pt x="258" y="99"/>
                      <a:pt x="258" y="99"/>
                    </a:cubicBezTo>
                    <a:cubicBezTo>
                      <a:pt x="258" y="99"/>
                      <a:pt x="261" y="106"/>
                      <a:pt x="259" y="109"/>
                    </a:cubicBezTo>
                    <a:cubicBezTo>
                      <a:pt x="257" y="112"/>
                      <a:pt x="253" y="109"/>
                      <a:pt x="248" y="110"/>
                    </a:cubicBezTo>
                    <a:cubicBezTo>
                      <a:pt x="243" y="112"/>
                      <a:pt x="241" y="108"/>
                      <a:pt x="237" y="109"/>
                    </a:cubicBezTo>
                    <a:cubicBezTo>
                      <a:pt x="233" y="110"/>
                      <a:pt x="231" y="107"/>
                      <a:pt x="229" y="108"/>
                    </a:cubicBezTo>
                    <a:cubicBezTo>
                      <a:pt x="228" y="108"/>
                      <a:pt x="225" y="104"/>
                      <a:pt x="226" y="100"/>
                    </a:cubicBezTo>
                    <a:cubicBezTo>
                      <a:pt x="227" y="96"/>
                      <a:pt x="224" y="92"/>
                      <a:pt x="222" y="94"/>
                    </a:cubicBezTo>
                    <a:cubicBezTo>
                      <a:pt x="221" y="97"/>
                      <a:pt x="218" y="96"/>
                      <a:pt x="218" y="100"/>
                    </a:cubicBezTo>
                    <a:cubicBezTo>
                      <a:pt x="218" y="104"/>
                      <a:pt x="220" y="108"/>
                      <a:pt x="217" y="111"/>
                    </a:cubicBezTo>
                    <a:cubicBezTo>
                      <a:pt x="215" y="114"/>
                      <a:pt x="201" y="115"/>
                      <a:pt x="198" y="113"/>
                    </a:cubicBezTo>
                    <a:cubicBezTo>
                      <a:pt x="195" y="111"/>
                      <a:pt x="184" y="109"/>
                      <a:pt x="183" y="107"/>
                    </a:cubicBezTo>
                    <a:cubicBezTo>
                      <a:pt x="183" y="105"/>
                      <a:pt x="179" y="101"/>
                      <a:pt x="177" y="101"/>
                    </a:cubicBezTo>
                    <a:cubicBezTo>
                      <a:pt x="175" y="101"/>
                      <a:pt x="168" y="104"/>
                      <a:pt x="166" y="103"/>
                    </a:cubicBezTo>
                    <a:cubicBezTo>
                      <a:pt x="164" y="101"/>
                      <a:pt x="160" y="98"/>
                      <a:pt x="157" y="97"/>
                    </a:cubicBezTo>
                    <a:cubicBezTo>
                      <a:pt x="154" y="97"/>
                      <a:pt x="149" y="95"/>
                      <a:pt x="148" y="93"/>
                    </a:cubicBezTo>
                    <a:cubicBezTo>
                      <a:pt x="148" y="91"/>
                      <a:pt x="141" y="90"/>
                      <a:pt x="140" y="88"/>
                    </a:cubicBezTo>
                    <a:cubicBezTo>
                      <a:pt x="138" y="87"/>
                      <a:pt x="134" y="86"/>
                      <a:pt x="134" y="84"/>
                    </a:cubicBezTo>
                    <a:cubicBezTo>
                      <a:pt x="134" y="82"/>
                      <a:pt x="136" y="78"/>
                      <a:pt x="136" y="75"/>
                    </a:cubicBezTo>
                    <a:cubicBezTo>
                      <a:pt x="136" y="73"/>
                      <a:pt x="141" y="70"/>
                      <a:pt x="141" y="68"/>
                    </a:cubicBezTo>
                    <a:cubicBezTo>
                      <a:pt x="141" y="67"/>
                      <a:pt x="136" y="63"/>
                      <a:pt x="136" y="63"/>
                    </a:cubicBezTo>
                    <a:cubicBezTo>
                      <a:pt x="136" y="63"/>
                      <a:pt x="133" y="58"/>
                      <a:pt x="129" y="58"/>
                    </a:cubicBezTo>
                    <a:cubicBezTo>
                      <a:pt x="126" y="58"/>
                      <a:pt x="123" y="51"/>
                      <a:pt x="120" y="51"/>
                    </a:cubicBezTo>
                    <a:cubicBezTo>
                      <a:pt x="117" y="51"/>
                      <a:pt x="118" y="44"/>
                      <a:pt x="116" y="42"/>
                    </a:cubicBezTo>
                    <a:cubicBezTo>
                      <a:pt x="114" y="40"/>
                      <a:pt x="116" y="35"/>
                      <a:pt x="119" y="37"/>
                    </a:cubicBezTo>
                    <a:cubicBezTo>
                      <a:pt x="122" y="40"/>
                      <a:pt x="128" y="37"/>
                      <a:pt x="125" y="33"/>
                    </a:cubicBezTo>
                    <a:cubicBezTo>
                      <a:pt x="123" y="29"/>
                      <a:pt x="119" y="26"/>
                      <a:pt x="119" y="23"/>
                    </a:cubicBezTo>
                    <a:cubicBezTo>
                      <a:pt x="119" y="21"/>
                      <a:pt x="122" y="15"/>
                      <a:pt x="119" y="13"/>
                    </a:cubicBezTo>
                    <a:cubicBezTo>
                      <a:pt x="116" y="11"/>
                      <a:pt x="113" y="8"/>
                      <a:pt x="112" y="5"/>
                    </a:cubicBezTo>
                    <a:cubicBezTo>
                      <a:pt x="111" y="2"/>
                      <a:pt x="108" y="0"/>
                      <a:pt x="108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3" y="0"/>
                      <a:pt x="100" y="7"/>
                      <a:pt x="99" y="8"/>
                    </a:cubicBezTo>
                    <a:cubicBezTo>
                      <a:pt x="97" y="9"/>
                      <a:pt x="91" y="11"/>
                      <a:pt x="87" y="13"/>
                    </a:cubicBezTo>
                    <a:cubicBezTo>
                      <a:pt x="84" y="15"/>
                      <a:pt x="75" y="10"/>
                      <a:pt x="71" y="10"/>
                    </a:cubicBezTo>
                    <a:cubicBezTo>
                      <a:pt x="66" y="10"/>
                      <a:pt x="63" y="15"/>
                      <a:pt x="65" y="16"/>
                    </a:cubicBezTo>
                    <a:cubicBezTo>
                      <a:pt x="67" y="17"/>
                      <a:pt x="67" y="27"/>
                      <a:pt x="67" y="27"/>
                    </a:cubicBezTo>
                    <a:cubicBezTo>
                      <a:pt x="67" y="27"/>
                      <a:pt x="69" y="38"/>
                      <a:pt x="73" y="37"/>
                    </a:cubicBezTo>
                    <a:cubicBezTo>
                      <a:pt x="77" y="36"/>
                      <a:pt x="82" y="41"/>
                      <a:pt x="79" y="42"/>
                    </a:cubicBezTo>
                    <a:cubicBezTo>
                      <a:pt x="75" y="43"/>
                      <a:pt x="73" y="47"/>
                      <a:pt x="73" y="51"/>
                    </a:cubicBezTo>
                    <a:cubicBezTo>
                      <a:pt x="72" y="54"/>
                      <a:pt x="73" y="59"/>
                      <a:pt x="71" y="59"/>
                    </a:cubicBezTo>
                    <a:cubicBezTo>
                      <a:pt x="68" y="59"/>
                      <a:pt x="65" y="60"/>
                      <a:pt x="65" y="65"/>
                    </a:cubicBezTo>
                    <a:cubicBezTo>
                      <a:pt x="65" y="70"/>
                      <a:pt x="59" y="69"/>
                      <a:pt x="59" y="71"/>
                    </a:cubicBezTo>
                    <a:cubicBezTo>
                      <a:pt x="58" y="72"/>
                      <a:pt x="55" y="81"/>
                      <a:pt x="54" y="83"/>
                    </a:cubicBezTo>
                    <a:cubicBezTo>
                      <a:pt x="53" y="84"/>
                      <a:pt x="45" y="84"/>
                      <a:pt x="45" y="88"/>
                    </a:cubicBezTo>
                    <a:cubicBezTo>
                      <a:pt x="44" y="92"/>
                      <a:pt x="41" y="97"/>
                      <a:pt x="39" y="97"/>
                    </a:cubicBezTo>
                    <a:cubicBezTo>
                      <a:pt x="36" y="96"/>
                      <a:pt x="32" y="95"/>
                      <a:pt x="31" y="97"/>
                    </a:cubicBezTo>
                    <a:cubicBezTo>
                      <a:pt x="30" y="100"/>
                      <a:pt x="24" y="95"/>
                      <a:pt x="23" y="96"/>
                    </a:cubicBezTo>
                    <a:cubicBezTo>
                      <a:pt x="21" y="98"/>
                      <a:pt x="14" y="104"/>
                      <a:pt x="14" y="107"/>
                    </a:cubicBezTo>
                    <a:cubicBezTo>
                      <a:pt x="14" y="111"/>
                      <a:pt x="22" y="111"/>
                      <a:pt x="21" y="115"/>
                    </a:cubicBezTo>
                    <a:cubicBezTo>
                      <a:pt x="21" y="120"/>
                      <a:pt x="24" y="124"/>
                      <a:pt x="26" y="127"/>
                    </a:cubicBezTo>
                    <a:cubicBezTo>
                      <a:pt x="28" y="129"/>
                      <a:pt x="32" y="134"/>
                      <a:pt x="30" y="137"/>
                    </a:cubicBezTo>
                    <a:cubicBezTo>
                      <a:pt x="28" y="140"/>
                      <a:pt x="26" y="140"/>
                      <a:pt x="22" y="139"/>
                    </a:cubicBezTo>
                    <a:cubicBezTo>
                      <a:pt x="18" y="138"/>
                      <a:pt x="18" y="141"/>
                      <a:pt x="11" y="140"/>
                    </a:cubicBezTo>
                    <a:cubicBezTo>
                      <a:pt x="4" y="138"/>
                      <a:pt x="3" y="144"/>
                      <a:pt x="1" y="147"/>
                    </a:cubicBezTo>
                    <a:cubicBezTo>
                      <a:pt x="1" y="147"/>
                      <a:pt x="0" y="147"/>
                      <a:pt x="0" y="148"/>
                    </a:cubicBezTo>
                    <a:cubicBezTo>
                      <a:pt x="3" y="150"/>
                      <a:pt x="5" y="155"/>
                      <a:pt x="10" y="157"/>
                    </a:cubicBezTo>
                    <a:cubicBezTo>
                      <a:pt x="17" y="160"/>
                      <a:pt x="23" y="153"/>
                      <a:pt x="23" y="158"/>
                    </a:cubicBezTo>
                    <a:cubicBezTo>
                      <a:pt x="23" y="163"/>
                      <a:pt x="7" y="162"/>
                      <a:pt x="7" y="163"/>
                    </a:cubicBezTo>
                    <a:cubicBezTo>
                      <a:pt x="7" y="165"/>
                      <a:pt x="23" y="184"/>
                      <a:pt x="31" y="183"/>
                    </a:cubicBezTo>
                    <a:cubicBezTo>
                      <a:pt x="39" y="181"/>
                      <a:pt x="45" y="172"/>
                      <a:pt x="43" y="171"/>
                    </a:cubicBezTo>
                    <a:cubicBezTo>
                      <a:pt x="41" y="170"/>
                      <a:pt x="44" y="164"/>
                      <a:pt x="46" y="165"/>
                    </a:cubicBezTo>
                    <a:cubicBezTo>
                      <a:pt x="49" y="166"/>
                      <a:pt x="47" y="175"/>
                      <a:pt x="49" y="177"/>
                    </a:cubicBezTo>
                    <a:cubicBezTo>
                      <a:pt x="52" y="179"/>
                      <a:pt x="51" y="182"/>
                      <a:pt x="49" y="187"/>
                    </a:cubicBezTo>
                    <a:cubicBezTo>
                      <a:pt x="48" y="192"/>
                      <a:pt x="51" y="201"/>
                      <a:pt x="51" y="206"/>
                    </a:cubicBezTo>
                    <a:cubicBezTo>
                      <a:pt x="52" y="211"/>
                      <a:pt x="55" y="219"/>
                      <a:pt x="57" y="226"/>
                    </a:cubicBezTo>
                    <a:cubicBezTo>
                      <a:pt x="58" y="234"/>
                      <a:pt x="63" y="248"/>
                      <a:pt x="67" y="257"/>
                    </a:cubicBezTo>
                    <a:cubicBezTo>
                      <a:pt x="72" y="265"/>
                      <a:pt x="75" y="282"/>
                      <a:pt x="78" y="286"/>
                    </a:cubicBezTo>
                    <a:cubicBezTo>
                      <a:pt x="81" y="290"/>
                      <a:pt x="89" y="302"/>
                      <a:pt x="89" y="309"/>
                    </a:cubicBezTo>
                    <a:cubicBezTo>
                      <a:pt x="89" y="317"/>
                      <a:pt x="97" y="327"/>
                      <a:pt x="100" y="329"/>
                    </a:cubicBezTo>
                    <a:cubicBezTo>
                      <a:pt x="103" y="331"/>
                      <a:pt x="109" y="327"/>
                      <a:pt x="110" y="322"/>
                    </a:cubicBezTo>
                    <a:cubicBezTo>
                      <a:pt x="112" y="318"/>
                      <a:pt x="120" y="316"/>
                      <a:pt x="121" y="312"/>
                    </a:cubicBezTo>
                    <a:cubicBezTo>
                      <a:pt x="121" y="308"/>
                      <a:pt x="122" y="305"/>
                      <a:pt x="125" y="304"/>
                    </a:cubicBezTo>
                    <a:cubicBezTo>
                      <a:pt x="128" y="304"/>
                      <a:pt x="128" y="301"/>
                      <a:pt x="128" y="296"/>
                    </a:cubicBezTo>
                    <a:cubicBezTo>
                      <a:pt x="128" y="292"/>
                      <a:pt x="128" y="286"/>
                      <a:pt x="131" y="282"/>
                    </a:cubicBezTo>
                    <a:cubicBezTo>
                      <a:pt x="134" y="278"/>
                      <a:pt x="135" y="268"/>
                      <a:pt x="133" y="264"/>
                    </a:cubicBezTo>
                    <a:cubicBezTo>
                      <a:pt x="131" y="259"/>
                      <a:pt x="132" y="254"/>
                      <a:pt x="134" y="249"/>
                    </a:cubicBezTo>
                    <a:cubicBezTo>
                      <a:pt x="136" y="245"/>
                      <a:pt x="135" y="240"/>
                      <a:pt x="138" y="240"/>
                    </a:cubicBezTo>
                    <a:cubicBezTo>
                      <a:pt x="141" y="240"/>
                      <a:pt x="146" y="237"/>
                      <a:pt x="149" y="232"/>
                    </a:cubicBezTo>
                    <a:cubicBezTo>
                      <a:pt x="153" y="228"/>
                      <a:pt x="163" y="222"/>
                      <a:pt x="166" y="219"/>
                    </a:cubicBezTo>
                    <a:cubicBezTo>
                      <a:pt x="170" y="216"/>
                      <a:pt x="181" y="206"/>
                      <a:pt x="185" y="200"/>
                    </a:cubicBezTo>
                    <a:cubicBezTo>
                      <a:pt x="188" y="195"/>
                      <a:pt x="197" y="193"/>
                      <a:pt x="202" y="189"/>
                    </a:cubicBezTo>
                    <a:cubicBezTo>
                      <a:pt x="206" y="184"/>
                      <a:pt x="204" y="182"/>
                      <a:pt x="205" y="177"/>
                    </a:cubicBezTo>
                    <a:cubicBezTo>
                      <a:pt x="206" y="172"/>
                      <a:pt x="220" y="170"/>
                      <a:pt x="225" y="170"/>
                    </a:cubicBezTo>
                    <a:cubicBezTo>
                      <a:pt x="226" y="170"/>
                      <a:pt x="227" y="170"/>
                      <a:pt x="228" y="170"/>
                    </a:cubicBezTo>
                    <a:cubicBezTo>
                      <a:pt x="228" y="162"/>
                      <a:pt x="226" y="153"/>
                      <a:pt x="224" y="14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4" name="Freeform 52">
                <a:extLst>
                  <a:ext uri="{FF2B5EF4-FFF2-40B4-BE49-F238E27FC236}">
                    <a16:creationId xmlns:a16="http://schemas.microsoft.com/office/drawing/2014/main" id="{A37F7FA1-DC60-45D7-99A0-5AACB859D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288" y="2687638"/>
                <a:ext cx="776287" cy="333375"/>
              </a:xfrm>
              <a:custGeom>
                <a:avLst/>
                <a:gdLst>
                  <a:gd name="T0" fmla="*/ 328 w 354"/>
                  <a:gd name="T1" fmla="*/ 65 h 152"/>
                  <a:gd name="T2" fmla="*/ 306 w 354"/>
                  <a:gd name="T3" fmla="*/ 63 h 152"/>
                  <a:gd name="T4" fmla="*/ 308 w 354"/>
                  <a:gd name="T5" fmla="*/ 51 h 152"/>
                  <a:gd name="T6" fmla="*/ 309 w 354"/>
                  <a:gd name="T7" fmla="*/ 32 h 152"/>
                  <a:gd name="T8" fmla="*/ 285 w 354"/>
                  <a:gd name="T9" fmla="*/ 30 h 152"/>
                  <a:gd name="T10" fmla="*/ 267 w 354"/>
                  <a:gd name="T11" fmla="*/ 39 h 152"/>
                  <a:gd name="T12" fmla="*/ 238 w 354"/>
                  <a:gd name="T13" fmla="*/ 43 h 152"/>
                  <a:gd name="T14" fmla="*/ 217 w 354"/>
                  <a:gd name="T15" fmla="*/ 34 h 152"/>
                  <a:gd name="T16" fmla="*/ 199 w 354"/>
                  <a:gd name="T17" fmla="*/ 27 h 152"/>
                  <a:gd name="T18" fmla="*/ 179 w 354"/>
                  <a:gd name="T19" fmla="*/ 26 h 152"/>
                  <a:gd name="T20" fmla="*/ 161 w 354"/>
                  <a:gd name="T21" fmla="*/ 27 h 152"/>
                  <a:gd name="T22" fmla="*/ 152 w 354"/>
                  <a:gd name="T23" fmla="*/ 12 h 152"/>
                  <a:gd name="T24" fmla="*/ 133 w 354"/>
                  <a:gd name="T25" fmla="*/ 5 h 152"/>
                  <a:gd name="T26" fmla="*/ 118 w 354"/>
                  <a:gd name="T27" fmla="*/ 0 h 152"/>
                  <a:gd name="T28" fmla="*/ 108 w 354"/>
                  <a:gd name="T29" fmla="*/ 8 h 152"/>
                  <a:gd name="T30" fmla="*/ 107 w 354"/>
                  <a:gd name="T31" fmla="*/ 23 h 152"/>
                  <a:gd name="T32" fmla="*/ 97 w 354"/>
                  <a:gd name="T33" fmla="*/ 34 h 152"/>
                  <a:gd name="T34" fmla="*/ 80 w 354"/>
                  <a:gd name="T35" fmla="*/ 33 h 152"/>
                  <a:gd name="T36" fmla="*/ 67 w 354"/>
                  <a:gd name="T37" fmla="*/ 23 h 152"/>
                  <a:gd name="T38" fmla="*/ 44 w 354"/>
                  <a:gd name="T39" fmla="*/ 21 h 152"/>
                  <a:gd name="T40" fmla="*/ 29 w 354"/>
                  <a:gd name="T41" fmla="*/ 30 h 152"/>
                  <a:gd name="T42" fmla="*/ 10 w 354"/>
                  <a:gd name="T43" fmla="*/ 39 h 152"/>
                  <a:gd name="T44" fmla="*/ 0 w 354"/>
                  <a:gd name="T45" fmla="*/ 43 h 152"/>
                  <a:gd name="T46" fmla="*/ 8 w 354"/>
                  <a:gd name="T47" fmla="*/ 55 h 152"/>
                  <a:gd name="T48" fmla="*/ 28 w 354"/>
                  <a:gd name="T49" fmla="*/ 68 h 152"/>
                  <a:gd name="T50" fmla="*/ 33 w 354"/>
                  <a:gd name="T51" fmla="*/ 88 h 152"/>
                  <a:gd name="T52" fmla="*/ 56 w 354"/>
                  <a:gd name="T53" fmla="*/ 103 h 152"/>
                  <a:gd name="T54" fmla="*/ 72 w 354"/>
                  <a:gd name="T55" fmla="*/ 114 h 152"/>
                  <a:gd name="T56" fmla="*/ 87 w 354"/>
                  <a:gd name="T57" fmla="*/ 135 h 152"/>
                  <a:gd name="T58" fmla="*/ 129 w 354"/>
                  <a:gd name="T59" fmla="*/ 137 h 152"/>
                  <a:gd name="T60" fmla="*/ 161 w 354"/>
                  <a:gd name="T61" fmla="*/ 144 h 152"/>
                  <a:gd name="T62" fmla="*/ 182 w 354"/>
                  <a:gd name="T63" fmla="*/ 151 h 152"/>
                  <a:gd name="T64" fmla="*/ 227 w 354"/>
                  <a:gd name="T65" fmla="*/ 140 h 152"/>
                  <a:gd name="T66" fmla="*/ 261 w 354"/>
                  <a:gd name="T67" fmla="*/ 121 h 152"/>
                  <a:gd name="T68" fmla="*/ 269 w 354"/>
                  <a:gd name="T69" fmla="*/ 105 h 152"/>
                  <a:gd name="T70" fmla="*/ 304 w 354"/>
                  <a:gd name="T71" fmla="*/ 98 h 152"/>
                  <a:gd name="T72" fmla="*/ 328 w 354"/>
                  <a:gd name="T73" fmla="*/ 83 h 152"/>
                  <a:gd name="T74" fmla="*/ 354 w 354"/>
                  <a:gd name="T75" fmla="*/ 7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54" h="152">
                    <a:moveTo>
                      <a:pt x="339" y="63"/>
                    </a:moveTo>
                    <a:cubicBezTo>
                      <a:pt x="336" y="59"/>
                      <a:pt x="330" y="61"/>
                      <a:pt x="328" y="65"/>
                    </a:cubicBezTo>
                    <a:cubicBezTo>
                      <a:pt x="327" y="68"/>
                      <a:pt x="324" y="63"/>
                      <a:pt x="317" y="63"/>
                    </a:cubicBezTo>
                    <a:cubicBezTo>
                      <a:pt x="311" y="63"/>
                      <a:pt x="310" y="67"/>
                      <a:pt x="306" y="63"/>
                    </a:cubicBezTo>
                    <a:cubicBezTo>
                      <a:pt x="301" y="58"/>
                      <a:pt x="307" y="57"/>
                      <a:pt x="307" y="57"/>
                    </a:cubicBezTo>
                    <a:cubicBezTo>
                      <a:pt x="308" y="51"/>
                      <a:pt x="308" y="51"/>
                      <a:pt x="308" y="51"/>
                    </a:cubicBezTo>
                    <a:cubicBezTo>
                      <a:pt x="317" y="33"/>
                      <a:pt x="317" y="33"/>
                      <a:pt x="317" y="33"/>
                    </a:cubicBezTo>
                    <a:cubicBezTo>
                      <a:pt x="314" y="32"/>
                      <a:pt x="311" y="32"/>
                      <a:pt x="309" y="32"/>
                    </a:cubicBezTo>
                    <a:cubicBezTo>
                      <a:pt x="306" y="33"/>
                      <a:pt x="300" y="33"/>
                      <a:pt x="299" y="30"/>
                    </a:cubicBezTo>
                    <a:cubicBezTo>
                      <a:pt x="299" y="28"/>
                      <a:pt x="288" y="28"/>
                      <a:pt x="285" y="30"/>
                    </a:cubicBezTo>
                    <a:cubicBezTo>
                      <a:pt x="283" y="32"/>
                      <a:pt x="277" y="33"/>
                      <a:pt x="276" y="36"/>
                    </a:cubicBezTo>
                    <a:cubicBezTo>
                      <a:pt x="276" y="38"/>
                      <a:pt x="270" y="37"/>
                      <a:pt x="267" y="39"/>
                    </a:cubicBezTo>
                    <a:cubicBezTo>
                      <a:pt x="265" y="41"/>
                      <a:pt x="253" y="41"/>
                      <a:pt x="253" y="43"/>
                    </a:cubicBezTo>
                    <a:cubicBezTo>
                      <a:pt x="252" y="44"/>
                      <a:pt x="240" y="44"/>
                      <a:pt x="238" y="43"/>
                    </a:cubicBezTo>
                    <a:cubicBezTo>
                      <a:pt x="236" y="41"/>
                      <a:pt x="225" y="43"/>
                      <a:pt x="223" y="40"/>
                    </a:cubicBezTo>
                    <a:cubicBezTo>
                      <a:pt x="222" y="37"/>
                      <a:pt x="217" y="36"/>
                      <a:pt x="217" y="34"/>
                    </a:cubicBezTo>
                    <a:cubicBezTo>
                      <a:pt x="217" y="31"/>
                      <a:pt x="209" y="31"/>
                      <a:pt x="208" y="29"/>
                    </a:cubicBezTo>
                    <a:cubicBezTo>
                      <a:pt x="207" y="27"/>
                      <a:pt x="200" y="26"/>
                      <a:pt x="199" y="27"/>
                    </a:cubicBezTo>
                    <a:cubicBezTo>
                      <a:pt x="198" y="28"/>
                      <a:pt x="191" y="25"/>
                      <a:pt x="189" y="25"/>
                    </a:cubicBezTo>
                    <a:cubicBezTo>
                      <a:pt x="187" y="24"/>
                      <a:pt x="181" y="26"/>
                      <a:pt x="179" y="26"/>
                    </a:cubicBezTo>
                    <a:cubicBezTo>
                      <a:pt x="177" y="26"/>
                      <a:pt x="173" y="30"/>
                      <a:pt x="171" y="30"/>
                    </a:cubicBezTo>
                    <a:cubicBezTo>
                      <a:pt x="168" y="30"/>
                      <a:pt x="162" y="26"/>
                      <a:pt x="161" y="27"/>
                    </a:cubicBezTo>
                    <a:cubicBezTo>
                      <a:pt x="159" y="28"/>
                      <a:pt x="155" y="24"/>
                      <a:pt x="154" y="22"/>
                    </a:cubicBezTo>
                    <a:cubicBezTo>
                      <a:pt x="152" y="20"/>
                      <a:pt x="154" y="14"/>
                      <a:pt x="152" y="12"/>
                    </a:cubicBezTo>
                    <a:cubicBezTo>
                      <a:pt x="151" y="10"/>
                      <a:pt x="144" y="10"/>
                      <a:pt x="141" y="9"/>
                    </a:cubicBezTo>
                    <a:cubicBezTo>
                      <a:pt x="139" y="7"/>
                      <a:pt x="135" y="5"/>
                      <a:pt x="133" y="5"/>
                    </a:cubicBezTo>
                    <a:cubicBezTo>
                      <a:pt x="131" y="5"/>
                      <a:pt x="127" y="5"/>
                      <a:pt x="126" y="4"/>
                    </a:cubicBezTo>
                    <a:cubicBezTo>
                      <a:pt x="125" y="3"/>
                      <a:pt x="120" y="1"/>
                      <a:pt x="118" y="0"/>
                    </a:cubicBezTo>
                    <a:cubicBezTo>
                      <a:pt x="115" y="0"/>
                      <a:pt x="115" y="3"/>
                      <a:pt x="114" y="4"/>
                    </a:cubicBezTo>
                    <a:cubicBezTo>
                      <a:pt x="112" y="5"/>
                      <a:pt x="108" y="6"/>
                      <a:pt x="108" y="8"/>
                    </a:cubicBezTo>
                    <a:cubicBezTo>
                      <a:pt x="107" y="10"/>
                      <a:pt x="102" y="11"/>
                      <a:pt x="103" y="14"/>
                    </a:cubicBezTo>
                    <a:cubicBezTo>
                      <a:pt x="104" y="16"/>
                      <a:pt x="105" y="22"/>
                      <a:pt x="107" y="23"/>
                    </a:cubicBezTo>
                    <a:cubicBezTo>
                      <a:pt x="109" y="24"/>
                      <a:pt x="108" y="28"/>
                      <a:pt x="107" y="30"/>
                    </a:cubicBezTo>
                    <a:cubicBezTo>
                      <a:pt x="106" y="31"/>
                      <a:pt x="99" y="32"/>
                      <a:pt x="97" y="34"/>
                    </a:cubicBezTo>
                    <a:cubicBezTo>
                      <a:pt x="96" y="37"/>
                      <a:pt x="93" y="34"/>
                      <a:pt x="89" y="32"/>
                    </a:cubicBezTo>
                    <a:cubicBezTo>
                      <a:pt x="86" y="30"/>
                      <a:pt x="82" y="31"/>
                      <a:pt x="80" y="33"/>
                    </a:cubicBezTo>
                    <a:cubicBezTo>
                      <a:pt x="79" y="34"/>
                      <a:pt x="73" y="29"/>
                      <a:pt x="71" y="29"/>
                    </a:cubicBezTo>
                    <a:cubicBezTo>
                      <a:pt x="69" y="29"/>
                      <a:pt x="69" y="22"/>
                      <a:pt x="67" y="23"/>
                    </a:cubicBezTo>
                    <a:cubicBezTo>
                      <a:pt x="66" y="23"/>
                      <a:pt x="54" y="21"/>
                      <a:pt x="52" y="20"/>
                    </a:cubicBezTo>
                    <a:cubicBezTo>
                      <a:pt x="49" y="19"/>
                      <a:pt x="44" y="20"/>
                      <a:pt x="44" y="21"/>
                    </a:cubicBezTo>
                    <a:cubicBezTo>
                      <a:pt x="43" y="23"/>
                      <a:pt x="37" y="23"/>
                      <a:pt x="36" y="25"/>
                    </a:cubicBezTo>
                    <a:cubicBezTo>
                      <a:pt x="35" y="27"/>
                      <a:pt x="30" y="28"/>
                      <a:pt x="29" y="30"/>
                    </a:cubicBezTo>
                    <a:cubicBezTo>
                      <a:pt x="27" y="32"/>
                      <a:pt x="21" y="32"/>
                      <a:pt x="20" y="35"/>
                    </a:cubicBezTo>
                    <a:cubicBezTo>
                      <a:pt x="19" y="38"/>
                      <a:pt x="12" y="39"/>
                      <a:pt x="10" y="39"/>
                    </a:cubicBezTo>
                    <a:cubicBezTo>
                      <a:pt x="8" y="40"/>
                      <a:pt x="2" y="41"/>
                      <a:pt x="2" y="42"/>
                    </a:cubicBezTo>
                    <a:cubicBezTo>
                      <a:pt x="2" y="43"/>
                      <a:pt x="1" y="43"/>
                      <a:pt x="0" y="43"/>
                    </a:cubicBezTo>
                    <a:cubicBezTo>
                      <a:pt x="0" y="43"/>
                      <a:pt x="0" y="44"/>
                      <a:pt x="0" y="44"/>
                    </a:cubicBezTo>
                    <a:cubicBezTo>
                      <a:pt x="2" y="52"/>
                      <a:pt x="5" y="52"/>
                      <a:pt x="8" y="55"/>
                    </a:cubicBezTo>
                    <a:cubicBezTo>
                      <a:pt x="12" y="58"/>
                      <a:pt x="15" y="60"/>
                      <a:pt x="18" y="60"/>
                    </a:cubicBezTo>
                    <a:cubicBezTo>
                      <a:pt x="22" y="60"/>
                      <a:pt x="28" y="65"/>
                      <a:pt x="28" y="68"/>
                    </a:cubicBezTo>
                    <a:cubicBezTo>
                      <a:pt x="29" y="71"/>
                      <a:pt x="32" y="75"/>
                      <a:pt x="34" y="77"/>
                    </a:cubicBezTo>
                    <a:cubicBezTo>
                      <a:pt x="36" y="78"/>
                      <a:pt x="33" y="84"/>
                      <a:pt x="33" y="88"/>
                    </a:cubicBezTo>
                    <a:cubicBezTo>
                      <a:pt x="33" y="92"/>
                      <a:pt x="28" y="93"/>
                      <a:pt x="31" y="97"/>
                    </a:cubicBezTo>
                    <a:cubicBezTo>
                      <a:pt x="33" y="101"/>
                      <a:pt x="51" y="103"/>
                      <a:pt x="56" y="103"/>
                    </a:cubicBezTo>
                    <a:cubicBezTo>
                      <a:pt x="61" y="103"/>
                      <a:pt x="63" y="108"/>
                      <a:pt x="65" y="108"/>
                    </a:cubicBezTo>
                    <a:cubicBezTo>
                      <a:pt x="68" y="109"/>
                      <a:pt x="68" y="113"/>
                      <a:pt x="72" y="114"/>
                    </a:cubicBezTo>
                    <a:cubicBezTo>
                      <a:pt x="76" y="114"/>
                      <a:pt x="79" y="116"/>
                      <a:pt x="81" y="123"/>
                    </a:cubicBezTo>
                    <a:cubicBezTo>
                      <a:pt x="82" y="129"/>
                      <a:pt x="86" y="132"/>
                      <a:pt x="87" y="135"/>
                    </a:cubicBezTo>
                    <a:cubicBezTo>
                      <a:pt x="88" y="137"/>
                      <a:pt x="96" y="135"/>
                      <a:pt x="102" y="136"/>
                    </a:cubicBezTo>
                    <a:cubicBezTo>
                      <a:pt x="108" y="137"/>
                      <a:pt x="124" y="136"/>
                      <a:pt x="129" y="137"/>
                    </a:cubicBezTo>
                    <a:cubicBezTo>
                      <a:pt x="133" y="137"/>
                      <a:pt x="143" y="137"/>
                      <a:pt x="149" y="141"/>
                    </a:cubicBezTo>
                    <a:cubicBezTo>
                      <a:pt x="155" y="145"/>
                      <a:pt x="158" y="142"/>
                      <a:pt x="161" y="144"/>
                    </a:cubicBezTo>
                    <a:cubicBezTo>
                      <a:pt x="165" y="146"/>
                      <a:pt x="168" y="148"/>
                      <a:pt x="173" y="147"/>
                    </a:cubicBezTo>
                    <a:cubicBezTo>
                      <a:pt x="178" y="146"/>
                      <a:pt x="178" y="151"/>
                      <a:pt x="182" y="151"/>
                    </a:cubicBezTo>
                    <a:cubicBezTo>
                      <a:pt x="185" y="152"/>
                      <a:pt x="192" y="145"/>
                      <a:pt x="201" y="141"/>
                    </a:cubicBezTo>
                    <a:cubicBezTo>
                      <a:pt x="211" y="137"/>
                      <a:pt x="222" y="140"/>
                      <a:pt x="227" y="140"/>
                    </a:cubicBezTo>
                    <a:cubicBezTo>
                      <a:pt x="232" y="141"/>
                      <a:pt x="241" y="138"/>
                      <a:pt x="247" y="132"/>
                    </a:cubicBezTo>
                    <a:cubicBezTo>
                      <a:pt x="253" y="125"/>
                      <a:pt x="260" y="127"/>
                      <a:pt x="261" y="121"/>
                    </a:cubicBezTo>
                    <a:cubicBezTo>
                      <a:pt x="262" y="115"/>
                      <a:pt x="255" y="113"/>
                      <a:pt x="258" y="108"/>
                    </a:cubicBezTo>
                    <a:cubicBezTo>
                      <a:pt x="261" y="103"/>
                      <a:pt x="266" y="103"/>
                      <a:pt x="269" y="105"/>
                    </a:cubicBezTo>
                    <a:cubicBezTo>
                      <a:pt x="272" y="106"/>
                      <a:pt x="280" y="108"/>
                      <a:pt x="287" y="103"/>
                    </a:cubicBezTo>
                    <a:cubicBezTo>
                      <a:pt x="294" y="98"/>
                      <a:pt x="297" y="99"/>
                      <a:pt x="304" y="98"/>
                    </a:cubicBezTo>
                    <a:cubicBezTo>
                      <a:pt x="310" y="98"/>
                      <a:pt x="309" y="93"/>
                      <a:pt x="314" y="89"/>
                    </a:cubicBezTo>
                    <a:cubicBezTo>
                      <a:pt x="318" y="84"/>
                      <a:pt x="323" y="83"/>
                      <a:pt x="328" y="83"/>
                    </a:cubicBezTo>
                    <a:cubicBezTo>
                      <a:pt x="332" y="83"/>
                      <a:pt x="338" y="79"/>
                      <a:pt x="342" y="80"/>
                    </a:cubicBezTo>
                    <a:cubicBezTo>
                      <a:pt x="346" y="82"/>
                      <a:pt x="353" y="82"/>
                      <a:pt x="354" y="79"/>
                    </a:cubicBezTo>
                    <a:cubicBezTo>
                      <a:pt x="354" y="75"/>
                      <a:pt x="343" y="68"/>
                      <a:pt x="339" y="6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5" name="Freeform 53">
                <a:extLst>
                  <a:ext uri="{FF2B5EF4-FFF2-40B4-BE49-F238E27FC236}">
                    <a16:creationId xmlns:a16="http://schemas.microsoft.com/office/drawing/2014/main" id="{15D39FB5-4B11-459B-93E2-478EEE340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425" y="3273425"/>
                <a:ext cx="12700" cy="33338"/>
              </a:xfrm>
              <a:custGeom>
                <a:avLst/>
                <a:gdLst>
                  <a:gd name="T0" fmla="*/ 3 w 6"/>
                  <a:gd name="T1" fmla="*/ 0 h 15"/>
                  <a:gd name="T2" fmla="*/ 0 w 6"/>
                  <a:gd name="T3" fmla="*/ 8 h 15"/>
                  <a:gd name="T4" fmla="*/ 5 w 6"/>
                  <a:gd name="T5" fmla="*/ 15 h 15"/>
                  <a:gd name="T6" fmla="*/ 6 w 6"/>
                  <a:gd name="T7" fmla="*/ 2 h 15"/>
                  <a:gd name="T8" fmla="*/ 6 w 6"/>
                  <a:gd name="T9" fmla="*/ 0 h 15"/>
                  <a:gd name="T10" fmla="*/ 3 w 6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5">
                    <a:moveTo>
                      <a:pt x="3" y="0"/>
                    </a:moveTo>
                    <a:cubicBezTo>
                      <a:pt x="1" y="0"/>
                      <a:pt x="0" y="7"/>
                      <a:pt x="0" y="8"/>
                    </a:cubicBezTo>
                    <a:cubicBezTo>
                      <a:pt x="0" y="9"/>
                      <a:pt x="2" y="12"/>
                      <a:pt x="5" y="15"/>
                    </a:cubicBezTo>
                    <a:cubicBezTo>
                      <a:pt x="5" y="10"/>
                      <a:pt x="5" y="4"/>
                      <a:pt x="6" y="2"/>
                    </a:cubicBezTo>
                    <a:cubicBezTo>
                      <a:pt x="6" y="1"/>
                      <a:pt x="6" y="1"/>
                      <a:pt x="6" y="0"/>
                    </a:cubicBezTo>
                    <a:cubicBezTo>
                      <a:pt x="5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6" name="Freeform 54">
                <a:extLst>
                  <a:ext uri="{FF2B5EF4-FFF2-40B4-BE49-F238E27FC236}">
                    <a16:creationId xmlns:a16="http://schemas.microsoft.com/office/drawing/2014/main" id="{6AEE74BC-694E-471D-B412-A9D0EFF4B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75" y="3251200"/>
                <a:ext cx="34925" cy="103188"/>
              </a:xfrm>
              <a:custGeom>
                <a:avLst/>
                <a:gdLst>
                  <a:gd name="T0" fmla="*/ 7 w 16"/>
                  <a:gd name="T1" fmla="*/ 46 h 47"/>
                  <a:gd name="T2" fmla="*/ 9 w 16"/>
                  <a:gd name="T3" fmla="*/ 47 h 47"/>
                  <a:gd name="T4" fmla="*/ 12 w 16"/>
                  <a:gd name="T5" fmla="*/ 31 h 47"/>
                  <a:gd name="T6" fmla="*/ 14 w 16"/>
                  <a:gd name="T7" fmla="*/ 25 h 47"/>
                  <a:gd name="T8" fmla="*/ 9 w 16"/>
                  <a:gd name="T9" fmla="*/ 18 h 47"/>
                  <a:gd name="T10" fmla="*/ 12 w 16"/>
                  <a:gd name="T11" fmla="*/ 10 h 47"/>
                  <a:gd name="T12" fmla="*/ 15 w 16"/>
                  <a:gd name="T13" fmla="*/ 10 h 47"/>
                  <a:gd name="T14" fmla="*/ 16 w 16"/>
                  <a:gd name="T15" fmla="*/ 2 h 47"/>
                  <a:gd name="T16" fmla="*/ 10 w 16"/>
                  <a:gd name="T17" fmla="*/ 0 h 47"/>
                  <a:gd name="T18" fmla="*/ 9 w 16"/>
                  <a:gd name="T19" fmla="*/ 5 h 47"/>
                  <a:gd name="T20" fmla="*/ 0 w 16"/>
                  <a:gd name="T21" fmla="*/ 25 h 47"/>
                  <a:gd name="T22" fmla="*/ 8 w 16"/>
                  <a:gd name="T23" fmla="*/ 45 h 47"/>
                  <a:gd name="T24" fmla="*/ 7 w 16"/>
                  <a:gd name="T25" fmla="*/ 4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7">
                    <a:moveTo>
                      <a:pt x="7" y="46"/>
                    </a:moveTo>
                    <a:cubicBezTo>
                      <a:pt x="8" y="46"/>
                      <a:pt x="8" y="47"/>
                      <a:pt x="9" y="47"/>
                    </a:cubicBezTo>
                    <a:cubicBezTo>
                      <a:pt x="10" y="40"/>
                      <a:pt x="11" y="32"/>
                      <a:pt x="12" y="31"/>
                    </a:cubicBezTo>
                    <a:cubicBezTo>
                      <a:pt x="13" y="30"/>
                      <a:pt x="13" y="28"/>
                      <a:pt x="14" y="25"/>
                    </a:cubicBezTo>
                    <a:cubicBezTo>
                      <a:pt x="11" y="22"/>
                      <a:pt x="9" y="19"/>
                      <a:pt x="9" y="18"/>
                    </a:cubicBezTo>
                    <a:cubicBezTo>
                      <a:pt x="9" y="17"/>
                      <a:pt x="10" y="10"/>
                      <a:pt x="12" y="10"/>
                    </a:cubicBezTo>
                    <a:cubicBezTo>
                      <a:pt x="12" y="10"/>
                      <a:pt x="14" y="10"/>
                      <a:pt x="15" y="10"/>
                    </a:cubicBezTo>
                    <a:cubicBezTo>
                      <a:pt x="16" y="8"/>
                      <a:pt x="16" y="5"/>
                      <a:pt x="16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2"/>
                      <a:pt x="9" y="3"/>
                      <a:pt x="9" y="5"/>
                    </a:cubicBezTo>
                    <a:cubicBezTo>
                      <a:pt x="8" y="11"/>
                      <a:pt x="2" y="21"/>
                      <a:pt x="0" y="25"/>
                    </a:cubicBezTo>
                    <a:cubicBezTo>
                      <a:pt x="8" y="45"/>
                      <a:pt x="8" y="45"/>
                      <a:pt x="8" y="45"/>
                    </a:cubicBezTo>
                    <a:lnTo>
                      <a:pt x="7" y="46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7" name="Freeform 55">
                <a:extLst>
                  <a:ext uri="{FF2B5EF4-FFF2-40B4-BE49-F238E27FC236}">
                    <a16:creationId xmlns:a16="http://schemas.microsoft.com/office/drawing/2014/main" id="{A4885302-1F72-4154-9D81-8DBA258B4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425" y="3249613"/>
                <a:ext cx="103187" cy="115888"/>
              </a:xfrm>
              <a:custGeom>
                <a:avLst/>
                <a:gdLst>
                  <a:gd name="T0" fmla="*/ 44 w 47"/>
                  <a:gd name="T1" fmla="*/ 0 h 53"/>
                  <a:gd name="T2" fmla="*/ 29 w 47"/>
                  <a:gd name="T3" fmla="*/ 7 h 53"/>
                  <a:gd name="T4" fmla="*/ 19 w 47"/>
                  <a:gd name="T5" fmla="*/ 13 h 53"/>
                  <a:gd name="T6" fmla="*/ 8 w 47"/>
                  <a:gd name="T7" fmla="*/ 7 h 53"/>
                  <a:gd name="T8" fmla="*/ 7 w 47"/>
                  <a:gd name="T9" fmla="*/ 3 h 53"/>
                  <a:gd name="T10" fmla="*/ 7 w 47"/>
                  <a:gd name="T11" fmla="*/ 3 h 53"/>
                  <a:gd name="T12" fmla="*/ 6 w 47"/>
                  <a:gd name="T13" fmla="*/ 13 h 53"/>
                  <a:gd name="T14" fmla="*/ 3 w 47"/>
                  <a:gd name="T15" fmla="*/ 32 h 53"/>
                  <a:gd name="T16" fmla="*/ 0 w 47"/>
                  <a:gd name="T17" fmla="*/ 48 h 53"/>
                  <a:gd name="T18" fmla="*/ 10 w 47"/>
                  <a:gd name="T19" fmla="*/ 52 h 53"/>
                  <a:gd name="T20" fmla="*/ 19 w 47"/>
                  <a:gd name="T21" fmla="*/ 46 h 53"/>
                  <a:gd name="T22" fmla="*/ 26 w 47"/>
                  <a:gd name="T23" fmla="*/ 42 h 53"/>
                  <a:gd name="T24" fmla="*/ 32 w 47"/>
                  <a:gd name="T25" fmla="*/ 37 h 53"/>
                  <a:gd name="T26" fmla="*/ 24 w 47"/>
                  <a:gd name="T27" fmla="*/ 27 h 53"/>
                  <a:gd name="T28" fmla="*/ 35 w 47"/>
                  <a:gd name="T29" fmla="*/ 20 h 53"/>
                  <a:gd name="T30" fmla="*/ 47 w 47"/>
                  <a:gd name="T31" fmla="*/ 17 h 53"/>
                  <a:gd name="T32" fmla="*/ 47 w 47"/>
                  <a:gd name="T33" fmla="*/ 17 h 53"/>
                  <a:gd name="T34" fmla="*/ 45 w 47"/>
                  <a:gd name="T35" fmla="*/ 6 h 53"/>
                  <a:gd name="T36" fmla="*/ 44 w 47"/>
                  <a:gd name="T3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53">
                    <a:moveTo>
                      <a:pt x="44" y="0"/>
                    </a:moveTo>
                    <a:cubicBezTo>
                      <a:pt x="37" y="4"/>
                      <a:pt x="30" y="7"/>
                      <a:pt x="29" y="7"/>
                    </a:cubicBezTo>
                    <a:cubicBezTo>
                      <a:pt x="26" y="7"/>
                      <a:pt x="19" y="13"/>
                      <a:pt x="19" y="1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7"/>
                      <a:pt x="6" y="11"/>
                      <a:pt x="6" y="13"/>
                    </a:cubicBezTo>
                    <a:cubicBezTo>
                      <a:pt x="5" y="16"/>
                      <a:pt x="5" y="29"/>
                      <a:pt x="3" y="32"/>
                    </a:cubicBezTo>
                    <a:cubicBezTo>
                      <a:pt x="2" y="33"/>
                      <a:pt x="1" y="41"/>
                      <a:pt x="0" y="48"/>
                    </a:cubicBezTo>
                    <a:cubicBezTo>
                      <a:pt x="3" y="50"/>
                      <a:pt x="8" y="52"/>
                      <a:pt x="10" y="52"/>
                    </a:cubicBezTo>
                    <a:cubicBezTo>
                      <a:pt x="14" y="53"/>
                      <a:pt x="19" y="48"/>
                      <a:pt x="19" y="46"/>
                    </a:cubicBezTo>
                    <a:cubicBezTo>
                      <a:pt x="19" y="43"/>
                      <a:pt x="22" y="42"/>
                      <a:pt x="26" y="42"/>
                    </a:cubicBezTo>
                    <a:cubicBezTo>
                      <a:pt x="29" y="42"/>
                      <a:pt x="30" y="38"/>
                      <a:pt x="32" y="37"/>
                    </a:cubicBezTo>
                    <a:cubicBezTo>
                      <a:pt x="35" y="36"/>
                      <a:pt x="27" y="28"/>
                      <a:pt x="24" y="27"/>
                    </a:cubicBezTo>
                    <a:cubicBezTo>
                      <a:pt x="21" y="26"/>
                      <a:pt x="26" y="21"/>
                      <a:pt x="35" y="20"/>
                    </a:cubicBezTo>
                    <a:cubicBezTo>
                      <a:pt x="44" y="20"/>
                      <a:pt x="42" y="17"/>
                      <a:pt x="47" y="17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6" y="13"/>
                      <a:pt x="45" y="8"/>
                      <a:pt x="45" y="6"/>
                    </a:cubicBezTo>
                    <a:cubicBezTo>
                      <a:pt x="44" y="4"/>
                      <a:pt x="44" y="2"/>
                      <a:pt x="44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8" name="Freeform 56">
                <a:extLst>
                  <a:ext uri="{FF2B5EF4-FFF2-40B4-BE49-F238E27FC236}">
                    <a16:creationId xmlns:a16="http://schemas.microsoft.com/office/drawing/2014/main" id="{C04C286F-7D92-4890-A90C-AC20FA307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0438" y="2965450"/>
                <a:ext cx="273050" cy="119063"/>
              </a:xfrm>
              <a:custGeom>
                <a:avLst/>
                <a:gdLst>
                  <a:gd name="T0" fmla="*/ 114 w 124"/>
                  <a:gd name="T1" fmla="*/ 11 h 54"/>
                  <a:gd name="T2" fmla="*/ 104 w 124"/>
                  <a:gd name="T3" fmla="*/ 8 h 54"/>
                  <a:gd name="T4" fmla="*/ 75 w 124"/>
                  <a:gd name="T5" fmla="*/ 6 h 54"/>
                  <a:gd name="T6" fmla="*/ 60 w 124"/>
                  <a:gd name="T7" fmla="*/ 2 h 54"/>
                  <a:gd name="T8" fmla="*/ 48 w 124"/>
                  <a:gd name="T9" fmla="*/ 6 h 54"/>
                  <a:gd name="T10" fmla="*/ 38 w 124"/>
                  <a:gd name="T11" fmla="*/ 8 h 54"/>
                  <a:gd name="T12" fmla="*/ 23 w 124"/>
                  <a:gd name="T13" fmla="*/ 8 h 54"/>
                  <a:gd name="T14" fmla="*/ 16 w 124"/>
                  <a:gd name="T15" fmla="*/ 16 h 54"/>
                  <a:gd name="T16" fmla="*/ 12 w 124"/>
                  <a:gd name="T17" fmla="*/ 22 h 54"/>
                  <a:gd name="T18" fmla="*/ 16 w 124"/>
                  <a:gd name="T19" fmla="*/ 26 h 54"/>
                  <a:gd name="T20" fmla="*/ 25 w 124"/>
                  <a:gd name="T21" fmla="*/ 25 h 54"/>
                  <a:gd name="T22" fmla="*/ 41 w 124"/>
                  <a:gd name="T23" fmla="*/ 33 h 54"/>
                  <a:gd name="T24" fmla="*/ 36 w 124"/>
                  <a:gd name="T25" fmla="*/ 38 h 54"/>
                  <a:gd name="T26" fmla="*/ 25 w 124"/>
                  <a:gd name="T27" fmla="*/ 40 h 54"/>
                  <a:gd name="T28" fmla="*/ 9 w 124"/>
                  <a:gd name="T29" fmla="*/ 42 h 54"/>
                  <a:gd name="T30" fmla="*/ 1 w 124"/>
                  <a:gd name="T31" fmla="*/ 49 h 54"/>
                  <a:gd name="T32" fmla="*/ 17 w 124"/>
                  <a:gd name="T33" fmla="*/ 50 h 54"/>
                  <a:gd name="T34" fmla="*/ 27 w 124"/>
                  <a:gd name="T35" fmla="*/ 51 h 54"/>
                  <a:gd name="T36" fmla="*/ 36 w 124"/>
                  <a:gd name="T37" fmla="*/ 53 h 54"/>
                  <a:gd name="T38" fmla="*/ 51 w 124"/>
                  <a:gd name="T39" fmla="*/ 52 h 54"/>
                  <a:gd name="T40" fmla="*/ 53 w 124"/>
                  <a:gd name="T41" fmla="*/ 46 h 54"/>
                  <a:gd name="T42" fmla="*/ 58 w 124"/>
                  <a:gd name="T43" fmla="*/ 43 h 54"/>
                  <a:gd name="T44" fmla="*/ 64 w 124"/>
                  <a:gd name="T45" fmla="*/ 39 h 54"/>
                  <a:gd name="T46" fmla="*/ 71 w 124"/>
                  <a:gd name="T47" fmla="*/ 37 h 54"/>
                  <a:gd name="T48" fmla="*/ 78 w 124"/>
                  <a:gd name="T49" fmla="*/ 39 h 54"/>
                  <a:gd name="T50" fmla="*/ 85 w 124"/>
                  <a:gd name="T51" fmla="*/ 35 h 54"/>
                  <a:gd name="T52" fmla="*/ 95 w 124"/>
                  <a:gd name="T53" fmla="*/ 32 h 54"/>
                  <a:gd name="T54" fmla="*/ 104 w 124"/>
                  <a:gd name="T55" fmla="*/ 27 h 54"/>
                  <a:gd name="T56" fmla="*/ 113 w 124"/>
                  <a:gd name="T57" fmla="*/ 22 h 54"/>
                  <a:gd name="T58" fmla="*/ 123 w 124"/>
                  <a:gd name="T59" fmla="*/ 17 h 54"/>
                  <a:gd name="T60" fmla="*/ 124 w 124"/>
                  <a:gd name="T61" fmla="*/ 14 h 54"/>
                  <a:gd name="T62" fmla="*/ 114 w 124"/>
                  <a:gd name="T63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4" h="54">
                    <a:moveTo>
                      <a:pt x="114" y="11"/>
                    </a:moveTo>
                    <a:cubicBezTo>
                      <a:pt x="110" y="6"/>
                      <a:pt x="109" y="9"/>
                      <a:pt x="104" y="8"/>
                    </a:cubicBezTo>
                    <a:cubicBezTo>
                      <a:pt x="99" y="6"/>
                      <a:pt x="79" y="4"/>
                      <a:pt x="75" y="6"/>
                    </a:cubicBezTo>
                    <a:cubicBezTo>
                      <a:pt x="71" y="8"/>
                      <a:pt x="62" y="3"/>
                      <a:pt x="60" y="2"/>
                    </a:cubicBezTo>
                    <a:cubicBezTo>
                      <a:pt x="57" y="0"/>
                      <a:pt x="48" y="2"/>
                      <a:pt x="48" y="6"/>
                    </a:cubicBezTo>
                    <a:cubicBezTo>
                      <a:pt x="48" y="11"/>
                      <a:pt x="44" y="11"/>
                      <a:pt x="38" y="8"/>
                    </a:cubicBezTo>
                    <a:cubicBezTo>
                      <a:pt x="32" y="5"/>
                      <a:pt x="23" y="5"/>
                      <a:pt x="23" y="8"/>
                    </a:cubicBezTo>
                    <a:cubicBezTo>
                      <a:pt x="22" y="12"/>
                      <a:pt x="18" y="15"/>
                      <a:pt x="16" y="16"/>
                    </a:cubicBezTo>
                    <a:cubicBezTo>
                      <a:pt x="15" y="16"/>
                      <a:pt x="13" y="19"/>
                      <a:pt x="12" y="22"/>
                    </a:cubicBezTo>
                    <a:cubicBezTo>
                      <a:pt x="14" y="23"/>
                      <a:pt x="15" y="24"/>
                      <a:pt x="16" y="26"/>
                    </a:cubicBezTo>
                    <a:cubicBezTo>
                      <a:pt x="19" y="29"/>
                      <a:pt x="24" y="28"/>
                      <a:pt x="25" y="25"/>
                    </a:cubicBezTo>
                    <a:cubicBezTo>
                      <a:pt x="26" y="23"/>
                      <a:pt x="35" y="28"/>
                      <a:pt x="41" y="33"/>
                    </a:cubicBezTo>
                    <a:cubicBezTo>
                      <a:pt x="46" y="37"/>
                      <a:pt x="38" y="34"/>
                      <a:pt x="36" y="38"/>
                    </a:cubicBezTo>
                    <a:cubicBezTo>
                      <a:pt x="34" y="43"/>
                      <a:pt x="27" y="38"/>
                      <a:pt x="25" y="40"/>
                    </a:cubicBezTo>
                    <a:cubicBezTo>
                      <a:pt x="23" y="42"/>
                      <a:pt x="12" y="43"/>
                      <a:pt x="9" y="42"/>
                    </a:cubicBezTo>
                    <a:cubicBezTo>
                      <a:pt x="6" y="42"/>
                      <a:pt x="0" y="47"/>
                      <a:pt x="1" y="49"/>
                    </a:cubicBezTo>
                    <a:cubicBezTo>
                      <a:pt x="1" y="51"/>
                      <a:pt x="13" y="48"/>
                      <a:pt x="17" y="50"/>
                    </a:cubicBezTo>
                    <a:cubicBezTo>
                      <a:pt x="21" y="53"/>
                      <a:pt x="25" y="48"/>
                      <a:pt x="27" y="51"/>
                    </a:cubicBezTo>
                    <a:cubicBezTo>
                      <a:pt x="29" y="54"/>
                      <a:pt x="34" y="52"/>
                      <a:pt x="36" y="53"/>
                    </a:cubicBezTo>
                    <a:cubicBezTo>
                      <a:pt x="39" y="54"/>
                      <a:pt x="51" y="52"/>
                      <a:pt x="51" y="52"/>
                    </a:cubicBezTo>
                    <a:cubicBezTo>
                      <a:pt x="52" y="50"/>
                      <a:pt x="53" y="48"/>
                      <a:pt x="53" y="46"/>
                    </a:cubicBezTo>
                    <a:cubicBezTo>
                      <a:pt x="53" y="43"/>
                      <a:pt x="55" y="44"/>
                      <a:pt x="58" y="43"/>
                    </a:cubicBezTo>
                    <a:cubicBezTo>
                      <a:pt x="60" y="42"/>
                      <a:pt x="62" y="39"/>
                      <a:pt x="64" y="39"/>
                    </a:cubicBezTo>
                    <a:cubicBezTo>
                      <a:pt x="66" y="39"/>
                      <a:pt x="69" y="36"/>
                      <a:pt x="71" y="37"/>
                    </a:cubicBezTo>
                    <a:cubicBezTo>
                      <a:pt x="73" y="38"/>
                      <a:pt x="75" y="41"/>
                      <a:pt x="78" y="39"/>
                    </a:cubicBezTo>
                    <a:cubicBezTo>
                      <a:pt x="80" y="37"/>
                      <a:pt x="81" y="39"/>
                      <a:pt x="85" y="35"/>
                    </a:cubicBezTo>
                    <a:cubicBezTo>
                      <a:pt x="88" y="30"/>
                      <a:pt x="90" y="31"/>
                      <a:pt x="95" y="32"/>
                    </a:cubicBezTo>
                    <a:cubicBezTo>
                      <a:pt x="100" y="32"/>
                      <a:pt x="102" y="30"/>
                      <a:pt x="104" y="27"/>
                    </a:cubicBezTo>
                    <a:cubicBezTo>
                      <a:pt x="105" y="24"/>
                      <a:pt x="110" y="24"/>
                      <a:pt x="113" y="22"/>
                    </a:cubicBezTo>
                    <a:cubicBezTo>
                      <a:pt x="115" y="20"/>
                      <a:pt x="121" y="17"/>
                      <a:pt x="123" y="17"/>
                    </a:cubicBezTo>
                    <a:cubicBezTo>
                      <a:pt x="123" y="16"/>
                      <a:pt x="124" y="15"/>
                      <a:pt x="124" y="14"/>
                    </a:cubicBezTo>
                    <a:cubicBezTo>
                      <a:pt x="120" y="11"/>
                      <a:pt x="118" y="15"/>
                      <a:pt x="114" y="1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79" name="Freeform 57">
                <a:extLst>
                  <a:ext uri="{FF2B5EF4-FFF2-40B4-BE49-F238E27FC236}">
                    <a16:creationId xmlns:a16="http://schemas.microsoft.com/office/drawing/2014/main" id="{F821442E-C3C1-469A-9F04-518834FCD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0663" y="2952750"/>
                <a:ext cx="171450" cy="76200"/>
              </a:xfrm>
              <a:custGeom>
                <a:avLst/>
                <a:gdLst>
                  <a:gd name="T0" fmla="*/ 31 w 78"/>
                  <a:gd name="T1" fmla="*/ 27 h 35"/>
                  <a:gd name="T2" fmla="*/ 39 w 78"/>
                  <a:gd name="T3" fmla="*/ 34 h 35"/>
                  <a:gd name="T4" fmla="*/ 39 w 78"/>
                  <a:gd name="T5" fmla="*/ 34 h 35"/>
                  <a:gd name="T6" fmla="*/ 50 w 78"/>
                  <a:gd name="T7" fmla="*/ 32 h 35"/>
                  <a:gd name="T8" fmla="*/ 60 w 78"/>
                  <a:gd name="T9" fmla="*/ 33 h 35"/>
                  <a:gd name="T10" fmla="*/ 60 w 78"/>
                  <a:gd name="T11" fmla="*/ 31 h 35"/>
                  <a:gd name="T12" fmla="*/ 68 w 78"/>
                  <a:gd name="T13" fmla="*/ 33 h 35"/>
                  <a:gd name="T14" fmla="*/ 76 w 78"/>
                  <a:gd name="T15" fmla="*/ 34 h 35"/>
                  <a:gd name="T16" fmla="*/ 73 w 78"/>
                  <a:gd name="T17" fmla="*/ 29 h 35"/>
                  <a:gd name="T18" fmla="*/ 75 w 78"/>
                  <a:gd name="T19" fmla="*/ 24 h 35"/>
                  <a:gd name="T20" fmla="*/ 68 w 78"/>
                  <a:gd name="T21" fmla="*/ 21 h 35"/>
                  <a:gd name="T22" fmla="*/ 64 w 78"/>
                  <a:gd name="T23" fmla="*/ 14 h 35"/>
                  <a:gd name="T24" fmla="*/ 60 w 78"/>
                  <a:gd name="T25" fmla="*/ 12 h 35"/>
                  <a:gd name="T26" fmla="*/ 49 w 78"/>
                  <a:gd name="T27" fmla="*/ 14 h 35"/>
                  <a:gd name="T28" fmla="*/ 42 w 78"/>
                  <a:gd name="T29" fmla="*/ 10 h 35"/>
                  <a:gd name="T30" fmla="*/ 35 w 78"/>
                  <a:gd name="T31" fmla="*/ 6 h 35"/>
                  <a:gd name="T32" fmla="*/ 17 w 78"/>
                  <a:gd name="T33" fmla="*/ 4 h 35"/>
                  <a:gd name="T34" fmla="*/ 4 w 78"/>
                  <a:gd name="T35" fmla="*/ 0 h 35"/>
                  <a:gd name="T36" fmla="*/ 0 w 78"/>
                  <a:gd name="T37" fmla="*/ 2 h 35"/>
                  <a:gd name="T38" fmla="*/ 17 w 78"/>
                  <a:gd name="T39" fmla="*/ 12 h 35"/>
                  <a:gd name="T40" fmla="*/ 21 w 78"/>
                  <a:gd name="T41" fmla="*/ 24 h 35"/>
                  <a:gd name="T42" fmla="*/ 19 w 78"/>
                  <a:gd name="T43" fmla="*/ 28 h 35"/>
                  <a:gd name="T44" fmla="*/ 31 w 78"/>
                  <a:gd name="T45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8" h="35">
                    <a:moveTo>
                      <a:pt x="31" y="27"/>
                    </a:moveTo>
                    <a:cubicBezTo>
                      <a:pt x="34" y="26"/>
                      <a:pt x="36" y="30"/>
                      <a:pt x="39" y="34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43" y="34"/>
                      <a:pt x="46" y="33"/>
                      <a:pt x="50" y="32"/>
                    </a:cubicBezTo>
                    <a:cubicBezTo>
                      <a:pt x="53" y="32"/>
                      <a:pt x="57" y="32"/>
                      <a:pt x="60" y="33"/>
                    </a:cubicBezTo>
                    <a:cubicBezTo>
                      <a:pt x="60" y="32"/>
                      <a:pt x="60" y="31"/>
                      <a:pt x="60" y="31"/>
                    </a:cubicBezTo>
                    <a:cubicBezTo>
                      <a:pt x="61" y="29"/>
                      <a:pt x="66" y="31"/>
                      <a:pt x="68" y="33"/>
                    </a:cubicBezTo>
                    <a:cubicBezTo>
                      <a:pt x="69" y="35"/>
                      <a:pt x="75" y="35"/>
                      <a:pt x="76" y="34"/>
                    </a:cubicBezTo>
                    <a:cubicBezTo>
                      <a:pt x="78" y="32"/>
                      <a:pt x="74" y="30"/>
                      <a:pt x="73" y="29"/>
                    </a:cubicBezTo>
                    <a:cubicBezTo>
                      <a:pt x="72" y="28"/>
                      <a:pt x="73" y="26"/>
                      <a:pt x="75" y="24"/>
                    </a:cubicBezTo>
                    <a:cubicBezTo>
                      <a:pt x="72" y="23"/>
                      <a:pt x="69" y="21"/>
                      <a:pt x="68" y="21"/>
                    </a:cubicBezTo>
                    <a:cubicBezTo>
                      <a:pt x="66" y="21"/>
                      <a:pt x="66" y="14"/>
                      <a:pt x="64" y="14"/>
                    </a:cubicBezTo>
                    <a:cubicBezTo>
                      <a:pt x="62" y="14"/>
                      <a:pt x="62" y="12"/>
                      <a:pt x="60" y="12"/>
                    </a:cubicBezTo>
                    <a:cubicBezTo>
                      <a:pt x="58" y="12"/>
                      <a:pt x="51" y="12"/>
                      <a:pt x="49" y="14"/>
                    </a:cubicBezTo>
                    <a:cubicBezTo>
                      <a:pt x="47" y="15"/>
                      <a:pt x="44" y="10"/>
                      <a:pt x="42" y="10"/>
                    </a:cubicBezTo>
                    <a:cubicBezTo>
                      <a:pt x="39" y="10"/>
                      <a:pt x="36" y="8"/>
                      <a:pt x="35" y="6"/>
                    </a:cubicBezTo>
                    <a:cubicBezTo>
                      <a:pt x="33" y="4"/>
                      <a:pt x="21" y="7"/>
                      <a:pt x="17" y="4"/>
                    </a:cubicBezTo>
                    <a:cubicBezTo>
                      <a:pt x="14" y="2"/>
                      <a:pt x="7" y="0"/>
                      <a:pt x="4" y="0"/>
                    </a:cubicBezTo>
                    <a:cubicBezTo>
                      <a:pt x="3" y="1"/>
                      <a:pt x="1" y="1"/>
                      <a:pt x="0" y="2"/>
                    </a:cubicBezTo>
                    <a:cubicBezTo>
                      <a:pt x="6" y="6"/>
                      <a:pt x="16" y="5"/>
                      <a:pt x="17" y="12"/>
                    </a:cubicBezTo>
                    <a:cubicBezTo>
                      <a:pt x="19" y="20"/>
                      <a:pt x="23" y="17"/>
                      <a:pt x="21" y="24"/>
                    </a:cubicBezTo>
                    <a:cubicBezTo>
                      <a:pt x="21" y="25"/>
                      <a:pt x="20" y="26"/>
                      <a:pt x="19" y="28"/>
                    </a:cubicBezTo>
                    <a:cubicBezTo>
                      <a:pt x="24" y="28"/>
                      <a:pt x="29" y="28"/>
                      <a:pt x="31" y="2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0" name="Freeform 58">
                <a:extLst>
                  <a:ext uri="{FF2B5EF4-FFF2-40B4-BE49-F238E27FC236}">
                    <a16:creationId xmlns:a16="http://schemas.microsoft.com/office/drawing/2014/main" id="{F5B16682-5866-48D8-B867-ACA339EDDF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59350" y="2997200"/>
                <a:ext cx="465137" cy="180975"/>
              </a:xfrm>
              <a:custGeom>
                <a:avLst/>
                <a:gdLst>
                  <a:gd name="T0" fmla="*/ 206 w 212"/>
                  <a:gd name="T1" fmla="*/ 58 h 83"/>
                  <a:gd name="T2" fmla="*/ 206 w 212"/>
                  <a:gd name="T3" fmla="*/ 46 h 83"/>
                  <a:gd name="T4" fmla="*/ 205 w 212"/>
                  <a:gd name="T5" fmla="*/ 37 h 83"/>
                  <a:gd name="T6" fmla="*/ 208 w 212"/>
                  <a:gd name="T7" fmla="*/ 31 h 83"/>
                  <a:gd name="T8" fmla="*/ 206 w 212"/>
                  <a:gd name="T9" fmla="*/ 27 h 83"/>
                  <a:gd name="T10" fmla="*/ 198 w 212"/>
                  <a:gd name="T11" fmla="*/ 23 h 83"/>
                  <a:gd name="T12" fmla="*/ 195 w 212"/>
                  <a:gd name="T13" fmla="*/ 14 h 83"/>
                  <a:gd name="T14" fmla="*/ 187 w 212"/>
                  <a:gd name="T15" fmla="*/ 7 h 83"/>
                  <a:gd name="T16" fmla="*/ 175 w 212"/>
                  <a:gd name="T17" fmla="*/ 8 h 83"/>
                  <a:gd name="T18" fmla="*/ 154 w 212"/>
                  <a:gd name="T19" fmla="*/ 15 h 83"/>
                  <a:gd name="T20" fmla="*/ 134 w 212"/>
                  <a:gd name="T21" fmla="*/ 15 h 83"/>
                  <a:gd name="T22" fmla="*/ 121 w 212"/>
                  <a:gd name="T23" fmla="*/ 11 h 83"/>
                  <a:gd name="T24" fmla="*/ 111 w 212"/>
                  <a:gd name="T25" fmla="*/ 6 h 83"/>
                  <a:gd name="T26" fmla="*/ 94 w 212"/>
                  <a:gd name="T27" fmla="*/ 2 h 83"/>
                  <a:gd name="T28" fmla="*/ 60 w 212"/>
                  <a:gd name="T29" fmla="*/ 12 h 83"/>
                  <a:gd name="T30" fmla="*/ 35 w 212"/>
                  <a:gd name="T31" fmla="*/ 14 h 83"/>
                  <a:gd name="T32" fmla="*/ 30 w 212"/>
                  <a:gd name="T33" fmla="*/ 22 h 83"/>
                  <a:gd name="T34" fmla="*/ 6 w 212"/>
                  <a:gd name="T35" fmla="*/ 24 h 83"/>
                  <a:gd name="T36" fmla="*/ 4 w 212"/>
                  <a:gd name="T37" fmla="*/ 33 h 83"/>
                  <a:gd name="T38" fmla="*/ 8 w 212"/>
                  <a:gd name="T39" fmla="*/ 36 h 83"/>
                  <a:gd name="T40" fmla="*/ 9 w 212"/>
                  <a:gd name="T41" fmla="*/ 44 h 83"/>
                  <a:gd name="T42" fmla="*/ 10 w 212"/>
                  <a:gd name="T43" fmla="*/ 52 h 83"/>
                  <a:gd name="T44" fmla="*/ 10 w 212"/>
                  <a:gd name="T45" fmla="*/ 58 h 83"/>
                  <a:gd name="T46" fmla="*/ 15 w 212"/>
                  <a:gd name="T47" fmla="*/ 64 h 83"/>
                  <a:gd name="T48" fmla="*/ 23 w 212"/>
                  <a:gd name="T49" fmla="*/ 68 h 83"/>
                  <a:gd name="T50" fmla="*/ 28 w 212"/>
                  <a:gd name="T51" fmla="*/ 70 h 83"/>
                  <a:gd name="T52" fmla="*/ 35 w 212"/>
                  <a:gd name="T53" fmla="*/ 77 h 83"/>
                  <a:gd name="T54" fmla="*/ 50 w 212"/>
                  <a:gd name="T55" fmla="*/ 75 h 83"/>
                  <a:gd name="T56" fmla="*/ 59 w 212"/>
                  <a:gd name="T57" fmla="*/ 70 h 83"/>
                  <a:gd name="T58" fmla="*/ 74 w 212"/>
                  <a:gd name="T59" fmla="*/ 79 h 83"/>
                  <a:gd name="T60" fmla="*/ 86 w 212"/>
                  <a:gd name="T61" fmla="*/ 77 h 83"/>
                  <a:gd name="T62" fmla="*/ 96 w 212"/>
                  <a:gd name="T63" fmla="*/ 71 h 83"/>
                  <a:gd name="T64" fmla="*/ 105 w 212"/>
                  <a:gd name="T65" fmla="*/ 73 h 83"/>
                  <a:gd name="T66" fmla="*/ 114 w 212"/>
                  <a:gd name="T67" fmla="*/ 71 h 83"/>
                  <a:gd name="T68" fmla="*/ 111 w 212"/>
                  <a:gd name="T69" fmla="*/ 80 h 83"/>
                  <a:gd name="T70" fmla="*/ 111 w 212"/>
                  <a:gd name="T71" fmla="*/ 83 h 83"/>
                  <a:gd name="T72" fmla="*/ 118 w 212"/>
                  <a:gd name="T73" fmla="*/ 76 h 83"/>
                  <a:gd name="T74" fmla="*/ 122 w 212"/>
                  <a:gd name="T75" fmla="*/ 73 h 83"/>
                  <a:gd name="T76" fmla="*/ 132 w 212"/>
                  <a:gd name="T77" fmla="*/ 73 h 83"/>
                  <a:gd name="T78" fmla="*/ 139 w 212"/>
                  <a:gd name="T79" fmla="*/ 72 h 83"/>
                  <a:gd name="T80" fmla="*/ 152 w 212"/>
                  <a:gd name="T81" fmla="*/ 72 h 83"/>
                  <a:gd name="T82" fmla="*/ 167 w 212"/>
                  <a:gd name="T83" fmla="*/ 68 h 83"/>
                  <a:gd name="T84" fmla="*/ 180 w 212"/>
                  <a:gd name="T85" fmla="*/ 66 h 83"/>
                  <a:gd name="T86" fmla="*/ 184 w 212"/>
                  <a:gd name="T87" fmla="*/ 67 h 83"/>
                  <a:gd name="T88" fmla="*/ 189 w 212"/>
                  <a:gd name="T89" fmla="*/ 63 h 83"/>
                  <a:gd name="T90" fmla="*/ 199 w 212"/>
                  <a:gd name="T91" fmla="*/ 65 h 83"/>
                  <a:gd name="T92" fmla="*/ 211 w 212"/>
                  <a:gd name="T93" fmla="*/ 67 h 83"/>
                  <a:gd name="T94" fmla="*/ 206 w 212"/>
                  <a:gd name="T95" fmla="*/ 58 h 83"/>
                  <a:gd name="T96" fmla="*/ 18 w 212"/>
                  <a:gd name="T97" fmla="*/ 15 h 83"/>
                  <a:gd name="T98" fmla="*/ 33 w 212"/>
                  <a:gd name="T99" fmla="*/ 14 h 83"/>
                  <a:gd name="T100" fmla="*/ 25 w 212"/>
                  <a:gd name="T101" fmla="*/ 7 h 83"/>
                  <a:gd name="T102" fmla="*/ 22 w 212"/>
                  <a:gd name="T103" fmla="*/ 1 h 83"/>
                  <a:gd name="T104" fmla="*/ 17 w 212"/>
                  <a:gd name="T105" fmla="*/ 2 h 83"/>
                  <a:gd name="T106" fmla="*/ 6 w 212"/>
                  <a:gd name="T107" fmla="*/ 2 h 83"/>
                  <a:gd name="T108" fmla="*/ 7 w 212"/>
                  <a:gd name="T109" fmla="*/ 9 h 83"/>
                  <a:gd name="T110" fmla="*/ 4 w 212"/>
                  <a:gd name="T111" fmla="*/ 15 h 83"/>
                  <a:gd name="T112" fmla="*/ 1 w 212"/>
                  <a:gd name="T113" fmla="*/ 19 h 83"/>
                  <a:gd name="T114" fmla="*/ 8 w 212"/>
                  <a:gd name="T115" fmla="*/ 22 h 83"/>
                  <a:gd name="T116" fmla="*/ 18 w 212"/>
                  <a:gd name="T117" fmla="*/ 1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83">
                    <a:moveTo>
                      <a:pt x="206" y="58"/>
                    </a:moveTo>
                    <a:cubicBezTo>
                      <a:pt x="204" y="58"/>
                      <a:pt x="207" y="48"/>
                      <a:pt x="206" y="46"/>
                    </a:cubicBezTo>
                    <a:cubicBezTo>
                      <a:pt x="205" y="44"/>
                      <a:pt x="203" y="37"/>
                      <a:pt x="205" y="37"/>
                    </a:cubicBezTo>
                    <a:cubicBezTo>
                      <a:pt x="208" y="37"/>
                      <a:pt x="205" y="31"/>
                      <a:pt x="208" y="31"/>
                    </a:cubicBezTo>
                    <a:cubicBezTo>
                      <a:pt x="208" y="29"/>
                      <a:pt x="207" y="27"/>
                      <a:pt x="206" y="27"/>
                    </a:cubicBezTo>
                    <a:cubicBezTo>
                      <a:pt x="205" y="26"/>
                      <a:pt x="200" y="28"/>
                      <a:pt x="198" y="23"/>
                    </a:cubicBezTo>
                    <a:cubicBezTo>
                      <a:pt x="196" y="18"/>
                      <a:pt x="198" y="18"/>
                      <a:pt x="195" y="14"/>
                    </a:cubicBezTo>
                    <a:cubicBezTo>
                      <a:pt x="192" y="10"/>
                      <a:pt x="190" y="6"/>
                      <a:pt x="187" y="7"/>
                    </a:cubicBezTo>
                    <a:cubicBezTo>
                      <a:pt x="185" y="8"/>
                      <a:pt x="180" y="8"/>
                      <a:pt x="175" y="8"/>
                    </a:cubicBezTo>
                    <a:cubicBezTo>
                      <a:pt x="169" y="13"/>
                      <a:pt x="157" y="16"/>
                      <a:pt x="154" y="15"/>
                    </a:cubicBezTo>
                    <a:cubicBezTo>
                      <a:pt x="149" y="13"/>
                      <a:pt x="141" y="15"/>
                      <a:pt x="134" y="15"/>
                    </a:cubicBezTo>
                    <a:cubicBezTo>
                      <a:pt x="128" y="15"/>
                      <a:pt x="126" y="10"/>
                      <a:pt x="121" y="11"/>
                    </a:cubicBezTo>
                    <a:cubicBezTo>
                      <a:pt x="116" y="11"/>
                      <a:pt x="116" y="6"/>
                      <a:pt x="111" y="6"/>
                    </a:cubicBezTo>
                    <a:cubicBezTo>
                      <a:pt x="106" y="6"/>
                      <a:pt x="110" y="4"/>
                      <a:pt x="94" y="2"/>
                    </a:cubicBezTo>
                    <a:cubicBezTo>
                      <a:pt x="78" y="0"/>
                      <a:pt x="65" y="8"/>
                      <a:pt x="60" y="12"/>
                    </a:cubicBezTo>
                    <a:cubicBezTo>
                      <a:pt x="55" y="17"/>
                      <a:pt x="37" y="12"/>
                      <a:pt x="35" y="14"/>
                    </a:cubicBezTo>
                    <a:cubicBezTo>
                      <a:pt x="34" y="15"/>
                      <a:pt x="36" y="20"/>
                      <a:pt x="30" y="22"/>
                    </a:cubicBezTo>
                    <a:cubicBezTo>
                      <a:pt x="24" y="25"/>
                      <a:pt x="10" y="22"/>
                      <a:pt x="6" y="24"/>
                    </a:cubicBezTo>
                    <a:cubicBezTo>
                      <a:pt x="1" y="26"/>
                      <a:pt x="0" y="33"/>
                      <a:pt x="4" y="33"/>
                    </a:cubicBezTo>
                    <a:cubicBezTo>
                      <a:pt x="7" y="32"/>
                      <a:pt x="9" y="34"/>
                      <a:pt x="8" y="36"/>
                    </a:cubicBezTo>
                    <a:cubicBezTo>
                      <a:pt x="7" y="37"/>
                      <a:pt x="11" y="42"/>
                      <a:pt x="9" y="44"/>
                    </a:cubicBezTo>
                    <a:cubicBezTo>
                      <a:pt x="7" y="46"/>
                      <a:pt x="7" y="50"/>
                      <a:pt x="10" y="52"/>
                    </a:cubicBezTo>
                    <a:cubicBezTo>
                      <a:pt x="12" y="54"/>
                      <a:pt x="13" y="58"/>
                      <a:pt x="10" y="58"/>
                    </a:cubicBezTo>
                    <a:cubicBezTo>
                      <a:pt x="6" y="59"/>
                      <a:pt x="15" y="62"/>
                      <a:pt x="15" y="64"/>
                    </a:cubicBezTo>
                    <a:cubicBezTo>
                      <a:pt x="15" y="66"/>
                      <a:pt x="23" y="66"/>
                      <a:pt x="23" y="68"/>
                    </a:cubicBezTo>
                    <a:cubicBezTo>
                      <a:pt x="23" y="70"/>
                      <a:pt x="25" y="71"/>
                      <a:pt x="28" y="70"/>
                    </a:cubicBezTo>
                    <a:cubicBezTo>
                      <a:pt x="32" y="69"/>
                      <a:pt x="33" y="74"/>
                      <a:pt x="35" y="77"/>
                    </a:cubicBezTo>
                    <a:cubicBezTo>
                      <a:pt x="37" y="81"/>
                      <a:pt x="50" y="78"/>
                      <a:pt x="50" y="75"/>
                    </a:cubicBezTo>
                    <a:cubicBezTo>
                      <a:pt x="50" y="71"/>
                      <a:pt x="53" y="70"/>
                      <a:pt x="59" y="70"/>
                    </a:cubicBezTo>
                    <a:cubicBezTo>
                      <a:pt x="64" y="71"/>
                      <a:pt x="72" y="78"/>
                      <a:pt x="74" y="79"/>
                    </a:cubicBezTo>
                    <a:cubicBezTo>
                      <a:pt x="77" y="80"/>
                      <a:pt x="82" y="77"/>
                      <a:pt x="86" y="77"/>
                    </a:cubicBezTo>
                    <a:cubicBezTo>
                      <a:pt x="89" y="77"/>
                      <a:pt x="94" y="72"/>
                      <a:pt x="96" y="71"/>
                    </a:cubicBezTo>
                    <a:cubicBezTo>
                      <a:pt x="98" y="70"/>
                      <a:pt x="102" y="75"/>
                      <a:pt x="105" y="73"/>
                    </a:cubicBezTo>
                    <a:cubicBezTo>
                      <a:pt x="108" y="71"/>
                      <a:pt x="112" y="69"/>
                      <a:pt x="114" y="71"/>
                    </a:cubicBezTo>
                    <a:cubicBezTo>
                      <a:pt x="116" y="72"/>
                      <a:pt x="109" y="77"/>
                      <a:pt x="111" y="80"/>
                    </a:cubicBezTo>
                    <a:cubicBezTo>
                      <a:pt x="111" y="81"/>
                      <a:pt x="111" y="82"/>
                      <a:pt x="111" y="83"/>
                    </a:cubicBezTo>
                    <a:cubicBezTo>
                      <a:pt x="118" y="82"/>
                      <a:pt x="117" y="78"/>
                      <a:pt x="118" y="76"/>
                    </a:cubicBezTo>
                    <a:cubicBezTo>
                      <a:pt x="118" y="73"/>
                      <a:pt x="120" y="71"/>
                      <a:pt x="122" y="73"/>
                    </a:cubicBezTo>
                    <a:cubicBezTo>
                      <a:pt x="124" y="75"/>
                      <a:pt x="127" y="75"/>
                      <a:pt x="132" y="73"/>
                    </a:cubicBezTo>
                    <a:cubicBezTo>
                      <a:pt x="137" y="71"/>
                      <a:pt x="138" y="69"/>
                      <a:pt x="139" y="72"/>
                    </a:cubicBezTo>
                    <a:cubicBezTo>
                      <a:pt x="141" y="74"/>
                      <a:pt x="145" y="72"/>
                      <a:pt x="152" y="72"/>
                    </a:cubicBezTo>
                    <a:cubicBezTo>
                      <a:pt x="159" y="72"/>
                      <a:pt x="161" y="67"/>
                      <a:pt x="167" y="68"/>
                    </a:cubicBezTo>
                    <a:cubicBezTo>
                      <a:pt x="174" y="68"/>
                      <a:pt x="180" y="66"/>
                      <a:pt x="180" y="66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86" y="65"/>
                      <a:pt x="186" y="64"/>
                      <a:pt x="189" y="63"/>
                    </a:cubicBezTo>
                    <a:cubicBezTo>
                      <a:pt x="195" y="63"/>
                      <a:pt x="197" y="67"/>
                      <a:pt x="199" y="65"/>
                    </a:cubicBezTo>
                    <a:cubicBezTo>
                      <a:pt x="202" y="64"/>
                      <a:pt x="210" y="73"/>
                      <a:pt x="211" y="67"/>
                    </a:cubicBezTo>
                    <a:cubicBezTo>
                      <a:pt x="212" y="66"/>
                      <a:pt x="208" y="59"/>
                      <a:pt x="206" y="58"/>
                    </a:cubicBezTo>
                    <a:close/>
                    <a:moveTo>
                      <a:pt x="18" y="15"/>
                    </a:moveTo>
                    <a:cubicBezTo>
                      <a:pt x="22" y="14"/>
                      <a:pt x="31" y="16"/>
                      <a:pt x="33" y="14"/>
                    </a:cubicBezTo>
                    <a:cubicBezTo>
                      <a:pt x="35" y="12"/>
                      <a:pt x="28" y="9"/>
                      <a:pt x="25" y="7"/>
                    </a:cubicBezTo>
                    <a:cubicBezTo>
                      <a:pt x="23" y="6"/>
                      <a:pt x="22" y="3"/>
                      <a:pt x="22" y="1"/>
                    </a:cubicBezTo>
                    <a:cubicBezTo>
                      <a:pt x="21" y="2"/>
                      <a:pt x="19" y="3"/>
                      <a:pt x="17" y="2"/>
                    </a:cubicBezTo>
                    <a:cubicBezTo>
                      <a:pt x="14" y="0"/>
                      <a:pt x="7" y="1"/>
                      <a:pt x="6" y="2"/>
                    </a:cubicBezTo>
                    <a:cubicBezTo>
                      <a:pt x="5" y="2"/>
                      <a:pt x="7" y="7"/>
                      <a:pt x="7" y="9"/>
                    </a:cubicBezTo>
                    <a:cubicBezTo>
                      <a:pt x="7" y="12"/>
                      <a:pt x="4" y="13"/>
                      <a:pt x="4" y="15"/>
                    </a:cubicBezTo>
                    <a:cubicBezTo>
                      <a:pt x="4" y="16"/>
                      <a:pt x="2" y="17"/>
                      <a:pt x="1" y="19"/>
                    </a:cubicBezTo>
                    <a:cubicBezTo>
                      <a:pt x="3" y="20"/>
                      <a:pt x="5" y="22"/>
                      <a:pt x="8" y="22"/>
                    </a:cubicBezTo>
                    <a:cubicBezTo>
                      <a:pt x="12" y="22"/>
                      <a:pt x="14" y="17"/>
                      <a:pt x="18" y="1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1" name="Freeform 59">
                <a:extLst>
                  <a:ext uri="{FF2B5EF4-FFF2-40B4-BE49-F238E27FC236}">
                    <a16:creationId xmlns:a16="http://schemas.microsoft.com/office/drawing/2014/main" id="{D3B453F8-0B35-492D-8FF3-CC02CFC91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6338" y="3181350"/>
                <a:ext cx="58737" cy="53975"/>
              </a:xfrm>
              <a:custGeom>
                <a:avLst/>
                <a:gdLst>
                  <a:gd name="T0" fmla="*/ 13 w 27"/>
                  <a:gd name="T1" fmla="*/ 1 h 25"/>
                  <a:gd name="T2" fmla="*/ 0 w 27"/>
                  <a:gd name="T3" fmla="*/ 8 h 25"/>
                  <a:gd name="T4" fmla="*/ 2 w 27"/>
                  <a:gd name="T5" fmla="*/ 11 h 25"/>
                  <a:gd name="T6" fmla="*/ 9 w 27"/>
                  <a:gd name="T7" fmla="*/ 19 h 25"/>
                  <a:gd name="T8" fmla="*/ 10 w 27"/>
                  <a:gd name="T9" fmla="*/ 25 h 25"/>
                  <a:gd name="T10" fmla="*/ 15 w 27"/>
                  <a:gd name="T11" fmla="*/ 25 h 25"/>
                  <a:gd name="T12" fmla="*/ 26 w 27"/>
                  <a:gd name="T13" fmla="*/ 11 h 25"/>
                  <a:gd name="T14" fmla="*/ 13 w 27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13" y="1"/>
                    </a:moveTo>
                    <a:cubicBezTo>
                      <a:pt x="9" y="0"/>
                      <a:pt x="1" y="4"/>
                      <a:pt x="0" y="8"/>
                    </a:cubicBezTo>
                    <a:cubicBezTo>
                      <a:pt x="1" y="9"/>
                      <a:pt x="2" y="10"/>
                      <a:pt x="2" y="11"/>
                    </a:cubicBezTo>
                    <a:cubicBezTo>
                      <a:pt x="3" y="14"/>
                      <a:pt x="6" y="17"/>
                      <a:pt x="9" y="19"/>
                    </a:cubicBezTo>
                    <a:cubicBezTo>
                      <a:pt x="11" y="20"/>
                      <a:pt x="10" y="23"/>
                      <a:pt x="10" y="25"/>
                    </a:cubicBezTo>
                    <a:cubicBezTo>
                      <a:pt x="12" y="25"/>
                      <a:pt x="13" y="25"/>
                      <a:pt x="15" y="25"/>
                    </a:cubicBezTo>
                    <a:cubicBezTo>
                      <a:pt x="18" y="24"/>
                      <a:pt x="25" y="14"/>
                      <a:pt x="26" y="11"/>
                    </a:cubicBezTo>
                    <a:cubicBezTo>
                      <a:pt x="27" y="9"/>
                      <a:pt x="17" y="1"/>
                      <a:pt x="13" y="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2" name="Freeform 60">
                <a:extLst>
                  <a:ext uri="{FF2B5EF4-FFF2-40B4-BE49-F238E27FC236}">
                    <a16:creationId xmlns:a16="http://schemas.microsoft.com/office/drawing/2014/main" id="{4A1B1E2E-AA75-4BDF-9D58-5CD48C304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3938" y="2976563"/>
                <a:ext cx="171450" cy="160338"/>
              </a:xfrm>
              <a:custGeom>
                <a:avLst/>
                <a:gdLst>
                  <a:gd name="T0" fmla="*/ 74 w 78"/>
                  <a:gd name="T1" fmla="*/ 3 h 73"/>
                  <a:gd name="T2" fmla="*/ 65 w 78"/>
                  <a:gd name="T3" fmla="*/ 0 h 73"/>
                  <a:gd name="T4" fmla="*/ 58 w 78"/>
                  <a:gd name="T5" fmla="*/ 8 h 73"/>
                  <a:gd name="T6" fmla="*/ 51 w 78"/>
                  <a:gd name="T7" fmla="*/ 14 h 73"/>
                  <a:gd name="T8" fmla="*/ 46 w 78"/>
                  <a:gd name="T9" fmla="*/ 19 h 73"/>
                  <a:gd name="T10" fmla="*/ 39 w 78"/>
                  <a:gd name="T11" fmla="*/ 21 h 73"/>
                  <a:gd name="T12" fmla="*/ 32 w 78"/>
                  <a:gd name="T13" fmla="*/ 18 h 73"/>
                  <a:gd name="T14" fmla="*/ 24 w 78"/>
                  <a:gd name="T15" fmla="*/ 26 h 73"/>
                  <a:gd name="T16" fmla="*/ 3 w 78"/>
                  <a:gd name="T17" fmla="*/ 37 h 73"/>
                  <a:gd name="T18" fmla="*/ 0 w 78"/>
                  <a:gd name="T19" fmla="*/ 42 h 73"/>
                  <a:gd name="T20" fmla="*/ 13 w 78"/>
                  <a:gd name="T21" fmla="*/ 49 h 73"/>
                  <a:gd name="T22" fmla="*/ 6 w 78"/>
                  <a:gd name="T23" fmla="*/ 61 h 73"/>
                  <a:gd name="T24" fmla="*/ 8 w 78"/>
                  <a:gd name="T25" fmla="*/ 68 h 73"/>
                  <a:gd name="T26" fmla="*/ 14 w 78"/>
                  <a:gd name="T27" fmla="*/ 71 h 73"/>
                  <a:gd name="T28" fmla="*/ 23 w 78"/>
                  <a:gd name="T29" fmla="*/ 69 h 73"/>
                  <a:gd name="T30" fmla="*/ 25 w 78"/>
                  <a:gd name="T31" fmla="*/ 70 h 73"/>
                  <a:gd name="T32" fmla="*/ 32 w 78"/>
                  <a:gd name="T33" fmla="*/ 65 h 73"/>
                  <a:gd name="T34" fmla="*/ 42 w 78"/>
                  <a:gd name="T35" fmla="*/ 63 h 73"/>
                  <a:gd name="T36" fmla="*/ 48 w 78"/>
                  <a:gd name="T37" fmla="*/ 61 h 73"/>
                  <a:gd name="T38" fmla="*/ 38 w 78"/>
                  <a:gd name="T39" fmla="*/ 52 h 73"/>
                  <a:gd name="T40" fmla="*/ 41 w 78"/>
                  <a:gd name="T41" fmla="*/ 42 h 73"/>
                  <a:gd name="T42" fmla="*/ 61 w 78"/>
                  <a:gd name="T43" fmla="*/ 30 h 73"/>
                  <a:gd name="T44" fmla="*/ 65 w 78"/>
                  <a:gd name="T45" fmla="*/ 16 h 73"/>
                  <a:gd name="T46" fmla="*/ 78 w 78"/>
                  <a:gd name="T47" fmla="*/ 4 h 73"/>
                  <a:gd name="T48" fmla="*/ 74 w 78"/>
                  <a:gd name="T49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" h="73">
                    <a:moveTo>
                      <a:pt x="74" y="3"/>
                    </a:moveTo>
                    <a:cubicBezTo>
                      <a:pt x="70" y="5"/>
                      <a:pt x="69" y="0"/>
                      <a:pt x="65" y="0"/>
                    </a:cubicBezTo>
                    <a:cubicBezTo>
                      <a:pt x="61" y="0"/>
                      <a:pt x="62" y="8"/>
                      <a:pt x="58" y="8"/>
                    </a:cubicBezTo>
                    <a:cubicBezTo>
                      <a:pt x="55" y="8"/>
                      <a:pt x="56" y="13"/>
                      <a:pt x="51" y="14"/>
                    </a:cubicBezTo>
                    <a:cubicBezTo>
                      <a:pt x="45" y="15"/>
                      <a:pt x="44" y="15"/>
                      <a:pt x="46" y="19"/>
                    </a:cubicBezTo>
                    <a:cubicBezTo>
                      <a:pt x="48" y="22"/>
                      <a:pt x="43" y="21"/>
                      <a:pt x="39" y="21"/>
                    </a:cubicBezTo>
                    <a:cubicBezTo>
                      <a:pt x="35" y="21"/>
                      <a:pt x="35" y="18"/>
                      <a:pt x="32" y="18"/>
                    </a:cubicBezTo>
                    <a:cubicBezTo>
                      <a:pt x="29" y="18"/>
                      <a:pt x="27" y="23"/>
                      <a:pt x="24" y="26"/>
                    </a:cubicBezTo>
                    <a:cubicBezTo>
                      <a:pt x="22" y="29"/>
                      <a:pt x="8" y="35"/>
                      <a:pt x="3" y="37"/>
                    </a:cubicBezTo>
                    <a:cubicBezTo>
                      <a:pt x="2" y="38"/>
                      <a:pt x="1" y="40"/>
                      <a:pt x="0" y="42"/>
                    </a:cubicBezTo>
                    <a:cubicBezTo>
                      <a:pt x="5" y="43"/>
                      <a:pt x="11" y="46"/>
                      <a:pt x="13" y="49"/>
                    </a:cubicBezTo>
                    <a:cubicBezTo>
                      <a:pt x="16" y="53"/>
                      <a:pt x="9" y="57"/>
                      <a:pt x="6" y="61"/>
                    </a:cubicBezTo>
                    <a:cubicBezTo>
                      <a:pt x="3" y="65"/>
                      <a:pt x="8" y="65"/>
                      <a:pt x="8" y="68"/>
                    </a:cubicBezTo>
                    <a:cubicBezTo>
                      <a:pt x="9" y="71"/>
                      <a:pt x="13" y="73"/>
                      <a:pt x="14" y="71"/>
                    </a:cubicBezTo>
                    <a:cubicBezTo>
                      <a:pt x="16" y="68"/>
                      <a:pt x="18" y="69"/>
                      <a:pt x="23" y="69"/>
                    </a:cubicBezTo>
                    <a:cubicBezTo>
                      <a:pt x="24" y="69"/>
                      <a:pt x="25" y="70"/>
                      <a:pt x="25" y="70"/>
                    </a:cubicBezTo>
                    <a:cubicBezTo>
                      <a:pt x="28" y="68"/>
                      <a:pt x="31" y="66"/>
                      <a:pt x="32" y="65"/>
                    </a:cubicBezTo>
                    <a:cubicBezTo>
                      <a:pt x="34" y="64"/>
                      <a:pt x="38" y="63"/>
                      <a:pt x="42" y="63"/>
                    </a:cubicBezTo>
                    <a:cubicBezTo>
                      <a:pt x="45" y="63"/>
                      <a:pt x="46" y="62"/>
                      <a:pt x="48" y="61"/>
                    </a:cubicBezTo>
                    <a:cubicBezTo>
                      <a:pt x="44" y="56"/>
                      <a:pt x="40" y="53"/>
                      <a:pt x="38" y="52"/>
                    </a:cubicBezTo>
                    <a:cubicBezTo>
                      <a:pt x="34" y="49"/>
                      <a:pt x="37" y="43"/>
                      <a:pt x="41" y="42"/>
                    </a:cubicBezTo>
                    <a:cubicBezTo>
                      <a:pt x="46" y="40"/>
                      <a:pt x="58" y="32"/>
                      <a:pt x="61" y="30"/>
                    </a:cubicBezTo>
                    <a:cubicBezTo>
                      <a:pt x="65" y="28"/>
                      <a:pt x="62" y="21"/>
                      <a:pt x="65" y="16"/>
                    </a:cubicBezTo>
                    <a:cubicBezTo>
                      <a:pt x="66" y="13"/>
                      <a:pt x="72" y="8"/>
                      <a:pt x="78" y="4"/>
                    </a:cubicBezTo>
                    <a:cubicBezTo>
                      <a:pt x="76" y="3"/>
                      <a:pt x="75" y="3"/>
                      <a:pt x="74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3" name="Freeform 61">
                <a:extLst>
                  <a:ext uri="{FF2B5EF4-FFF2-40B4-BE49-F238E27FC236}">
                    <a16:creationId xmlns:a16="http://schemas.microsoft.com/office/drawing/2014/main" id="{94950065-AD0B-45DB-B8B7-6EEB16AFF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725" y="3336925"/>
                <a:ext cx="188912" cy="109538"/>
              </a:xfrm>
              <a:custGeom>
                <a:avLst/>
                <a:gdLst>
                  <a:gd name="T0" fmla="*/ 85 w 86"/>
                  <a:gd name="T1" fmla="*/ 32 h 50"/>
                  <a:gd name="T2" fmla="*/ 82 w 86"/>
                  <a:gd name="T3" fmla="*/ 32 h 50"/>
                  <a:gd name="T4" fmla="*/ 67 w 86"/>
                  <a:gd name="T5" fmla="*/ 29 h 50"/>
                  <a:gd name="T6" fmla="*/ 46 w 86"/>
                  <a:gd name="T7" fmla="*/ 20 h 50"/>
                  <a:gd name="T8" fmla="*/ 23 w 86"/>
                  <a:gd name="T9" fmla="*/ 4 h 50"/>
                  <a:gd name="T10" fmla="*/ 14 w 86"/>
                  <a:gd name="T11" fmla="*/ 2 h 50"/>
                  <a:gd name="T12" fmla="*/ 7 w 86"/>
                  <a:gd name="T13" fmla="*/ 4 h 50"/>
                  <a:gd name="T14" fmla="*/ 2 w 86"/>
                  <a:gd name="T15" fmla="*/ 10 h 50"/>
                  <a:gd name="T16" fmla="*/ 0 w 86"/>
                  <a:gd name="T17" fmla="*/ 19 h 50"/>
                  <a:gd name="T18" fmla="*/ 6 w 86"/>
                  <a:gd name="T19" fmla="*/ 23 h 50"/>
                  <a:gd name="T20" fmla="*/ 14 w 86"/>
                  <a:gd name="T21" fmla="*/ 28 h 50"/>
                  <a:gd name="T22" fmla="*/ 23 w 86"/>
                  <a:gd name="T23" fmla="*/ 32 h 50"/>
                  <a:gd name="T24" fmla="*/ 32 w 86"/>
                  <a:gd name="T25" fmla="*/ 38 h 50"/>
                  <a:gd name="T26" fmla="*/ 43 w 86"/>
                  <a:gd name="T27" fmla="*/ 36 h 50"/>
                  <a:gd name="T28" fmla="*/ 49 w 86"/>
                  <a:gd name="T29" fmla="*/ 42 h 50"/>
                  <a:gd name="T30" fmla="*/ 64 w 86"/>
                  <a:gd name="T31" fmla="*/ 48 h 50"/>
                  <a:gd name="T32" fmla="*/ 83 w 86"/>
                  <a:gd name="T33" fmla="*/ 46 h 50"/>
                  <a:gd name="T34" fmla="*/ 84 w 86"/>
                  <a:gd name="T35" fmla="*/ 35 h 50"/>
                  <a:gd name="T36" fmla="*/ 85 w 86"/>
                  <a:gd name="T37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6" h="50">
                    <a:moveTo>
                      <a:pt x="85" y="32"/>
                    </a:moveTo>
                    <a:cubicBezTo>
                      <a:pt x="84" y="32"/>
                      <a:pt x="83" y="32"/>
                      <a:pt x="82" y="32"/>
                    </a:cubicBezTo>
                    <a:cubicBezTo>
                      <a:pt x="76" y="32"/>
                      <a:pt x="72" y="29"/>
                      <a:pt x="67" y="29"/>
                    </a:cubicBezTo>
                    <a:cubicBezTo>
                      <a:pt x="63" y="29"/>
                      <a:pt x="51" y="25"/>
                      <a:pt x="46" y="20"/>
                    </a:cubicBezTo>
                    <a:cubicBezTo>
                      <a:pt x="40" y="16"/>
                      <a:pt x="26" y="7"/>
                      <a:pt x="23" y="4"/>
                    </a:cubicBezTo>
                    <a:cubicBezTo>
                      <a:pt x="19" y="0"/>
                      <a:pt x="14" y="0"/>
                      <a:pt x="14" y="2"/>
                    </a:cubicBezTo>
                    <a:cubicBezTo>
                      <a:pt x="13" y="4"/>
                      <a:pt x="11" y="4"/>
                      <a:pt x="7" y="4"/>
                    </a:cubicBezTo>
                    <a:cubicBezTo>
                      <a:pt x="6" y="6"/>
                      <a:pt x="2" y="8"/>
                      <a:pt x="2" y="10"/>
                    </a:cubicBezTo>
                    <a:cubicBezTo>
                      <a:pt x="2" y="13"/>
                      <a:pt x="0" y="17"/>
                      <a:pt x="0" y="19"/>
                    </a:cubicBezTo>
                    <a:cubicBezTo>
                      <a:pt x="0" y="21"/>
                      <a:pt x="4" y="22"/>
                      <a:pt x="6" y="23"/>
                    </a:cubicBezTo>
                    <a:cubicBezTo>
                      <a:pt x="7" y="25"/>
                      <a:pt x="14" y="26"/>
                      <a:pt x="14" y="28"/>
                    </a:cubicBezTo>
                    <a:cubicBezTo>
                      <a:pt x="15" y="30"/>
                      <a:pt x="20" y="32"/>
                      <a:pt x="23" y="32"/>
                    </a:cubicBezTo>
                    <a:cubicBezTo>
                      <a:pt x="26" y="33"/>
                      <a:pt x="30" y="36"/>
                      <a:pt x="32" y="38"/>
                    </a:cubicBezTo>
                    <a:cubicBezTo>
                      <a:pt x="34" y="39"/>
                      <a:pt x="41" y="36"/>
                      <a:pt x="43" y="36"/>
                    </a:cubicBezTo>
                    <a:cubicBezTo>
                      <a:pt x="45" y="36"/>
                      <a:pt x="49" y="40"/>
                      <a:pt x="49" y="42"/>
                    </a:cubicBezTo>
                    <a:cubicBezTo>
                      <a:pt x="50" y="44"/>
                      <a:pt x="61" y="46"/>
                      <a:pt x="64" y="48"/>
                    </a:cubicBezTo>
                    <a:cubicBezTo>
                      <a:pt x="67" y="50"/>
                      <a:pt x="81" y="49"/>
                      <a:pt x="83" y="46"/>
                    </a:cubicBezTo>
                    <a:cubicBezTo>
                      <a:pt x="86" y="43"/>
                      <a:pt x="84" y="39"/>
                      <a:pt x="84" y="35"/>
                    </a:cubicBezTo>
                    <a:cubicBezTo>
                      <a:pt x="84" y="33"/>
                      <a:pt x="84" y="32"/>
                      <a:pt x="85" y="3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4" name="Freeform 62">
                <a:extLst>
                  <a:ext uri="{FF2B5EF4-FFF2-40B4-BE49-F238E27FC236}">
                    <a16:creationId xmlns:a16="http://schemas.microsoft.com/office/drawing/2014/main" id="{F46BDC1B-FEE2-4DF0-8731-693790E12A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3363" y="3387725"/>
                <a:ext cx="212725" cy="466725"/>
              </a:xfrm>
              <a:custGeom>
                <a:avLst/>
                <a:gdLst>
                  <a:gd name="T0" fmla="*/ 78 w 97"/>
                  <a:gd name="T1" fmla="*/ 194 h 213"/>
                  <a:gd name="T2" fmla="*/ 75 w 97"/>
                  <a:gd name="T3" fmla="*/ 185 h 213"/>
                  <a:gd name="T4" fmla="*/ 70 w 97"/>
                  <a:gd name="T5" fmla="*/ 171 h 213"/>
                  <a:gd name="T6" fmla="*/ 66 w 97"/>
                  <a:gd name="T7" fmla="*/ 159 h 213"/>
                  <a:gd name="T8" fmla="*/ 68 w 97"/>
                  <a:gd name="T9" fmla="*/ 151 h 213"/>
                  <a:gd name="T10" fmla="*/ 68 w 97"/>
                  <a:gd name="T11" fmla="*/ 146 h 213"/>
                  <a:gd name="T12" fmla="*/ 66 w 97"/>
                  <a:gd name="T13" fmla="*/ 138 h 213"/>
                  <a:gd name="T14" fmla="*/ 58 w 97"/>
                  <a:gd name="T15" fmla="*/ 128 h 213"/>
                  <a:gd name="T16" fmla="*/ 60 w 97"/>
                  <a:gd name="T17" fmla="*/ 110 h 213"/>
                  <a:gd name="T18" fmla="*/ 66 w 97"/>
                  <a:gd name="T19" fmla="*/ 107 h 213"/>
                  <a:gd name="T20" fmla="*/ 75 w 97"/>
                  <a:gd name="T21" fmla="*/ 104 h 213"/>
                  <a:gd name="T22" fmla="*/ 85 w 97"/>
                  <a:gd name="T23" fmla="*/ 98 h 213"/>
                  <a:gd name="T24" fmla="*/ 91 w 97"/>
                  <a:gd name="T25" fmla="*/ 93 h 213"/>
                  <a:gd name="T26" fmla="*/ 96 w 97"/>
                  <a:gd name="T27" fmla="*/ 84 h 213"/>
                  <a:gd name="T28" fmla="*/ 97 w 97"/>
                  <a:gd name="T29" fmla="*/ 84 h 213"/>
                  <a:gd name="T30" fmla="*/ 92 w 97"/>
                  <a:gd name="T31" fmla="*/ 85 h 213"/>
                  <a:gd name="T32" fmla="*/ 85 w 97"/>
                  <a:gd name="T33" fmla="*/ 81 h 213"/>
                  <a:gd name="T34" fmla="*/ 78 w 97"/>
                  <a:gd name="T35" fmla="*/ 78 h 213"/>
                  <a:gd name="T36" fmla="*/ 78 w 97"/>
                  <a:gd name="T37" fmla="*/ 71 h 213"/>
                  <a:gd name="T38" fmla="*/ 74 w 97"/>
                  <a:gd name="T39" fmla="*/ 66 h 213"/>
                  <a:gd name="T40" fmla="*/ 71 w 97"/>
                  <a:gd name="T41" fmla="*/ 57 h 213"/>
                  <a:gd name="T42" fmla="*/ 60 w 97"/>
                  <a:gd name="T43" fmla="*/ 55 h 213"/>
                  <a:gd name="T44" fmla="*/ 58 w 97"/>
                  <a:gd name="T45" fmla="*/ 49 h 213"/>
                  <a:gd name="T46" fmla="*/ 68 w 97"/>
                  <a:gd name="T47" fmla="*/ 33 h 213"/>
                  <a:gd name="T48" fmla="*/ 70 w 97"/>
                  <a:gd name="T49" fmla="*/ 17 h 213"/>
                  <a:gd name="T50" fmla="*/ 66 w 97"/>
                  <a:gd name="T51" fmla="*/ 11 h 213"/>
                  <a:gd name="T52" fmla="*/ 63 w 97"/>
                  <a:gd name="T53" fmla="*/ 5 h 213"/>
                  <a:gd name="T54" fmla="*/ 56 w 97"/>
                  <a:gd name="T55" fmla="*/ 2 h 213"/>
                  <a:gd name="T56" fmla="*/ 54 w 97"/>
                  <a:gd name="T57" fmla="*/ 3 h 213"/>
                  <a:gd name="T58" fmla="*/ 54 w 97"/>
                  <a:gd name="T59" fmla="*/ 3 h 213"/>
                  <a:gd name="T60" fmla="*/ 51 w 97"/>
                  <a:gd name="T61" fmla="*/ 8 h 213"/>
                  <a:gd name="T62" fmla="*/ 52 w 97"/>
                  <a:gd name="T63" fmla="*/ 16 h 213"/>
                  <a:gd name="T64" fmla="*/ 47 w 97"/>
                  <a:gd name="T65" fmla="*/ 16 h 213"/>
                  <a:gd name="T66" fmla="*/ 38 w 97"/>
                  <a:gd name="T67" fmla="*/ 20 h 213"/>
                  <a:gd name="T68" fmla="*/ 31 w 97"/>
                  <a:gd name="T69" fmla="*/ 29 h 213"/>
                  <a:gd name="T70" fmla="*/ 27 w 97"/>
                  <a:gd name="T71" fmla="*/ 43 h 213"/>
                  <a:gd name="T72" fmla="*/ 23 w 97"/>
                  <a:gd name="T73" fmla="*/ 56 h 213"/>
                  <a:gd name="T74" fmla="*/ 15 w 97"/>
                  <a:gd name="T75" fmla="*/ 56 h 213"/>
                  <a:gd name="T76" fmla="*/ 12 w 97"/>
                  <a:gd name="T77" fmla="*/ 67 h 213"/>
                  <a:gd name="T78" fmla="*/ 9 w 97"/>
                  <a:gd name="T79" fmla="*/ 79 h 213"/>
                  <a:gd name="T80" fmla="*/ 4 w 97"/>
                  <a:gd name="T81" fmla="*/ 88 h 213"/>
                  <a:gd name="T82" fmla="*/ 0 w 97"/>
                  <a:gd name="T83" fmla="*/ 91 h 213"/>
                  <a:gd name="T84" fmla="*/ 11 w 97"/>
                  <a:gd name="T85" fmla="*/ 102 h 213"/>
                  <a:gd name="T86" fmla="*/ 24 w 97"/>
                  <a:gd name="T87" fmla="*/ 125 h 213"/>
                  <a:gd name="T88" fmla="*/ 22 w 97"/>
                  <a:gd name="T89" fmla="*/ 143 h 213"/>
                  <a:gd name="T90" fmla="*/ 27 w 97"/>
                  <a:gd name="T91" fmla="*/ 149 h 213"/>
                  <a:gd name="T92" fmla="*/ 38 w 97"/>
                  <a:gd name="T93" fmla="*/ 148 h 213"/>
                  <a:gd name="T94" fmla="*/ 47 w 97"/>
                  <a:gd name="T95" fmla="*/ 137 h 213"/>
                  <a:gd name="T96" fmla="*/ 53 w 97"/>
                  <a:gd name="T97" fmla="*/ 141 h 213"/>
                  <a:gd name="T98" fmla="*/ 58 w 97"/>
                  <a:gd name="T99" fmla="*/ 154 h 213"/>
                  <a:gd name="T100" fmla="*/ 63 w 97"/>
                  <a:gd name="T101" fmla="*/ 178 h 213"/>
                  <a:gd name="T102" fmla="*/ 68 w 97"/>
                  <a:gd name="T103" fmla="*/ 196 h 213"/>
                  <a:gd name="T104" fmla="*/ 69 w 97"/>
                  <a:gd name="T105" fmla="*/ 209 h 213"/>
                  <a:gd name="T106" fmla="*/ 69 w 97"/>
                  <a:gd name="T107" fmla="*/ 212 h 213"/>
                  <a:gd name="T108" fmla="*/ 78 w 97"/>
                  <a:gd name="T109" fmla="*/ 19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7" h="213">
                    <a:moveTo>
                      <a:pt x="78" y="194"/>
                    </a:moveTo>
                    <a:cubicBezTo>
                      <a:pt x="78" y="189"/>
                      <a:pt x="75" y="189"/>
                      <a:pt x="75" y="185"/>
                    </a:cubicBezTo>
                    <a:cubicBezTo>
                      <a:pt x="75" y="182"/>
                      <a:pt x="75" y="175"/>
                      <a:pt x="70" y="171"/>
                    </a:cubicBezTo>
                    <a:cubicBezTo>
                      <a:pt x="66" y="167"/>
                      <a:pt x="64" y="162"/>
                      <a:pt x="66" y="159"/>
                    </a:cubicBezTo>
                    <a:cubicBezTo>
                      <a:pt x="69" y="157"/>
                      <a:pt x="67" y="151"/>
                      <a:pt x="68" y="151"/>
                    </a:cubicBezTo>
                    <a:cubicBezTo>
                      <a:pt x="69" y="152"/>
                      <a:pt x="71" y="147"/>
                      <a:pt x="68" y="146"/>
                    </a:cubicBezTo>
                    <a:cubicBezTo>
                      <a:pt x="66" y="145"/>
                      <a:pt x="68" y="139"/>
                      <a:pt x="66" y="138"/>
                    </a:cubicBezTo>
                    <a:cubicBezTo>
                      <a:pt x="64" y="137"/>
                      <a:pt x="58" y="130"/>
                      <a:pt x="58" y="128"/>
                    </a:cubicBezTo>
                    <a:cubicBezTo>
                      <a:pt x="58" y="126"/>
                      <a:pt x="60" y="113"/>
                      <a:pt x="60" y="110"/>
                    </a:cubicBezTo>
                    <a:cubicBezTo>
                      <a:pt x="60" y="107"/>
                      <a:pt x="65" y="107"/>
                      <a:pt x="66" y="107"/>
                    </a:cubicBezTo>
                    <a:cubicBezTo>
                      <a:pt x="68" y="107"/>
                      <a:pt x="73" y="107"/>
                      <a:pt x="75" y="104"/>
                    </a:cubicBezTo>
                    <a:cubicBezTo>
                      <a:pt x="76" y="101"/>
                      <a:pt x="84" y="101"/>
                      <a:pt x="85" y="98"/>
                    </a:cubicBezTo>
                    <a:cubicBezTo>
                      <a:pt x="86" y="96"/>
                      <a:pt x="91" y="96"/>
                      <a:pt x="91" y="93"/>
                    </a:cubicBezTo>
                    <a:cubicBezTo>
                      <a:pt x="91" y="91"/>
                      <a:pt x="96" y="84"/>
                      <a:pt x="96" y="84"/>
                    </a:cubicBezTo>
                    <a:cubicBezTo>
                      <a:pt x="97" y="84"/>
                      <a:pt x="97" y="84"/>
                      <a:pt x="97" y="84"/>
                    </a:cubicBezTo>
                    <a:cubicBezTo>
                      <a:pt x="96" y="83"/>
                      <a:pt x="95" y="84"/>
                      <a:pt x="92" y="85"/>
                    </a:cubicBezTo>
                    <a:cubicBezTo>
                      <a:pt x="87" y="87"/>
                      <a:pt x="84" y="84"/>
                      <a:pt x="85" y="81"/>
                    </a:cubicBezTo>
                    <a:cubicBezTo>
                      <a:pt x="85" y="78"/>
                      <a:pt x="81" y="78"/>
                      <a:pt x="78" y="78"/>
                    </a:cubicBezTo>
                    <a:cubicBezTo>
                      <a:pt x="76" y="78"/>
                      <a:pt x="77" y="74"/>
                      <a:pt x="78" y="71"/>
                    </a:cubicBezTo>
                    <a:cubicBezTo>
                      <a:pt x="79" y="68"/>
                      <a:pt x="77" y="66"/>
                      <a:pt x="74" y="66"/>
                    </a:cubicBezTo>
                    <a:cubicBezTo>
                      <a:pt x="71" y="66"/>
                      <a:pt x="69" y="59"/>
                      <a:pt x="71" y="57"/>
                    </a:cubicBezTo>
                    <a:cubicBezTo>
                      <a:pt x="72" y="55"/>
                      <a:pt x="64" y="53"/>
                      <a:pt x="60" y="55"/>
                    </a:cubicBezTo>
                    <a:cubicBezTo>
                      <a:pt x="57" y="56"/>
                      <a:pt x="59" y="52"/>
                      <a:pt x="58" y="49"/>
                    </a:cubicBezTo>
                    <a:cubicBezTo>
                      <a:pt x="57" y="47"/>
                      <a:pt x="63" y="38"/>
                      <a:pt x="68" y="33"/>
                    </a:cubicBezTo>
                    <a:cubicBezTo>
                      <a:pt x="72" y="29"/>
                      <a:pt x="70" y="22"/>
                      <a:pt x="70" y="17"/>
                    </a:cubicBezTo>
                    <a:cubicBezTo>
                      <a:pt x="70" y="11"/>
                      <a:pt x="68" y="11"/>
                      <a:pt x="66" y="11"/>
                    </a:cubicBezTo>
                    <a:cubicBezTo>
                      <a:pt x="64" y="11"/>
                      <a:pt x="63" y="8"/>
                      <a:pt x="63" y="5"/>
                    </a:cubicBezTo>
                    <a:cubicBezTo>
                      <a:pt x="63" y="2"/>
                      <a:pt x="59" y="0"/>
                      <a:pt x="56" y="2"/>
                    </a:cubicBezTo>
                    <a:cubicBezTo>
                      <a:pt x="55" y="2"/>
                      <a:pt x="55" y="3"/>
                      <a:pt x="54" y="3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4" y="3"/>
                      <a:pt x="53" y="8"/>
                      <a:pt x="51" y="8"/>
                    </a:cubicBezTo>
                    <a:cubicBezTo>
                      <a:pt x="50" y="9"/>
                      <a:pt x="50" y="12"/>
                      <a:pt x="52" y="16"/>
                    </a:cubicBezTo>
                    <a:cubicBezTo>
                      <a:pt x="55" y="20"/>
                      <a:pt x="48" y="18"/>
                      <a:pt x="47" y="16"/>
                    </a:cubicBezTo>
                    <a:cubicBezTo>
                      <a:pt x="47" y="14"/>
                      <a:pt x="41" y="17"/>
                      <a:pt x="38" y="20"/>
                    </a:cubicBezTo>
                    <a:cubicBezTo>
                      <a:pt x="35" y="23"/>
                      <a:pt x="31" y="24"/>
                      <a:pt x="31" y="29"/>
                    </a:cubicBezTo>
                    <a:cubicBezTo>
                      <a:pt x="31" y="34"/>
                      <a:pt x="27" y="39"/>
                      <a:pt x="27" y="43"/>
                    </a:cubicBezTo>
                    <a:cubicBezTo>
                      <a:pt x="28" y="47"/>
                      <a:pt x="23" y="54"/>
                      <a:pt x="23" y="56"/>
                    </a:cubicBezTo>
                    <a:cubicBezTo>
                      <a:pt x="24" y="59"/>
                      <a:pt x="16" y="56"/>
                      <a:pt x="15" y="56"/>
                    </a:cubicBezTo>
                    <a:cubicBezTo>
                      <a:pt x="13" y="56"/>
                      <a:pt x="14" y="64"/>
                      <a:pt x="12" y="67"/>
                    </a:cubicBezTo>
                    <a:cubicBezTo>
                      <a:pt x="11" y="70"/>
                      <a:pt x="12" y="79"/>
                      <a:pt x="9" y="79"/>
                    </a:cubicBezTo>
                    <a:cubicBezTo>
                      <a:pt x="7" y="79"/>
                      <a:pt x="4" y="88"/>
                      <a:pt x="4" y="88"/>
                    </a:cubicBezTo>
                    <a:cubicBezTo>
                      <a:pt x="4" y="88"/>
                      <a:pt x="2" y="89"/>
                      <a:pt x="0" y="91"/>
                    </a:cubicBezTo>
                    <a:cubicBezTo>
                      <a:pt x="2" y="95"/>
                      <a:pt x="6" y="100"/>
                      <a:pt x="11" y="102"/>
                    </a:cubicBezTo>
                    <a:cubicBezTo>
                      <a:pt x="17" y="105"/>
                      <a:pt x="22" y="118"/>
                      <a:pt x="24" y="125"/>
                    </a:cubicBezTo>
                    <a:cubicBezTo>
                      <a:pt x="26" y="132"/>
                      <a:pt x="24" y="139"/>
                      <a:pt x="22" y="143"/>
                    </a:cubicBezTo>
                    <a:cubicBezTo>
                      <a:pt x="20" y="147"/>
                      <a:pt x="23" y="147"/>
                      <a:pt x="27" y="149"/>
                    </a:cubicBezTo>
                    <a:cubicBezTo>
                      <a:pt x="31" y="151"/>
                      <a:pt x="35" y="152"/>
                      <a:pt x="38" y="148"/>
                    </a:cubicBezTo>
                    <a:cubicBezTo>
                      <a:pt x="41" y="144"/>
                      <a:pt x="46" y="141"/>
                      <a:pt x="47" y="137"/>
                    </a:cubicBezTo>
                    <a:cubicBezTo>
                      <a:pt x="48" y="132"/>
                      <a:pt x="51" y="139"/>
                      <a:pt x="53" y="141"/>
                    </a:cubicBezTo>
                    <a:cubicBezTo>
                      <a:pt x="55" y="143"/>
                      <a:pt x="57" y="148"/>
                      <a:pt x="58" y="154"/>
                    </a:cubicBezTo>
                    <a:cubicBezTo>
                      <a:pt x="58" y="159"/>
                      <a:pt x="59" y="173"/>
                      <a:pt x="63" y="178"/>
                    </a:cubicBezTo>
                    <a:cubicBezTo>
                      <a:pt x="68" y="182"/>
                      <a:pt x="69" y="192"/>
                      <a:pt x="68" y="196"/>
                    </a:cubicBezTo>
                    <a:cubicBezTo>
                      <a:pt x="66" y="199"/>
                      <a:pt x="70" y="205"/>
                      <a:pt x="69" y="209"/>
                    </a:cubicBezTo>
                    <a:cubicBezTo>
                      <a:pt x="69" y="210"/>
                      <a:pt x="69" y="211"/>
                      <a:pt x="69" y="212"/>
                    </a:cubicBezTo>
                    <a:cubicBezTo>
                      <a:pt x="73" y="213"/>
                      <a:pt x="78" y="194"/>
                      <a:pt x="78" y="19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5" name="Freeform 63">
                <a:extLst>
                  <a:ext uri="{FF2B5EF4-FFF2-40B4-BE49-F238E27FC236}">
                    <a16:creationId xmlns:a16="http://schemas.microsoft.com/office/drawing/2014/main" id="{15CCC87D-1548-4634-97B6-7BAD5EB11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394075"/>
                <a:ext cx="74612" cy="46038"/>
              </a:xfrm>
              <a:custGeom>
                <a:avLst/>
                <a:gdLst>
                  <a:gd name="T0" fmla="*/ 32 w 34"/>
                  <a:gd name="T1" fmla="*/ 7 h 21"/>
                  <a:gd name="T2" fmla="*/ 19 w 34"/>
                  <a:gd name="T3" fmla="*/ 4 h 21"/>
                  <a:gd name="T4" fmla="*/ 10 w 34"/>
                  <a:gd name="T5" fmla="*/ 2 h 21"/>
                  <a:gd name="T6" fmla="*/ 2 w 34"/>
                  <a:gd name="T7" fmla="*/ 9 h 21"/>
                  <a:gd name="T8" fmla="*/ 0 w 34"/>
                  <a:gd name="T9" fmla="*/ 14 h 21"/>
                  <a:gd name="T10" fmla="*/ 2 w 34"/>
                  <a:gd name="T11" fmla="*/ 17 h 21"/>
                  <a:gd name="T12" fmla="*/ 10 w 34"/>
                  <a:gd name="T13" fmla="*/ 18 h 21"/>
                  <a:gd name="T14" fmla="*/ 21 w 34"/>
                  <a:gd name="T15" fmla="*/ 19 h 21"/>
                  <a:gd name="T16" fmla="*/ 32 w 34"/>
                  <a:gd name="T17" fmla="*/ 18 h 21"/>
                  <a:gd name="T18" fmla="*/ 31 w 34"/>
                  <a:gd name="T19" fmla="*/ 8 h 21"/>
                  <a:gd name="T20" fmla="*/ 32 w 34"/>
                  <a:gd name="T21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1">
                    <a:moveTo>
                      <a:pt x="32" y="7"/>
                    </a:moveTo>
                    <a:cubicBezTo>
                      <a:pt x="26" y="1"/>
                      <a:pt x="24" y="6"/>
                      <a:pt x="19" y="4"/>
                    </a:cubicBezTo>
                    <a:cubicBezTo>
                      <a:pt x="15" y="1"/>
                      <a:pt x="12" y="0"/>
                      <a:pt x="10" y="2"/>
                    </a:cubicBezTo>
                    <a:cubicBezTo>
                      <a:pt x="8" y="4"/>
                      <a:pt x="4" y="4"/>
                      <a:pt x="2" y="9"/>
                    </a:cubicBezTo>
                    <a:cubicBezTo>
                      <a:pt x="1" y="11"/>
                      <a:pt x="0" y="13"/>
                      <a:pt x="0" y="14"/>
                    </a:cubicBezTo>
                    <a:cubicBezTo>
                      <a:pt x="0" y="16"/>
                      <a:pt x="2" y="17"/>
                      <a:pt x="2" y="17"/>
                    </a:cubicBezTo>
                    <a:cubicBezTo>
                      <a:pt x="4" y="16"/>
                      <a:pt x="6" y="19"/>
                      <a:pt x="10" y="18"/>
                    </a:cubicBezTo>
                    <a:cubicBezTo>
                      <a:pt x="14" y="17"/>
                      <a:pt x="16" y="21"/>
                      <a:pt x="21" y="19"/>
                    </a:cubicBezTo>
                    <a:cubicBezTo>
                      <a:pt x="26" y="18"/>
                      <a:pt x="30" y="21"/>
                      <a:pt x="32" y="18"/>
                    </a:cubicBezTo>
                    <a:cubicBezTo>
                      <a:pt x="34" y="15"/>
                      <a:pt x="31" y="8"/>
                      <a:pt x="31" y="8"/>
                    </a:cubicBezTo>
                    <a:cubicBezTo>
                      <a:pt x="31" y="8"/>
                      <a:pt x="31" y="8"/>
                      <a:pt x="32" y="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6" name="Freeform 64">
                <a:extLst>
                  <a:ext uri="{FF2B5EF4-FFF2-40B4-BE49-F238E27FC236}">
                    <a16:creationId xmlns:a16="http://schemas.microsoft.com/office/drawing/2014/main" id="{C765B40D-7A3A-410B-8353-A44E9723C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3075" y="3525838"/>
                <a:ext cx="180975" cy="379413"/>
              </a:xfrm>
              <a:custGeom>
                <a:avLst/>
                <a:gdLst>
                  <a:gd name="T0" fmla="*/ 61 w 83"/>
                  <a:gd name="T1" fmla="*/ 21 h 173"/>
                  <a:gd name="T2" fmla="*/ 50 w 83"/>
                  <a:gd name="T3" fmla="*/ 13 h 173"/>
                  <a:gd name="T4" fmla="*/ 47 w 83"/>
                  <a:gd name="T5" fmla="*/ 6 h 173"/>
                  <a:gd name="T6" fmla="*/ 38 w 83"/>
                  <a:gd name="T7" fmla="*/ 1 h 173"/>
                  <a:gd name="T8" fmla="*/ 29 w 83"/>
                  <a:gd name="T9" fmla="*/ 7 h 173"/>
                  <a:gd name="T10" fmla="*/ 21 w 83"/>
                  <a:gd name="T11" fmla="*/ 8 h 173"/>
                  <a:gd name="T12" fmla="*/ 11 w 83"/>
                  <a:gd name="T13" fmla="*/ 8 h 173"/>
                  <a:gd name="T14" fmla="*/ 3 w 83"/>
                  <a:gd name="T15" fmla="*/ 9 h 173"/>
                  <a:gd name="T16" fmla="*/ 0 w 83"/>
                  <a:gd name="T17" fmla="*/ 11 h 173"/>
                  <a:gd name="T18" fmla="*/ 4 w 83"/>
                  <a:gd name="T19" fmla="*/ 17 h 173"/>
                  <a:gd name="T20" fmla="*/ 10 w 83"/>
                  <a:gd name="T21" fmla="*/ 26 h 173"/>
                  <a:gd name="T22" fmla="*/ 19 w 83"/>
                  <a:gd name="T23" fmla="*/ 31 h 173"/>
                  <a:gd name="T24" fmla="*/ 27 w 83"/>
                  <a:gd name="T25" fmla="*/ 33 h 173"/>
                  <a:gd name="T26" fmla="*/ 30 w 83"/>
                  <a:gd name="T27" fmla="*/ 42 h 173"/>
                  <a:gd name="T28" fmla="*/ 22 w 83"/>
                  <a:gd name="T29" fmla="*/ 47 h 173"/>
                  <a:gd name="T30" fmla="*/ 34 w 83"/>
                  <a:gd name="T31" fmla="*/ 57 h 173"/>
                  <a:gd name="T32" fmla="*/ 40 w 83"/>
                  <a:gd name="T33" fmla="*/ 67 h 173"/>
                  <a:gd name="T34" fmla="*/ 49 w 83"/>
                  <a:gd name="T35" fmla="*/ 80 h 173"/>
                  <a:gd name="T36" fmla="*/ 58 w 83"/>
                  <a:gd name="T37" fmla="*/ 88 h 173"/>
                  <a:gd name="T38" fmla="*/ 60 w 83"/>
                  <a:gd name="T39" fmla="*/ 100 h 173"/>
                  <a:gd name="T40" fmla="*/ 64 w 83"/>
                  <a:gd name="T41" fmla="*/ 118 h 173"/>
                  <a:gd name="T42" fmla="*/ 56 w 83"/>
                  <a:gd name="T43" fmla="*/ 131 h 173"/>
                  <a:gd name="T44" fmla="*/ 46 w 83"/>
                  <a:gd name="T45" fmla="*/ 137 h 173"/>
                  <a:gd name="T46" fmla="*/ 46 w 83"/>
                  <a:gd name="T47" fmla="*/ 147 h 173"/>
                  <a:gd name="T48" fmla="*/ 33 w 83"/>
                  <a:gd name="T49" fmla="*/ 147 h 173"/>
                  <a:gd name="T50" fmla="*/ 26 w 83"/>
                  <a:gd name="T51" fmla="*/ 153 h 173"/>
                  <a:gd name="T52" fmla="*/ 31 w 83"/>
                  <a:gd name="T53" fmla="*/ 157 h 173"/>
                  <a:gd name="T54" fmla="*/ 28 w 83"/>
                  <a:gd name="T55" fmla="*/ 166 h 173"/>
                  <a:gd name="T56" fmla="*/ 34 w 83"/>
                  <a:gd name="T57" fmla="*/ 171 h 173"/>
                  <a:gd name="T58" fmla="*/ 44 w 83"/>
                  <a:gd name="T59" fmla="*/ 163 h 173"/>
                  <a:gd name="T60" fmla="*/ 47 w 83"/>
                  <a:gd name="T61" fmla="*/ 159 h 173"/>
                  <a:gd name="T62" fmla="*/ 50 w 83"/>
                  <a:gd name="T63" fmla="*/ 153 h 173"/>
                  <a:gd name="T64" fmla="*/ 57 w 83"/>
                  <a:gd name="T65" fmla="*/ 152 h 173"/>
                  <a:gd name="T66" fmla="*/ 72 w 83"/>
                  <a:gd name="T67" fmla="*/ 144 h 173"/>
                  <a:gd name="T68" fmla="*/ 81 w 83"/>
                  <a:gd name="T69" fmla="*/ 129 h 173"/>
                  <a:gd name="T70" fmla="*/ 78 w 83"/>
                  <a:gd name="T71" fmla="*/ 103 h 173"/>
                  <a:gd name="T72" fmla="*/ 68 w 83"/>
                  <a:gd name="T73" fmla="*/ 85 h 173"/>
                  <a:gd name="T74" fmla="*/ 49 w 83"/>
                  <a:gd name="T75" fmla="*/ 70 h 173"/>
                  <a:gd name="T76" fmla="*/ 44 w 83"/>
                  <a:gd name="T77" fmla="*/ 61 h 173"/>
                  <a:gd name="T78" fmla="*/ 42 w 83"/>
                  <a:gd name="T79" fmla="*/ 46 h 173"/>
                  <a:gd name="T80" fmla="*/ 50 w 83"/>
                  <a:gd name="T81" fmla="*/ 36 h 173"/>
                  <a:gd name="T82" fmla="*/ 54 w 83"/>
                  <a:gd name="T83" fmla="*/ 30 h 173"/>
                  <a:gd name="T84" fmla="*/ 63 w 83"/>
                  <a:gd name="T85" fmla="*/ 24 h 173"/>
                  <a:gd name="T86" fmla="*/ 64 w 83"/>
                  <a:gd name="T87" fmla="*/ 23 h 173"/>
                  <a:gd name="T88" fmla="*/ 61 w 83"/>
                  <a:gd name="T89" fmla="*/ 2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3" h="173">
                    <a:moveTo>
                      <a:pt x="61" y="21"/>
                    </a:moveTo>
                    <a:cubicBezTo>
                      <a:pt x="58" y="21"/>
                      <a:pt x="50" y="15"/>
                      <a:pt x="50" y="13"/>
                    </a:cubicBezTo>
                    <a:cubicBezTo>
                      <a:pt x="50" y="10"/>
                      <a:pt x="54" y="7"/>
                      <a:pt x="47" y="6"/>
                    </a:cubicBezTo>
                    <a:cubicBezTo>
                      <a:pt x="40" y="5"/>
                      <a:pt x="39" y="2"/>
                      <a:pt x="38" y="1"/>
                    </a:cubicBezTo>
                    <a:cubicBezTo>
                      <a:pt x="36" y="0"/>
                      <a:pt x="31" y="4"/>
                      <a:pt x="29" y="7"/>
                    </a:cubicBezTo>
                    <a:cubicBezTo>
                      <a:pt x="27" y="10"/>
                      <a:pt x="25" y="6"/>
                      <a:pt x="21" y="8"/>
                    </a:cubicBezTo>
                    <a:cubicBezTo>
                      <a:pt x="17" y="10"/>
                      <a:pt x="13" y="5"/>
                      <a:pt x="11" y="8"/>
                    </a:cubicBezTo>
                    <a:cubicBezTo>
                      <a:pt x="10" y="11"/>
                      <a:pt x="5" y="6"/>
                      <a:pt x="3" y="9"/>
                    </a:cubicBezTo>
                    <a:cubicBezTo>
                      <a:pt x="2" y="10"/>
                      <a:pt x="1" y="11"/>
                      <a:pt x="0" y="11"/>
                    </a:cubicBezTo>
                    <a:cubicBezTo>
                      <a:pt x="2" y="14"/>
                      <a:pt x="4" y="16"/>
                      <a:pt x="4" y="17"/>
                    </a:cubicBezTo>
                    <a:cubicBezTo>
                      <a:pt x="4" y="20"/>
                      <a:pt x="10" y="22"/>
                      <a:pt x="10" y="26"/>
                    </a:cubicBezTo>
                    <a:cubicBezTo>
                      <a:pt x="10" y="30"/>
                      <a:pt x="17" y="32"/>
                      <a:pt x="19" y="31"/>
                    </a:cubicBezTo>
                    <a:cubicBezTo>
                      <a:pt x="21" y="30"/>
                      <a:pt x="26" y="28"/>
                      <a:pt x="27" y="33"/>
                    </a:cubicBezTo>
                    <a:cubicBezTo>
                      <a:pt x="28" y="38"/>
                      <a:pt x="30" y="38"/>
                      <a:pt x="30" y="42"/>
                    </a:cubicBezTo>
                    <a:cubicBezTo>
                      <a:pt x="30" y="45"/>
                      <a:pt x="23" y="43"/>
                      <a:pt x="22" y="47"/>
                    </a:cubicBezTo>
                    <a:cubicBezTo>
                      <a:pt x="20" y="50"/>
                      <a:pt x="34" y="55"/>
                      <a:pt x="34" y="57"/>
                    </a:cubicBezTo>
                    <a:cubicBezTo>
                      <a:pt x="34" y="60"/>
                      <a:pt x="38" y="64"/>
                      <a:pt x="40" y="67"/>
                    </a:cubicBezTo>
                    <a:cubicBezTo>
                      <a:pt x="41" y="71"/>
                      <a:pt x="48" y="75"/>
                      <a:pt x="49" y="80"/>
                    </a:cubicBezTo>
                    <a:cubicBezTo>
                      <a:pt x="50" y="84"/>
                      <a:pt x="56" y="86"/>
                      <a:pt x="58" y="88"/>
                    </a:cubicBezTo>
                    <a:cubicBezTo>
                      <a:pt x="60" y="90"/>
                      <a:pt x="61" y="95"/>
                      <a:pt x="60" y="100"/>
                    </a:cubicBezTo>
                    <a:cubicBezTo>
                      <a:pt x="60" y="104"/>
                      <a:pt x="60" y="112"/>
                      <a:pt x="64" y="118"/>
                    </a:cubicBezTo>
                    <a:cubicBezTo>
                      <a:pt x="68" y="125"/>
                      <a:pt x="59" y="127"/>
                      <a:pt x="56" y="131"/>
                    </a:cubicBezTo>
                    <a:cubicBezTo>
                      <a:pt x="53" y="135"/>
                      <a:pt x="55" y="140"/>
                      <a:pt x="46" y="137"/>
                    </a:cubicBezTo>
                    <a:cubicBezTo>
                      <a:pt x="38" y="135"/>
                      <a:pt x="48" y="145"/>
                      <a:pt x="46" y="147"/>
                    </a:cubicBezTo>
                    <a:cubicBezTo>
                      <a:pt x="45" y="150"/>
                      <a:pt x="33" y="145"/>
                      <a:pt x="33" y="147"/>
                    </a:cubicBezTo>
                    <a:cubicBezTo>
                      <a:pt x="33" y="149"/>
                      <a:pt x="29" y="151"/>
                      <a:pt x="26" y="153"/>
                    </a:cubicBezTo>
                    <a:cubicBezTo>
                      <a:pt x="28" y="154"/>
                      <a:pt x="29" y="155"/>
                      <a:pt x="31" y="157"/>
                    </a:cubicBezTo>
                    <a:cubicBezTo>
                      <a:pt x="34" y="158"/>
                      <a:pt x="28" y="161"/>
                      <a:pt x="28" y="166"/>
                    </a:cubicBezTo>
                    <a:cubicBezTo>
                      <a:pt x="28" y="172"/>
                      <a:pt x="32" y="173"/>
                      <a:pt x="34" y="171"/>
                    </a:cubicBezTo>
                    <a:cubicBezTo>
                      <a:pt x="35" y="169"/>
                      <a:pt x="42" y="164"/>
                      <a:pt x="44" y="163"/>
                    </a:cubicBezTo>
                    <a:cubicBezTo>
                      <a:pt x="47" y="162"/>
                      <a:pt x="44" y="159"/>
                      <a:pt x="47" y="159"/>
                    </a:cubicBezTo>
                    <a:cubicBezTo>
                      <a:pt x="49" y="159"/>
                      <a:pt x="49" y="155"/>
                      <a:pt x="50" y="153"/>
                    </a:cubicBezTo>
                    <a:cubicBezTo>
                      <a:pt x="51" y="151"/>
                      <a:pt x="53" y="151"/>
                      <a:pt x="57" y="152"/>
                    </a:cubicBezTo>
                    <a:cubicBezTo>
                      <a:pt x="61" y="152"/>
                      <a:pt x="66" y="148"/>
                      <a:pt x="72" y="144"/>
                    </a:cubicBezTo>
                    <a:cubicBezTo>
                      <a:pt x="78" y="141"/>
                      <a:pt x="79" y="140"/>
                      <a:pt x="81" y="129"/>
                    </a:cubicBezTo>
                    <a:cubicBezTo>
                      <a:pt x="83" y="119"/>
                      <a:pt x="78" y="106"/>
                      <a:pt x="78" y="103"/>
                    </a:cubicBezTo>
                    <a:cubicBezTo>
                      <a:pt x="78" y="100"/>
                      <a:pt x="70" y="85"/>
                      <a:pt x="68" y="85"/>
                    </a:cubicBezTo>
                    <a:cubicBezTo>
                      <a:pt x="65" y="86"/>
                      <a:pt x="52" y="72"/>
                      <a:pt x="49" y="70"/>
                    </a:cubicBezTo>
                    <a:cubicBezTo>
                      <a:pt x="47" y="68"/>
                      <a:pt x="48" y="64"/>
                      <a:pt x="44" y="61"/>
                    </a:cubicBezTo>
                    <a:cubicBezTo>
                      <a:pt x="41" y="59"/>
                      <a:pt x="41" y="51"/>
                      <a:pt x="42" y="46"/>
                    </a:cubicBezTo>
                    <a:cubicBezTo>
                      <a:pt x="42" y="41"/>
                      <a:pt x="50" y="40"/>
                      <a:pt x="50" y="36"/>
                    </a:cubicBezTo>
                    <a:cubicBezTo>
                      <a:pt x="49" y="33"/>
                      <a:pt x="50" y="30"/>
                      <a:pt x="54" y="30"/>
                    </a:cubicBezTo>
                    <a:cubicBezTo>
                      <a:pt x="58" y="29"/>
                      <a:pt x="61" y="26"/>
                      <a:pt x="63" y="24"/>
                    </a:cubicBezTo>
                    <a:cubicBezTo>
                      <a:pt x="63" y="23"/>
                      <a:pt x="63" y="23"/>
                      <a:pt x="64" y="23"/>
                    </a:cubicBezTo>
                    <a:cubicBezTo>
                      <a:pt x="63" y="22"/>
                      <a:pt x="62" y="21"/>
                      <a:pt x="61" y="2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7" name="Freeform 65">
                <a:extLst>
                  <a:ext uri="{FF2B5EF4-FFF2-40B4-BE49-F238E27FC236}">
                    <a16:creationId xmlns:a16="http://schemas.microsoft.com/office/drawing/2014/main" id="{32DEC158-A49B-4130-B854-5F4B4F41BC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3075" y="3754438"/>
                <a:ext cx="149225" cy="106363"/>
              </a:xfrm>
              <a:custGeom>
                <a:avLst/>
                <a:gdLst>
                  <a:gd name="T0" fmla="*/ 33 w 68"/>
                  <a:gd name="T1" fmla="*/ 43 h 49"/>
                  <a:gd name="T2" fmla="*/ 46 w 68"/>
                  <a:gd name="T3" fmla="*/ 43 h 49"/>
                  <a:gd name="T4" fmla="*/ 46 w 68"/>
                  <a:gd name="T5" fmla="*/ 33 h 49"/>
                  <a:gd name="T6" fmla="*/ 56 w 68"/>
                  <a:gd name="T7" fmla="*/ 27 h 49"/>
                  <a:gd name="T8" fmla="*/ 64 w 68"/>
                  <a:gd name="T9" fmla="*/ 14 h 49"/>
                  <a:gd name="T10" fmla="*/ 60 w 68"/>
                  <a:gd name="T11" fmla="*/ 0 h 49"/>
                  <a:gd name="T12" fmla="*/ 52 w 68"/>
                  <a:gd name="T13" fmla="*/ 2 h 49"/>
                  <a:gd name="T14" fmla="*/ 44 w 68"/>
                  <a:gd name="T15" fmla="*/ 4 h 49"/>
                  <a:gd name="T16" fmla="*/ 41 w 68"/>
                  <a:gd name="T17" fmla="*/ 7 h 49"/>
                  <a:gd name="T18" fmla="*/ 35 w 68"/>
                  <a:gd name="T19" fmla="*/ 3 h 49"/>
                  <a:gd name="T20" fmla="*/ 19 w 68"/>
                  <a:gd name="T21" fmla="*/ 2 h 49"/>
                  <a:gd name="T22" fmla="*/ 4 w 68"/>
                  <a:gd name="T23" fmla="*/ 10 h 49"/>
                  <a:gd name="T24" fmla="*/ 4 w 68"/>
                  <a:gd name="T25" fmla="*/ 20 h 49"/>
                  <a:gd name="T26" fmla="*/ 6 w 68"/>
                  <a:gd name="T27" fmla="*/ 29 h 49"/>
                  <a:gd name="T28" fmla="*/ 6 w 68"/>
                  <a:gd name="T29" fmla="*/ 29 h 49"/>
                  <a:gd name="T30" fmla="*/ 9 w 68"/>
                  <a:gd name="T31" fmla="*/ 39 h 49"/>
                  <a:gd name="T32" fmla="*/ 16 w 68"/>
                  <a:gd name="T33" fmla="*/ 40 h 49"/>
                  <a:gd name="T34" fmla="*/ 16 w 68"/>
                  <a:gd name="T35" fmla="*/ 46 h 49"/>
                  <a:gd name="T36" fmla="*/ 25 w 68"/>
                  <a:gd name="T37" fmla="*/ 47 h 49"/>
                  <a:gd name="T38" fmla="*/ 26 w 68"/>
                  <a:gd name="T39" fmla="*/ 49 h 49"/>
                  <a:gd name="T40" fmla="*/ 33 w 68"/>
                  <a:gd name="T41" fmla="*/ 4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" h="49">
                    <a:moveTo>
                      <a:pt x="33" y="43"/>
                    </a:moveTo>
                    <a:cubicBezTo>
                      <a:pt x="33" y="41"/>
                      <a:pt x="45" y="46"/>
                      <a:pt x="46" y="43"/>
                    </a:cubicBezTo>
                    <a:cubicBezTo>
                      <a:pt x="48" y="41"/>
                      <a:pt x="38" y="31"/>
                      <a:pt x="46" y="33"/>
                    </a:cubicBezTo>
                    <a:cubicBezTo>
                      <a:pt x="55" y="36"/>
                      <a:pt x="53" y="31"/>
                      <a:pt x="56" y="27"/>
                    </a:cubicBezTo>
                    <a:cubicBezTo>
                      <a:pt x="59" y="23"/>
                      <a:pt x="68" y="21"/>
                      <a:pt x="64" y="14"/>
                    </a:cubicBezTo>
                    <a:cubicBezTo>
                      <a:pt x="61" y="10"/>
                      <a:pt x="60" y="4"/>
                      <a:pt x="60" y="0"/>
                    </a:cubicBezTo>
                    <a:cubicBezTo>
                      <a:pt x="57" y="2"/>
                      <a:pt x="54" y="2"/>
                      <a:pt x="52" y="2"/>
                    </a:cubicBezTo>
                    <a:cubicBezTo>
                      <a:pt x="50" y="1"/>
                      <a:pt x="44" y="0"/>
                      <a:pt x="44" y="4"/>
                    </a:cubicBezTo>
                    <a:cubicBezTo>
                      <a:pt x="44" y="8"/>
                      <a:pt x="41" y="9"/>
                      <a:pt x="41" y="7"/>
                    </a:cubicBezTo>
                    <a:cubicBezTo>
                      <a:pt x="42" y="5"/>
                      <a:pt x="37" y="5"/>
                      <a:pt x="35" y="3"/>
                    </a:cubicBezTo>
                    <a:cubicBezTo>
                      <a:pt x="32" y="0"/>
                      <a:pt x="24" y="4"/>
                      <a:pt x="19" y="2"/>
                    </a:cubicBezTo>
                    <a:cubicBezTo>
                      <a:pt x="15" y="1"/>
                      <a:pt x="8" y="5"/>
                      <a:pt x="4" y="10"/>
                    </a:cubicBezTo>
                    <a:cubicBezTo>
                      <a:pt x="0" y="15"/>
                      <a:pt x="4" y="15"/>
                      <a:pt x="4" y="20"/>
                    </a:cubicBezTo>
                    <a:cubicBezTo>
                      <a:pt x="4" y="25"/>
                      <a:pt x="7" y="25"/>
                      <a:pt x="6" y="29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10" y="31"/>
                      <a:pt x="8" y="36"/>
                      <a:pt x="9" y="39"/>
                    </a:cubicBezTo>
                    <a:cubicBezTo>
                      <a:pt x="9" y="42"/>
                      <a:pt x="14" y="40"/>
                      <a:pt x="16" y="40"/>
                    </a:cubicBezTo>
                    <a:cubicBezTo>
                      <a:pt x="18" y="40"/>
                      <a:pt x="14" y="44"/>
                      <a:pt x="16" y="46"/>
                    </a:cubicBezTo>
                    <a:cubicBezTo>
                      <a:pt x="18" y="49"/>
                      <a:pt x="24" y="44"/>
                      <a:pt x="25" y="47"/>
                    </a:cubicBezTo>
                    <a:cubicBezTo>
                      <a:pt x="26" y="48"/>
                      <a:pt x="26" y="48"/>
                      <a:pt x="26" y="49"/>
                    </a:cubicBezTo>
                    <a:cubicBezTo>
                      <a:pt x="29" y="47"/>
                      <a:pt x="33" y="45"/>
                      <a:pt x="33" y="4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8" name="Freeform 66">
                <a:extLst>
                  <a:ext uri="{FF2B5EF4-FFF2-40B4-BE49-F238E27FC236}">
                    <a16:creationId xmlns:a16="http://schemas.microsoft.com/office/drawing/2014/main" id="{DEA15CC7-849B-437E-84BC-B4AB279B5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863" y="3548063"/>
                <a:ext cx="182562" cy="225425"/>
              </a:xfrm>
              <a:custGeom>
                <a:avLst/>
                <a:gdLst>
                  <a:gd name="T0" fmla="*/ 56 w 83"/>
                  <a:gd name="T1" fmla="*/ 47 h 103"/>
                  <a:gd name="T2" fmla="*/ 44 w 83"/>
                  <a:gd name="T3" fmla="*/ 37 h 103"/>
                  <a:gd name="T4" fmla="*/ 52 w 83"/>
                  <a:gd name="T5" fmla="*/ 32 h 103"/>
                  <a:gd name="T6" fmla="*/ 49 w 83"/>
                  <a:gd name="T7" fmla="*/ 23 h 103"/>
                  <a:gd name="T8" fmla="*/ 41 w 83"/>
                  <a:gd name="T9" fmla="*/ 21 h 103"/>
                  <a:gd name="T10" fmla="*/ 32 w 83"/>
                  <a:gd name="T11" fmla="*/ 16 h 103"/>
                  <a:gd name="T12" fmla="*/ 26 w 83"/>
                  <a:gd name="T13" fmla="*/ 7 h 103"/>
                  <a:gd name="T14" fmla="*/ 22 w 83"/>
                  <a:gd name="T15" fmla="*/ 1 h 103"/>
                  <a:gd name="T16" fmla="*/ 17 w 83"/>
                  <a:gd name="T17" fmla="*/ 2 h 103"/>
                  <a:gd name="T18" fmla="*/ 16 w 83"/>
                  <a:gd name="T19" fmla="*/ 8 h 103"/>
                  <a:gd name="T20" fmla="*/ 15 w 83"/>
                  <a:gd name="T21" fmla="*/ 16 h 103"/>
                  <a:gd name="T22" fmla="*/ 9 w 83"/>
                  <a:gd name="T23" fmla="*/ 11 h 103"/>
                  <a:gd name="T24" fmla="*/ 4 w 83"/>
                  <a:gd name="T25" fmla="*/ 20 h 103"/>
                  <a:gd name="T26" fmla="*/ 0 w 83"/>
                  <a:gd name="T27" fmla="*/ 24 h 103"/>
                  <a:gd name="T28" fmla="*/ 2 w 83"/>
                  <a:gd name="T29" fmla="*/ 26 h 103"/>
                  <a:gd name="T30" fmla="*/ 3 w 83"/>
                  <a:gd name="T31" fmla="*/ 35 h 103"/>
                  <a:gd name="T32" fmla="*/ 11 w 83"/>
                  <a:gd name="T33" fmla="*/ 37 h 103"/>
                  <a:gd name="T34" fmla="*/ 10 w 83"/>
                  <a:gd name="T35" fmla="*/ 49 h 103"/>
                  <a:gd name="T36" fmla="*/ 7 w 83"/>
                  <a:gd name="T37" fmla="*/ 58 h 103"/>
                  <a:gd name="T38" fmla="*/ 17 w 83"/>
                  <a:gd name="T39" fmla="*/ 54 h 103"/>
                  <a:gd name="T40" fmla="*/ 25 w 83"/>
                  <a:gd name="T41" fmla="*/ 54 h 103"/>
                  <a:gd name="T42" fmla="*/ 32 w 83"/>
                  <a:gd name="T43" fmla="*/ 52 h 103"/>
                  <a:gd name="T44" fmla="*/ 43 w 83"/>
                  <a:gd name="T45" fmla="*/ 51 h 103"/>
                  <a:gd name="T46" fmla="*/ 51 w 83"/>
                  <a:gd name="T47" fmla="*/ 60 h 103"/>
                  <a:gd name="T48" fmla="*/ 52 w 83"/>
                  <a:gd name="T49" fmla="*/ 73 h 103"/>
                  <a:gd name="T50" fmla="*/ 60 w 83"/>
                  <a:gd name="T51" fmla="*/ 85 h 103"/>
                  <a:gd name="T52" fmla="*/ 58 w 83"/>
                  <a:gd name="T53" fmla="*/ 98 h 103"/>
                  <a:gd name="T54" fmla="*/ 63 w 83"/>
                  <a:gd name="T55" fmla="*/ 101 h 103"/>
                  <a:gd name="T56" fmla="*/ 66 w 83"/>
                  <a:gd name="T57" fmla="*/ 98 h 103"/>
                  <a:gd name="T58" fmla="*/ 74 w 83"/>
                  <a:gd name="T59" fmla="*/ 96 h 103"/>
                  <a:gd name="T60" fmla="*/ 82 w 83"/>
                  <a:gd name="T61" fmla="*/ 94 h 103"/>
                  <a:gd name="T62" fmla="*/ 82 w 83"/>
                  <a:gd name="T63" fmla="*/ 90 h 103"/>
                  <a:gd name="T64" fmla="*/ 80 w 83"/>
                  <a:gd name="T65" fmla="*/ 78 h 103"/>
                  <a:gd name="T66" fmla="*/ 71 w 83"/>
                  <a:gd name="T67" fmla="*/ 70 h 103"/>
                  <a:gd name="T68" fmla="*/ 62 w 83"/>
                  <a:gd name="T69" fmla="*/ 57 h 103"/>
                  <a:gd name="T70" fmla="*/ 56 w 83"/>
                  <a:gd name="T71" fmla="*/ 4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3" h="103">
                    <a:moveTo>
                      <a:pt x="56" y="47"/>
                    </a:moveTo>
                    <a:cubicBezTo>
                      <a:pt x="56" y="45"/>
                      <a:pt x="42" y="40"/>
                      <a:pt x="44" y="37"/>
                    </a:cubicBezTo>
                    <a:cubicBezTo>
                      <a:pt x="45" y="33"/>
                      <a:pt x="52" y="35"/>
                      <a:pt x="52" y="32"/>
                    </a:cubicBezTo>
                    <a:cubicBezTo>
                      <a:pt x="52" y="28"/>
                      <a:pt x="50" y="28"/>
                      <a:pt x="49" y="23"/>
                    </a:cubicBezTo>
                    <a:cubicBezTo>
                      <a:pt x="48" y="18"/>
                      <a:pt x="43" y="20"/>
                      <a:pt x="41" y="21"/>
                    </a:cubicBezTo>
                    <a:cubicBezTo>
                      <a:pt x="39" y="22"/>
                      <a:pt x="32" y="20"/>
                      <a:pt x="32" y="16"/>
                    </a:cubicBezTo>
                    <a:cubicBezTo>
                      <a:pt x="32" y="12"/>
                      <a:pt x="26" y="10"/>
                      <a:pt x="26" y="7"/>
                    </a:cubicBezTo>
                    <a:cubicBezTo>
                      <a:pt x="26" y="6"/>
                      <a:pt x="24" y="4"/>
                      <a:pt x="22" y="1"/>
                    </a:cubicBezTo>
                    <a:cubicBezTo>
                      <a:pt x="20" y="2"/>
                      <a:pt x="18" y="3"/>
                      <a:pt x="17" y="2"/>
                    </a:cubicBezTo>
                    <a:cubicBezTo>
                      <a:pt x="16" y="0"/>
                      <a:pt x="14" y="6"/>
                      <a:pt x="16" y="8"/>
                    </a:cubicBezTo>
                    <a:cubicBezTo>
                      <a:pt x="17" y="9"/>
                      <a:pt x="19" y="17"/>
                      <a:pt x="15" y="16"/>
                    </a:cubicBezTo>
                    <a:cubicBezTo>
                      <a:pt x="12" y="16"/>
                      <a:pt x="12" y="11"/>
                      <a:pt x="9" y="11"/>
                    </a:cubicBezTo>
                    <a:cubicBezTo>
                      <a:pt x="9" y="11"/>
                      <a:pt x="4" y="18"/>
                      <a:pt x="4" y="20"/>
                    </a:cubicBezTo>
                    <a:cubicBezTo>
                      <a:pt x="4" y="22"/>
                      <a:pt x="1" y="23"/>
                      <a:pt x="0" y="24"/>
                    </a:cubicBezTo>
                    <a:cubicBezTo>
                      <a:pt x="1" y="25"/>
                      <a:pt x="2" y="25"/>
                      <a:pt x="2" y="26"/>
                    </a:cubicBezTo>
                    <a:cubicBezTo>
                      <a:pt x="3" y="27"/>
                      <a:pt x="1" y="31"/>
                      <a:pt x="3" y="35"/>
                    </a:cubicBezTo>
                    <a:cubicBezTo>
                      <a:pt x="4" y="38"/>
                      <a:pt x="9" y="33"/>
                      <a:pt x="11" y="37"/>
                    </a:cubicBezTo>
                    <a:cubicBezTo>
                      <a:pt x="12" y="42"/>
                      <a:pt x="10" y="45"/>
                      <a:pt x="10" y="49"/>
                    </a:cubicBezTo>
                    <a:cubicBezTo>
                      <a:pt x="10" y="54"/>
                      <a:pt x="6" y="54"/>
                      <a:pt x="7" y="58"/>
                    </a:cubicBezTo>
                    <a:cubicBezTo>
                      <a:pt x="8" y="62"/>
                      <a:pt x="13" y="57"/>
                      <a:pt x="17" y="54"/>
                    </a:cubicBezTo>
                    <a:cubicBezTo>
                      <a:pt x="21" y="51"/>
                      <a:pt x="24" y="52"/>
                      <a:pt x="25" y="54"/>
                    </a:cubicBezTo>
                    <a:cubicBezTo>
                      <a:pt x="26" y="56"/>
                      <a:pt x="31" y="54"/>
                      <a:pt x="32" y="52"/>
                    </a:cubicBezTo>
                    <a:cubicBezTo>
                      <a:pt x="33" y="49"/>
                      <a:pt x="40" y="48"/>
                      <a:pt x="43" y="51"/>
                    </a:cubicBezTo>
                    <a:cubicBezTo>
                      <a:pt x="45" y="54"/>
                      <a:pt x="48" y="58"/>
                      <a:pt x="51" y="60"/>
                    </a:cubicBezTo>
                    <a:cubicBezTo>
                      <a:pt x="54" y="61"/>
                      <a:pt x="49" y="72"/>
                      <a:pt x="52" y="73"/>
                    </a:cubicBezTo>
                    <a:cubicBezTo>
                      <a:pt x="55" y="74"/>
                      <a:pt x="60" y="79"/>
                      <a:pt x="60" y="85"/>
                    </a:cubicBezTo>
                    <a:cubicBezTo>
                      <a:pt x="59" y="90"/>
                      <a:pt x="62" y="94"/>
                      <a:pt x="58" y="98"/>
                    </a:cubicBezTo>
                    <a:cubicBezTo>
                      <a:pt x="61" y="99"/>
                      <a:pt x="63" y="99"/>
                      <a:pt x="63" y="101"/>
                    </a:cubicBezTo>
                    <a:cubicBezTo>
                      <a:pt x="63" y="103"/>
                      <a:pt x="66" y="102"/>
                      <a:pt x="66" y="98"/>
                    </a:cubicBezTo>
                    <a:cubicBezTo>
                      <a:pt x="66" y="94"/>
                      <a:pt x="72" y="95"/>
                      <a:pt x="74" y="96"/>
                    </a:cubicBezTo>
                    <a:cubicBezTo>
                      <a:pt x="76" y="96"/>
                      <a:pt x="79" y="96"/>
                      <a:pt x="82" y="94"/>
                    </a:cubicBezTo>
                    <a:cubicBezTo>
                      <a:pt x="82" y="92"/>
                      <a:pt x="82" y="91"/>
                      <a:pt x="82" y="90"/>
                    </a:cubicBezTo>
                    <a:cubicBezTo>
                      <a:pt x="83" y="85"/>
                      <a:pt x="82" y="80"/>
                      <a:pt x="80" y="78"/>
                    </a:cubicBezTo>
                    <a:cubicBezTo>
                      <a:pt x="78" y="76"/>
                      <a:pt x="72" y="74"/>
                      <a:pt x="71" y="70"/>
                    </a:cubicBezTo>
                    <a:cubicBezTo>
                      <a:pt x="70" y="65"/>
                      <a:pt x="63" y="61"/>
                      <a:pt x="62" y="57"/>
                    </a:cubicBezTo>
                    <a:cubicBezTo>
                      <a:pt x="60" y="54"/>
                      <a:pt x="56" y="50"/>
                      <a:pt x="56" y="4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89" name="Freeform 67">
                <a:extLst>
                  <a:ext uri="{FF2B5EF4-FFF2-40B4-BE49-F238E27FC236}">
                    <a16:creationId xmlns:a16="http://schemas.microsoft.com/office/drawing/2014/main" id="{5B9C79C7-F8E7-49BC-A9E2-62A975696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600450"/>
                <a:ext cx="200025" cy="374650"/>
              </a:xfrm>
              <a:custGeom>
                <a:avLst/>
                <a:gdLst>
                  <a:gd name="T0" fmla="*/ 55 w 91"/>
                  <a:gd name="T1" fmla="*/ 90 h 171"/>
                  <a:gd name="T2" fmla="*/ 55 w 91"/>
                  <a:gd name="T3" fmla="*/ 80 h 171"/>
                  <a:gd name="T4" fmla="*/ 70 w 91"/>
                  <a:gd name="T5" fmla="*/ 72 h 171"/>
                  <a:gd name="T6" fmla="*/ 86 w 91"/>
                  <a:gd name="T7" fmla="*/ 73 h 171"/>
                  <a:gd name="T8" fmla="*/ 87 w 91"/>
                  <a:gd name="T9" fmla="*/ 74 h 171"/>
                  <a:gd name="T10" fmla="*/ 89 w 91"/>
                  <a:gd name="T11" fmla="*/ 61 h 171"/>
                  <a:gd name="T12" fmla="*/ 81 w 91"/>
                  <a:gd name="T13" fmla="*/ 49 h 171"/>
                  <a:gd name="T14" fmla="*/ 80 w 91"/>
                  <a:gd name="T15" fmla="*/ 36 h 171"/>
                  <a:gd name="T16" fmla="*/ 72 w 91"/>
                  <a:gd name="T17" fmla="*/ 27 h 171"/>
                  <a:gd name="T18" fmla="*/ 61 w 91"/>
                  <a:gd name="T19" fmla="*/ 28 h 171"/>
                  <a:gd name="T20" fmla="*/ 54 w 91"/>
                  <a:gd name="T21" fmla="*/ 30 h 171"/>
                  <a:gd name="T22" fmla="*/ 46 w 91"/>
                  <a:gd name="T23" fmla="*/ 30 h 171"/>
                  <a:gd name="T24" fmla="*/ 36 w 91"/>
                  <a:gd name="T25" fmla="*/ 34 h 171"/>
                  <a:gd name="T26" fmla="*/ 39 w 91"/>
                  <a:gd name="T27" fmla="*/ 25 h 171"/>
                  <a:gd name="T28" fmla="*/ 40 w 91"/>
                  <a:gd name="T29" fmla="*/ 13 h 171"/>
                  <a:gd name="T30" fmla="*/ 32 w 91"/>
                  <a:gd name="T31" fmla="*/ 11 h 171"/>
                  <a:gd name="T32" fmla="*/ 31 w 91"/>
                  <a:gd name="T33" fmla="*/ 2 h 171"/>
                  <a:gd name="T34" fmla="*/ 29 w 91"/>
                  <a:gd name="T35" fmla="*/ 0 h 171"/>
                  <a:gd name="T36" fmla="*/ 27 w 91"/>
                  <a:gd name="T37" fmla="*/ 1 h 171"/>
                  <a:gd name="T38" fmla="*/ 17 w 91"/>
                  <a:gd name="T39" fmla="*/ 7 h 171"/>
                  <a:gd name="T40" fmla="*/ 8 w 91"/>
                  <a:gd name="T41" fmla="*/ 10 h 171"/>
                  <a:gd name="T42" fmla="*/ 2 w 91"/>
                  <a:gd name="T43" fmla="*/ 13 h 171"/>
                  <a:gd name="T44" fmla="*/ 0 w 91"/>
                  <a:gd name="T45" fmla="*/ 31 h 171"/>
                  <a:gd name="T46" fmla="*/ 8 w 91"/>
                  <a:gd name="T47" fmla="*/ 41 h 171"/>
                  <a:gd name="T48" fmla="*/ 10 w 91"/>
                  <a:gd name="T49" fmla="*/ 49 h 171"/>
                  <a:gd name="T50" fmla="*/ 10 w 91"/>
                  <a:gd name="T51" fmla="*/ 54 h 171"/>
                  <a:gd name="T52" fmla="*/ 8 w 91"/>
                  <a:gd name="T53" fmla="*/ 62 h 171"/>
                  <a:gd name="T54" fmla="*/ 12 w 91"/>
                  <a:gd name="T55" fmla="*/ 74 h 171"/>
                  <a:gd name="T56" fmla="*/ 17 w 91"/>
                  <a:gd name="T57" fmla="*/ 88 h 171"/>
                  <a:gd name="T58" fmla="*/ 20 w 91"/>
                  <a:gd name="T59" fmla="*/ 97 h 171"/>
                  <a:gd name="T60" fmla="*/ 11 w 91"/>
                  <a:gd name="T61" fmla="*/ 115 h 171"/>
                  <a:gd name="T62" fmla="*/ 7 w 91"/>
                  <a:gd name="T63" fmla="*/ 132 h 171"/>
                  <a:gd name="T64" fmla="*/ 8 w 91"/>
                  <a:gd name="T65" fmla="*/ 142 h 171"/>
                  <a:gd name="T66" fmla="*/ 23 w 91"/>
                  <a:gd name="T67" fmla="*/ 156 h 171"/>
                  <a:gd name="T68" fmla="*/ 26 w 91"/>
                  <a:gd name="T69" fmla="*/ 162 h 171"/>
                  <a:gd name="T70" fmla="*/ 33 w 91"/>
                  <a:gd name="T71" fmla="*/ 162 h 171"/>
                  <a:gd name="T72" fmla="*/ 38 w 91"/>
                  <a:gd name="T73" fmla="*/ 169 h 171"/>
                  <a:gd name="T74" fmla="*/ 47 w 91"/>
                  <a:gd name="T75" fmla="*/ 170 h 171"/>
                  <a:gd name="T76" fmla="*/ 51 w 91"/>
                  <a:gd name="T77" fmla="*/ 165 h 171"/>
                  <a:gd name="T78" fmla="*/ 38 w 91"/>
                  <a:gd name="T79" fmla="*/ 158 h 171"/>
                  <a:gd name="T80" fmla="*/ 30 w 91"/>
                  <a:gd name="T81" fmla="*/ 145 h 171"/>
                  <a:gd name="T82" fmla="*/ 26 w 91"/>
                  <a:gd name="T83" fmla="*/ 135 h 171"/>
                  <a:gd name="T84" fmla="*/ 19 w 91"/>
                  <a:gd name="T85" fmla="*/ 129 h 171"/>
                  <a:gd name="T86" fmla="*/ 20 w 91"/>
                  <a:gd name="T87" fmla="*/ 111 h 171"/>
                  <a:gd name="T88" fmla="*/ 26 w 91"/>
                  <a:gd name="T89" fmla="*/ 88 h 171"/>
                  <a:gd name="T90" fmla="*/ 36 w 91"/>
                  <a:gd name="T91" fmla="*/ 85 h 171"/>
                  <a:gd name="T92" fmla="*/ 44 w 91"/>
                  <a:gd name="T93" fmla="*/ 92 h 171"/>
                  <a:gd name="T94" fmla="*/ 56 w 91"/>
                  <a:gd name="T95" fmla="*/ 99 h 171"/>
                  <a:gd name="T96" fmla="*/ 57 w 91"/>
                  <a:gd name="T97" fmla="*/ 99 h 171"/>
                  <a:gd name="T98" fmla="*/ 57 w 91"/>
                  <a:gd name="T99" fmla="*/ 99 h 171"/>
                  <a:gd name="T100" fmla="*/ 55 w 91"/>
                  <a:gd name="T101" fmla="*/ 9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1" h="171">
                    <a:moveTo>
                      <a:pt x="55" y="90"/>
                    </a:moveTo>
                    <a:cubicBezTo>
                      <a:pt x="55" y="85"/>
                      <a:pt x="51" y="85"/>
                      <a:pt x="55" y="80"/>
                    </a:cubicBezTo>
                    <a:cubicBezTo>
                      <a:pt x="59" y="75"/>
                      <a:pt x="66" y="71"/>
                      <a:pt x="70" y="72"/>
                    </a:cubicBezTo>
                    <a:cubicBezTo>
                      <a:pt x="75" y="74"/>
                      <a:pt x="83" y="70"/>
                      <a:pt x="86" y="73"/>
                    </a:cubicBezTo>
                    <a:cubicBezTo>
                      <a:pt x="86" y="73"/>
                      <a:pt x="87" y="74"/>
                      <a:pt x="87" y="74"/>
                    </a:cubicBezTo>
                    <a:cubicBezTo>
                      <a:pt x="91" y="70"/>
                      <a:pt x="88" y="66"/>
                      <a:pt x="89" y="61"/>
                    </a:cubicBezTo>
                    <a:cubicBezTo>
                      <a:pt x="89" y="55"/>
                      <a:pt x="84" y="50"/>
                      <a:pt x="81" y="49"/>
                    </a:cubicBezTo>
                    <a:cubicBezTo>
                      <a:pt x="78" y="48"/>
                      <a:pt x="83" y="37"/>
                      <a:pt x="80" y="36"/>
                    </a:cubicBezTo>
                    <a:cubicBezTo>
                      <a:pt x="77" y="34"/>
                      <a:pt x="74" y="30"/>
                      <a:pt x="72" y="27"/>
                    </a:cubicBezTo>
                    <a:cubicBezTo>
                      <a:pt x="69" y="24"/>
                      <a:pt x="62" y="25"/>
                      <a:pt x="61" y="28"/>
                    </a:cubicBezTo>
                    <a:cubicBezTo>
                      <a:pt x="60" y="30"/>
                      <a:pt x="55" y="32"/>
                      <a:pt x="54" y="30"/>
                    </a:cubicBezTo>
                    <a:cubicBezTo>
                      <a:pt x="53" y="28"/>
                      <a:pt x="50" y="27"/>
                      <a:pt x="46" y="30"/>
                    </a:cubicBezTo>
                    <a:cubicBezTo>
                      <a:pt x="42" y="33"/>
                      <a:pt x="37" y="38"/>
                      <a:pt x="36" y="34"/>
                    </a:cubicBezTo>
                    <a:cubicBezTo>
                      <a:pt x="35" y="30"/>
                      <a:pt x="39" y="30"/>
                      <a:pt x="39" y="25"/>
                    </a:cubicBezTo>
                    <a:cubicBezTo>
                      <a:pt x="39" y="21"/>
                      <a:pt x="41" y="18"/>
                      <a:pt x="40" y="13"/>
                    </a:cubicBezTo>
                    <a:cubicBezTo>
                      <a:pt x="38" y="9"/>
                      <a:pt x="33" y="14"/>
                      <a:pt x="32" y="11"/>
                    </a:cubicBezTo>
                    <a:cubicBezTo>
                      <a:pt x="30" y="7"/>
                      <a:pt x="32" y="3"/>
                      <a:pt x="31" y="2"/>
                    </a:cubicBezTo>
                    <a:cubicBezTo>
                      <a:pt x="31" y="1"/>
                      <a:pt x="30" y="1"/>
                      <a:pt x="29" y="0"/>
                    </a:cubicBezTo>
                    <a:cubicBezTo>
                      <a:pt x="28" y="0"/>
                      <a:pt x="27" y="1"/>
                      <a:pt x="27" y="1"/>
                    </a:cubicBezTo>
                    <a:cubicBezTo>
                      <a:pt x="26" y="4"/>
                      <a:pt x="18" y="4"/>
                      <a:pt x="17" y="7"/>
                    </a:cubicBezTo>
                    <a:cubicBezTo>
                      <a:pt x="15" y="10"/>
                      <a:pt x="10" y="10"/>
                      <a:pt x="8" y="10"/>
                    </a:cubicBezTo>
                    <a:cubicBezTo>
                      <a:pt x="7" y="10"/>
                      <a:pt x="2" y="10"/>
                      <a:pt x="2" y="13"/>
                    </a:cubicBezTo>
                    <a:cubicBezTo>
                      <a:pt x="2" y="16"/>
                      <a:pt x="0" y="29"/>
                      <a:pt x="0" y="31"/>
                    </a:cubicBezTo>
                    <a:cubicBezTo>
                      <a:pt x="0" y="33"/>
                      <a:pt x="6" y="40"/>
                      <a:pt x="8" y="41"/>
                    </a:cubicBezTo>
                    <a:cubicBezTo>
                      <a:pt x="10" y="42"/>
                      <a:pt x="8" y="48"/>
                      <a:pt x="10" y="49"/>
                    </a:cubicBezTo>
                    <a:cubicBezTo>
                      <a:pt x="13" y="50"/>
                      <a:pt x="11" y="55"/>
                      <a:pt x="10" y="54"/>
                    </a:cubicBezTo>
                    <a:cubicBezTo>
                      <a:pt x="9" y="54"/>
                      <a:pt x="11" y="60"/>
                      <a:pt x="8" y="62"/>
                    </a:cubicBezTo>
                    <a:cubicBezTo>
                      <a:pt x="6" y="65"/>
                      <a:pt x="8" y="70"/>
                      <a:pt x="12" y="74"/>
                    </a:cubicBezTo>
                    <a:cubicBezTo>
                      <a:pt x="17" y="78"/>
                      <a:pt x="17" y="85"/>
                      <a:pt x="17" y="88"/>
                    </a:cubicBezTo>
                    <a:cubicBezTo>
                      <a:pt x="17" y="92"/>
                      <a:pt x="20" y="92"/>
                      <a:pt x="20" y="97"/>
                    </a:cubicBezTo>
                    <a:cubicBezTo>
                      <a:pt x="20" y="97"/>
                      <a:pt x="15" y="116"/>
                      <a:pt x="11" y="115"/>
                    </a:cubicBezTo>
                    <a:cubicBezTo>
                      <a:pt x="10" y="120"/>
                      <a:pt x="8" y="128"/>
                      <a:pt x="7" y="132"/>
                    </a:cubicBezTo>
                    <a:cubicBezTo>
                      <a:pt x="6" y="137"/>
                      <a:pt x="5" y="141"/>
                      <a:pt x="8" y="142"/>
                    </a:cubicBezTo>
                    <a:cubicBezTo>
                      <a:pt x="11" y="142"/>
                      <a:pt x="17" y="149"/>
                      <a:pt x="23" y="156"/>
                    </a:cubicBezTo>
                    <a:cubicBezTo>
                      <a:pt x="24" y="158"/>
                      <a:pt x="25" y="160"/>
                      <a:pt x="26" y="162"/>
                    </a:cubicBezTo>
                    <a:cubicBezTo>
                      <a:pt x="28" y="162"/>
                      <a:pt x="30" y="162"/>
                      <a:pt x="33" y="162"/>
                    </a:cubicBezTo>
                    <a:cubicBezTo>
                      <a:pt x="37" y="163"/>
                      <a:pt x="38" y="167"/>
                      <a:pt x="38" y="169"/>
                    </a:cubicBezTo>
                    <a:cubicBezTo>
                      <a:pt x="38" y="171"/>
                      <a:pt x="46" y="170"/>
                      <a:pt x="47" y="170"/>
                    </a:cubicBezTo>
                    <a:cubicBezTo>
                      <a:pt x="48" y="170"/>
                      <a:pt x="47" y="167"/>
                      <a:pt x="51" y="165"/>
                    </a:cubicBezTo>
                    <a:cubicBezTo>
                      <a:pt x="48" y="162"/>
                      <a:pt x="43" y="158"/>
                      <a:pt x="38" y="158"/>
                    </a:cubicBezTo>
                    <a:cubicBezTo>
                      <a:pt x="32" y="157"/>
                      <a:pt x="29" y="149"/>
                      <a:pt x="30" y="145"/>
                    </a:cubicBezTo>
                    <a:cubicBezTo>
                      <a:pt x="30" y="141"/>
                      <a:pt x="26" y="138"/>
                      <a:pt x="26" y="135"/>
                    </a:cubicBezTo>
                    <a:cubicBezTo>
                      <a:pt x="26" y="131"/>
                      <a:pt x="22" y="131"/>
                      <a:pt x="19" y="129"/>
                    </a:cubicBezTo>
                    <a:cubicBezTo>
                      <a:pt x="15" y="127"/>
                      <a:pt x="19" y="116"/>
                      <a:pt x="20" y="111"/>
                    </a:cubicBezTo>
                    <a:cubicBezTo>
                      <a:pt x="20" y="106"/>
                      <a:pt x="28" y="93"/>
                      <a:pt x="26" y="88"/>
                    </a:cubicBezTo>
                    <a:cubicBezTo>
                      <a:pt x="24" y="84"/>
                      <a:pt x="34" y="81"/>
                      <a:pt x="36" y="85"/>
                    </a:cubicBezTo>
                    <a:cubicBezTo>
                      <a:pt x="37" y="90"/>
                      <a:pt x="37" y="93"/>
                      <a:pt x="44" y="92"/>
                    </a:cubicBezTo>
                    <a:cubicBezTo>
                      <a:pt x="51" y="92"/>
                      <a:pt x="51" y="97"/>
                      <a:pt x="56" y="99"/>
                    </a:cubicBezTo>
                    <a:cubicBezTo>
                      <a:pt x="56" y="99"/>
                      <a:pt x="57" y="99"/>
                      <a:pt x="57" y="99"/>
                    </a:cubicBezTo>
                    <a:cubicBezTo>
                      <a:pt x="57" y="99"/>
                      <a:pt x="57" y="99"/>
                      <a:pt x="57" y="99"/>
                    </a:cubicBezTo>
                    <a:cubicBezTo>
                      <a:pt x="58" y="95"/>
                      <a:pt x="55" y="95"/>
                      <a:pt x="55" y="9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0" name="Freeform 68">
                <a:extLst>
                  <a:ext uri="{FF2B5EF4-FFF2-40B4-BE49-F238E27FC236}">
                    <a16:creationId xmlns:a16="http://schemas.microsoft.com/office/drawing/2014/main" id="{2719B5A3-A277-42B3-95C1-19B6301D4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188" y="2584450"/>
                <a:ext cx="239712" cy="195263"/>
              </a:xfrm>
              <a:custGeom>
                <a:avLst/>
                <a:gdLst>
                  <a:gd name="T0" fmla="*/ 2 w 109"/>
                  <a:gd name="T1" fmla="*/ 19 h 89"/>
                  <a:gd name="T2" fmla="*/ 2 w 109"/>
                  <a:gd name="T3" fmla="*/ 30 h 89"/>
                  <a:gd name="T4" fmla="*/ 2 w 109"/>
                  <a:gd name="T5" fmla="*/ 35 h 89"/>
                  <a:gd name="T6" fmla="*/ 5 w 109"/>
                  <a:gd name="T7" fmla="*/ 40 h 89"/>
                  <a:gd name="T8" fmla="*/ 6 w 109"/>
                  <a:gd name="T9" fmla="*/ 46 h 89"/>
                  <a:gd name="T10" fmla="*/ 9 w 109"/>
                  <a:gd name="T11" fmla="*/ 55 h 89"/>
                  <a:gd name="T12" fmla="*/ 9 w 109"/>
                  <a:gd name="T13" fmla="*/ 60 h 89"/>
                  <a:gd name="T14" fmla="*/ 16 w 109"/>
                  <a:gd name="T15" fmla="*/ 64 h 89"/>
                  <a:gd name="T16" fmla="*/ 23 w 109"/>
                  <a:gd name="T17" fmla="*/ 69 h 89"/>
                  <a:gd name="T18" fmla="*/ 29 w 109"/>
                  <a:gd name="T19" fmla="*/ 72 h 89"/>
                  <a:gd name="T20" fmla="*/ 36 w 109"/>
                  <a:gd name="T21" fmla="*/ 71 h 89"/>
                  <a:gd name="T22" fmla="*/ 39 w 109"/>
                  <a:gd name="T23" fmla="*/ 75 h 89"/>
                  <a:gd name="T24" fmla="*/ 46 w 109"/>
                  <a:gd name="T25" fmla="*/ 77 h 89"/>
                  <a:gd name="T26" fmla="*/ 51 w 109"/>
                  <a:gd name="T27" fmla="*/ 84 h 89"/>
                  <a:gd name="T28" fmla="*/ 58 w 109"/>
                  <a:gd name="T29" fmla="*/ 83 h 89"/>
                  <a:gd name="T30" fmla="*/ 68 w 109"/>
                  <a:gd name="T31" fmla="*/ 84 h 89"/>
                  <a:gd name="T32" fmla="*/ 76 w 109"/>
                  <a:gd name="T33" fmla="*/ 85 h 89"/>
                  <a:gd name="T34" fmla="*/ 86 w 109"/>
                  <a:gd name="T35" fmla="*/ 87 h 89"/>
                  <a:gd name="T36" fmla="*/ 93 w 109"/>
                  <a:gd name="T37" fmla="*/ 89 h 89"/>
                  <a:gd name="T38" fmla="*/ 92 w 109"/>
                  <a:gd name="T39" fmla="*/ 81 h 89"/>
                  <a:gd name="T40" fmla="*/ 103 w 109"/>
                  <a:gd name="T41" fmla="*/ 70 h 89"/>
                  <a:gd name="T42" fmla="*/ 108 w 109"/>
                  <a:gd name="T43" fmla="*/ 66 h 89"/>
                  <a:gd name="T44" fmla="*/ 103 w 109"/>
                  <a:gd name="T45" fmla="*/ 55 h 89"/>
                  <a:gd name="T46" fmla="*/ 102 w 109"/>
                  <a:gd name="T47" fmla="*/ 45 h 89"/>
                  <a:gd name="T48" fmla="*/ 99 w 109"/>
                  <a:gd name="T49" fmla="*/ 40 h 89"/>
                  <a:gd name="T50" fmla="*/ 105 w 109"/>
                  <a:gd name="T51" fmla="*/ 34 h 89"/>
                  <a:gd name="T52" fmla="*/ 105 w 109"/>
                  <a:gd name="T53" fmla="*/ 24 h 89"/>
                  <a:gd name="T54" fmla="*/ 103 w 109"/>
                  <a:gd name="T55" fmla="*/ 16 h 89"/>
                  <a:gd name="T56" fmla="*/ 94 w 109"/>
                  <a:gd name="T57" fmla="*/ 9 h 89"/>
                  <a:gd name="T58" fmla="*/ 94 w 109"/>
                  <a:gd name="T59" fmla="*/ 9 h 89"/>
                  <a:gd name="T60" fmla="*/ 64 w 109"/>
                  <a:gd name="T61" fmla="*/ 8 h 89"/>
                  <a:gd name="T62" fmla="*/ 59 w 109"/>
                  <a:gd name="T63" fmla="*/ 6 h 89"/>
                  <a:gd name="T64" fmla="*/ 53 w 109"/>
                  <a:gd name="T65" fmla="*/ 9 h 89"/>
                  <a:gd name="T66" fmla="*/ 47 w 109"/>
                  <a:gd name="T67" fmla="*/ 2 h 89"/>
                  <a:gd name="T68" fmla="*/ 23 w 109"/>
                  <a:gd name="T69" fmla="*/ 9 h 89"/>
                  <a:gd name="T70" fmla="*/ 5 w 109"/>
                  <a:gd name="T71" fmla="*/ 15 h 89"/>
                  <a:gd name="T72" fmla="*/ 2 w 109"/>
                  <a:gd name="T73" fmla="*/ 17 h 89"/>
                  <a:gd name="T74" fmla="*/ 2 w 109"/>
                  <a:gd name="T75" fmla="*/ 1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9" h="89">
                    <a:moveTo>
                      <a:pt x="2" y="19"/>
                    </a:moveTo>
                    <a:cubicBezTo>
                      <a:pt x="3" y="21"/>
                      <a:pt x="3" y="28"/>
                      <a:pt x="2" y="30"/>
                    </a:cubicBezTo>
                    <a:cubicBezTo>
                      <a:pt x="0" y="33"/>
                      <a:pt x="1" y="34"/>
                      <a:pt x="2" y="35"/>
                    </a:cubicBezTo>
                    <a:cubicBezTo>
                      <a:pt x="4" y="36"/>
                      <a:pt x="5" y="38"/>
                      <a:pt x="5" y="40"/>
                    </a:cubicBezTo>
                    <a:cubicBezTo>
                      <a:pt x="5" y="42"/>
                      <a:pt x="6" y="42"/>
                      <a:pt x="6" y="46"/>
                    </a:cubicBezTo>
                    <a:cubicBezTo>
                      <a:pt x="7" y="51"/>
                      <a:pt x="8" y="54"/>
                      <a:pt x="9" y="55"/>
                    </a:cubicBezTo>
                    <a:cubicBezTo>
                      <a:pt x="10" y="57"/>
                      <a:pt x="10" y="59"/>
                      <a:pt x="9" y="60"/>
                    </a:cubicBezTo>
                    <a:cubicBezTo>
                      <a:pt x="12" y="62"/>
                      <a:pt x="14" y="64"/>
                      <a:pt x="16" y="64"/>
                    </a:cubicBezTo>
                    <a:cubicBezTo>
                      <a:pt x="21" y="66"/>
                      <a:pt x="23" y="68"/>
                      <a:pt x="23" y="69"/>
                    </a:cubicBezTo>
                    <a:cubicBezTo>
                      <a:pt x="24" y="71"/>
                      <a:pt x="28" y="75"/>
                      <a:pt x="29" y="72"/>
                    </a:cubicBezTo>
                    <a:cubicBezTo>
                      <a:pt x="30" y="69"/>
                      <a:pt x="33" y="71"/>
                      <a:pt x="36" y="71"/>
                    </a:cubicBezTo>
                    <a:cubicBezTo>
                      <a:pt x="38" y="71"/>
                      <a:pt x="38" y="74"/>
                      <a:pt x="39" y="75"/>
                    </a:cubicBezTo>
                    <a:cubicBezTo>
                      <a:pt x="39" y="77"/>
                      <a:pt x="44" y="76"/>
                      <a:pt x="46" y="77"/>
                    </a:cubicBezTo>
                    <a:cubicBezTo>
                      <a:pt x="48" y="78"/>
                      <a:pt x="49" y="82"/>
                      <a:pt x="51" y="84"/>
                    </a:cubicBezTo>
                    <a:cubicBezTo>
                      <a:pt x="54" y="85"/>
                      <a:pt x="56" y="82"/>
                      <a:pt x="58" y="83"/>
                    </a:cubicBezTo>
                    <a:cubicBezTo>
                      <a:pt x="60" y="84"/>
                      <a:pt x="65" y="85"/>
                      <a:pt x="68" y="84"/>
                    </a:cubicBezTo>
                    <a:cubicBezTo>
                      <a:pt x="71" y="83"/>
                      <a:pt x="73" y="85"/>
                      <a:pt x="76" y="85"/>
                    </a:cubicBezTo>
                    <a:cubicBezTo>
                      <a:pt x="80" y="84"/>
                      <a:pt x="85" y="86"/>
                      <a:pt x="86" y="87"/>
                    </a:cubicBezTo>
                    <a:cubicBezTo>
                      <a:pt x="87" y="88"/>
                      <a:pt x="90" y="88"/>
                      <a:pt x="93" y="89"/>
                    </a:cubicBezTo>
                    <a:cubicBezTo>
                      <a:pt x="93" y="87"/>
                      <a:pt x="92" y="82"/>
                      <a:pt x="92" y="81"/>
                    </a:cubicBezTo>
                    <a:cubicBezTo>
                      <a:pt x="92" y="80"/>
                      <a:pt x="101" y="72"/>
                      <a:pt x="103" y="70"/>
                    </a:cubicBezTo>
                    <a:cubicBezTo>
                      <a:pt x="104" y="69"/>
                      <a:pt x="106" y="69"/>
                      <a:pt x="108" y="66"/>
                    </a:cubicBezTo>
                    <a:cubicBezTo>
                      <a:pt x="109" y="64"/>
                      <a:pt x="104" y="57"/>
                      <a:pt x="103" y="55"/>
                    </a:cubicBezTo>
                    <a:cubicBezTo>
                      <a:pt x="102" y="54"/>
                      <a:pt x="102" y="48"/>
                      <a:pt x="102" y="45"/>
                    </a:cubicBezTo>
                    <a:cubicBezTo>
                      <a:pt x="103" y="43"/>
                      <a:pt x="99" y="41"/>
                      <a:pt x="99" y="40"/>
                    </a:cubicBezTo>
                    <a:cubicBezTo>
                      <a:pt x="99" y="38"/>
                      <a:pt x="103" y="35"/>
                      <a:pt x="105" y="34"/>
                    </a:cubicBezTo>
                    <a:cubicBezTo>
                      <a:pt x="107" y="33"/>
                      <a:pt x="107" y="26"/>
                      <a:pt x="105" y="24"/>
                    </a:cubicBezTo>
                    <a:cubicBezTo>
                      <a:pt x="103" y="22"/>
                      <a:pt x="102" y="19"/>
                      <a:pt x="103" y="16"/>
                    </a:cubicBezTo>
                    <a:cubicBezTo>
                      <a:pt x="104" y="12"/>
                      <a:pt x="95" y="9"/>
                      <a:pt x="94" y="9"/>
                    </a:cubicBezTo>
                    <a:cubicBezTo>
                      <a:pt x="94" y="9"/>
                      <a:pt x="94" y="9"/>
                      <a:pt x="94" y="9"/>
                    </a:cubicBezTo>
                    <a:cubicBezTo>
                      <a:pt x="86" y="10"/>
                      <a:pt x="66" y="8"/>
                      <a:pt x="64" y="8"/>
                    </a:cubicBezTo>
                    <a:cubicBezTo>
                      <a:pt x="63" y="7"/>
                      <a:pt x="61" y="6"/>
                      <a:pt x="59" y="6"/>
                    </a:cubicBezTo>
                    <a:cubicBezTo>
                      <a:pt x="58" y="7"/>
                      <a:pt x="56" y="9"/>
                      <a:pt x="53" y="9"/>
                    </a:cubicBezTo>
                    <a:cubicBezTo>
                      <a:pt x="48" y="9"/>
                      <a:pt x="47" y="4"/>
                      <a:pt x="47" y="2"/>
                    </a:cubicBezTo>
                    <a:cubicBezTo>
                      <a:pt x="47" y="0"/>
                      <a:pt x="28" y="4"/>
                      <a:pt x="23" y="9"/>
                    </a:cubicBezTo>
                    <a:cubicBezTo>
                      <a:pt x="17" y="14"/>
                      <a:pt x="5" y="12"/>
                      <a:pt x="5" y="15"/>
                    </a:cubicBezTo>
                    <a:cubicBezTo>
                      <a:pt x="5" y="17"/>
                      <a:pt x="3" y="18"/>
                      <a:pt x="2" y="17"/>
                    </a:cubicBezTo>
                    <a:cubicBezTo>
                      <a:pt x="2" y="18"/>
                      <a:pt x="2" y="18"/>
                      <a:pt x="2" y="1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1" name="Freeform 69">
                <a:extLst>
                  <a:ext uri="{FF2B5EF4-FFF2-40B4-BE49-F238E27FC236}">
                    <a16:creationId xmlns:a16="http://schemas.microsoft.com/office/drawing/2014/main" id="{5D027BA8-A5CD-446D-BD59-89B221982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0113" y="2900363"/>
                <a:ext cx="90487" cy="85725"/>
              </a:xfrm>
              <a:custGeom>
                <a:avLst/>
                <a:gdLst>
                  <a:gd name="T0" fmla="*/ 30 w 41"/>
                  <a:gd name="T1" fmla="*/ 36 h 39"/>
                  <a:gd name="T2" fmla="*/ 39 w 41"/>
                  <a:gd name="T3" fmla="*/ 23 h 39"/>
                  <a:gd name="T4" fmla="*/ 40 w 41"/>
                  <a:gd name="T5" fmla="*/ 8 h 39"/>
                  <a:gd name="T6" fmla="*/ 30 w 41"/>
                  <a:gd name="T7" fmla="*/ 3 h 39"/>
                  <a:gd name="T8" fmla="*/ 12 w 41"/>
                  <a:gd name="T9" fmla="*/ 1 h 39"/>
                  <a:gd name="T10" fmla="*/ 5 w 41"/>
                  <a:gd name="T11" fmla="*/ 3 h 39"/>
                  <a:gd name="T12" fmla="*/ 0 w 41"/>
                  <a:gd name="T13" fmla="*/ 6 h 39"/>
                  <a:gd name="T14" fmla="*/ 5 w 41"/>
                  <a:gd name="T15" fmla="*/ 13 h 39"/>
                  <a:gd name="T16" fmla="*/ 15 w 41"/>
                  <a:gd name="T17" fmla="*/ 24 h 39"/>
                  <a:gd name="T18" fmla="*/ 24 w 41"/>
                  <a:gd name="T19" fmla="*/ 35 h 39"/>
                  <a:gd name="T20" fmla="*/ 30 w 41"/>
                  <a:gd name="T21" fmla="*/ 39 h 39"/>
                  <a:gd name="T22" fmla="*/ 30 w 41"/>
                  <a:gd name="T23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39">
                    <a:moveTo>
                      <a:pt x="30" y="36"/>
                    </a:moveTo>
                    <a:cubicBezTo>
                      <a:pt x="30" y="33"/>
                      <a:pt x="37" y="23"/>
                      <a:pt x="39" y="23"/>
                    </a:cubicBezTo>
                    <a:cubicBezTo>
                      <a:pt x="40" y="23"/>
                      <a:pt x="41" y="13"/>
                      <a:pt x="40" y="8"/>
                    </a:cubicBezTo>
                    <a:cubicBezTo>
                      <a:pt x="34" y="4"/>
                      <a:pt x="30" y="3"/>
                      <a:pt x="30" y="3"/>
                    </a:cubicBezTo>
                    <a:cubicBezTo>
                      <a:pt x="30" y="3"/>
                      <a:pt x="15" y="2"/>
                      <a:pt x="12" y="1"/>
                    </a:cubicBezTo>
                    <a:cubicBezTo>
                      <a:pt x="10" y="0"/>
                      <a:pt x="7" y="4"/>
                      <a:pt x="5" y="3"/>
                    </a:cubicBezTo>
                    <a:cubicBezTo>
                      <a:pt x="3" y="1"/>
                      <a:pt x="0" y="3"/>
                      <a:pt x="0" y="6"/>
                    </a:cubicBezTo>
                    <a:cubicBezTo>
                      <a:pt x="1" y="8"/>
                      <a:pt x="5" y="9"/>
                      <a:pt x="5" y="13"/>
                    </a:cubicBezTo>
                    <a:cubicBezTo>
                      <a:pt x="5" y="17"/>
                      <a:pt x="15" y="22"/>
                      <a:pt x="15" y="24"/>
                    </a:cubicBezTo>
                    <a:cubicBezTo>
                      <a:pt x="14" y="26"/>
                      <a:pt x="20" y="30"/>
                      <a:pt x="24" y="35"/>
                    </a:cubicBezTo>
                    <a:cubicBezTo>
                      <a:pt x="26" y="36"/>
                      <a:pt x="28" y="37"/>
                      <a:pt x="30" y="39"/>
                    </a:cubicBezTo>
                    <a:cubicBezTo>
                      <a:pt x="30" y="37"/>
                      <a:pt x="30" y="36"/>
                      <a:pt x="30" y="3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2" name="Freeform 70">
                <a:extLst>
                  <a:ext uri="{FF2B5EF4-FFF2-40B4-BE49-F238E27FC236}">
                    <a16:creationId xmlns:a16="http://schemas.microsoft.com/office/drawing/2014/main" id="{03FA6350-CF1A-4392-B421-71F0C136D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7250" y="2860675"/>
                <a:ext cx="131762" cy="115888"/>
              </a:xfrm>
              <a:custGeom>
                <a:avLst/>
                <a:gdLst>
                  <a:gd name="T0" fmla="*/ 35 w 60"/>
                  <a:gd name="T1" fmla="*/ 42 h 53"/>
                  <a:gd name="T2" fmla="*/ 25 w 60"/>
                  <a:gd name="T3" fmla="*/ 31 h 53"/>
                  <a:gd name="T4" fmla="*/ 20 w 60"/>
                  <a:gd name="T5" fmla="*/ 24 h 53"/>
                  <a:gd name="T6" fmla="*/ 25 w 60"/>
                  <a:gd name="T7" fmla="*/ 21 h 53"/>
                  <a:gd name="T8" fmla="*/ 32 w 60"/>
                  <a:gd name="T9" fmla="*/ 19 h 53"/>
                  <a:gd name="T10" fmla="*/ 50 w 60"/>
                  <a:gd name="T11" fmla="*/ 21 h 53"/>
                  <a:gd name="T12" fmla="*/ 60 w 60"/>
                  <a:gd name="T13" fmla="*/ 26 h 53"/>
                  <a:gd name="T14" fmla="*/ 59 w 60"/>
                  <a:gd name="T15" fmla="*/ 23 h 53"/>
                  <a:gd name="T16" fmla="*/ 56 w 60"/>
                  <a:gd name="T17" fmla="*/ 15 h 53"/>
                  <a:gd name="T18" fmla="*/ 53 w 60"/>
                  <a:gd name="T19" fmla="*/ 9 h 53"/>
                  <a:gd name="T20" fmla="*/ 49 w 60"/>
                  <a:gd name="T21" fmla="*/ 10 h 53"/>
                  <a:gd name="T22" fmla="*/ 37 w 60"/>
                  <a:gd name="T23" fmla="*/ 7 h 53"/>
                  <a:gd name="T24" fmla="*/ 28 w 60"/>
                  <a:gd name="T25" fmla="*/ 0 h 53"/>
                  <a:gd name="T26" fmla="*/ 21 w 60"/>
                  <a:gd name="T27" fmla="*/ 5 h 53"/>
                  <a:gd name="T28" fmla="*/ 19 w 60"/>
                  <a:gd name="T29" fmla="*/ 10 h 53"/>
                  <a:gd name="T30" fmla="*/ 15 w 60"/>
                  <a:gd name="T31" fmla="*/ 15 h 53"/>
                  <a:gd name="T32" fmla="*/ 8 w 60"/>
                  <a:gd name="T33" fmla="*/ 15 h 53"/>
                  <a:gd name="T34" fmla="*/ 0 w 60"/>
                  <a:gd name="T35" fmla="*/ 16 h 53"/>
                  <a:gd name="T36" fmla="*/ 2 w 60"/>
                  <a:gd name="T37" fmla="*/ 21 h 53"/>
                  <a:gd name="T38" fmla="*/ 10 w 60"/>
                  <a:gd name="T39" fmla="*/ 25 h 53"/>
                  <a:gd name="T40" fmla="*/ 20 w 60"/>
                  <a:gd name="T41" fmla="*/ 41 h 53"/>
                  <a:gd name="T42" fmla="*/ 29 w 60"/>
                  <a:gd name="T43" fmla="*/ 46 h 53"/>
                  <a:gd name="T44" fmla="*/ 39 w 60"/>
                  <a:gd name="T45" fmla="*/ 51 h 53"/>
                  <a:gd name="T46" fmla="*/ 44 w 60"/>
                  <a:gd name="T47" fmla="*/ 53 h 53"/>
                  <a:gd name="T48" fmla="*/ 35 w 60"/>
                  <a:gd name="T49" fmla="*/ 4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53">
                    <a:moveTo>
                      <a:pt x="35" y="42"/>
                    </a:moveTo>
                    <a:cubicBezTo>
                      <a:pt x="35" y="40"/>
                      <a:pt x="25" y="35"/>
                      <a:pt x="25" y="31"/>
                    </a:cubicBezTo>
                    <a:cubicBezTo>
                      <a:pt x="25" y="27"/>
                      <a:pt x="21" y="26"/>
                      <a:pt x="20" y="24"/>
                    </a:cubicBezTo>
                    <a:cubicBezTo>
                      <a:pt x="20" y="21"/>
                      <a:pt x="23" y="19"/>
                      <a:pt x="25" y="21"/>
                    </a:cubicBezTo>
                    <a:cubicBezTo>
                      <a:pt x="27" y="22"/>
                      <a:pt x="30" y="18"/>
                      <a:pt x="32" y="19"/>
                    </a:cubicBezTo>
                    <a:cubicBezTo>
                      <a:pt x="35" y="20"/>
                      <a:pt x="50" y="21"/>
                      <a:pt x="50" y="21"/>
                    </a:cubicBezTo>
                    <a:cubicBezTo>
                      <a:pt x="50" y="21"/>
                      <a:pt x="54" y="22"/>
                      <a:pt x="60" y="26"/>
                    </a:cubicBezTo>
                    <a:cubicBezTo>
                      <a:pt x="60" y="25"/>
                      <a:pt x="60" y="24"/>
                      <a:pt x="59" y="23"/>
                    </a:cubicBezTo>
                    <a:cubicBezTo>
                      <a:pt x="58" y="20"/>
                      <a:pt x="59" y="17"/>
                      <a:pt x="56" y="15"/>
                    </a:cubicBezTo>
                    <a:cubicBezTo>
                      <a:pt x="54" y="15"/>
                      <a:pt x="53" y="12"/>
                      <a:pt x="53" y="9"/>
                    </a:cubicBezTo>
                    <a:cubicBezTo>
                      <a:pt x="51" y="9"/>
                      <a:pt x="50" y="10"/>
                      <a:pt x="49" y="10"/>
                    </a:cubicBezTo>
                    <a:cubicBezTo>
                      <a:pt x="46" y="10"/>
                      <a:pt x="40" y="10"/>
                      <a:pt x="37" y="7"/>
                    </a:cubicBezTo>
                    <a:cubicBezTo>
                      <a:pt x="36" y="5"/>
                      <a:pt x="31" y="2"/>
                      <a:pt x="28" y="0"/>
                    </a:cubicBezTo>
                    <a:cubicBezTo>
                      <a:pt x="27" y="1"/>
                      <a:pt x="23" y="4"/>
                      <a:pt x="21" y="5"/>
                    </a:cubicBezTo>
                    <a:cubicBezTo>
                      <a:pt x="19" y="5"/>
                      <a:pt x="21" y="10"/>
                      <a:pt x="19" y="10"/>
                    </a:cubicBezTo>
                    <a:cubicBezTo>
                      <a:pt x="17" y="10"/>
                      <a:pt x="15" y="14"/>
                      <a:pt x="15" y="15"/>
                    </a:cubicBezTo>
                    <a:cubicBezTo>
                      <a:pt x="14" y="17"/>
                      <a:pt x="10" y="14"/>
                      <a:pt x="8" y="15"/>
                    </a:cubicBezTo>
                    <a:cubicBezTo>
                      <a:pt x="6" y="15"/>
                      <a:pt x="2" y="16"/>
                      <a:pt x="0" y="16"/>
                    </a:cubicBezTo>
                    <a:cubicBezTo>
                      <a:pt x="0" y="19"/>
                      <a:pt x="0" y="21"/>
                      <a:pt x="2" y="21"/>
                    </a:cubicBezTo>
                    <a:cubicBezTo>
                      <a:pt x="5" y="21"/>
                      <a:pt x="10" y="21"/>
                      <a:pt x="10" y="25"/>
                    </a:cubicBezTo>
                    <a:cubicBezTo>
                      <a:pt x="11" y="29"/>
                      <a:pt x="18" y="38"/>
                      <a:pt x="20" y="41"/>
                    </a:cubicBezTo>
                    <a:cubicBezTo>
                      <a:pt x="23" y="44"/>
                      <a:pt x="29" y="43"/>
                      <a:pt x="29" y="46"/>
                    </a:cubicBezTo>
                    <a:cubicBezTo>
                      <a:pt x="30" y="48"/>
                      <a:pt x="34" y="50"/>
                      <a:pt x="39" y="51"/>
                    </a:cubicBezTo>
                    <a:cubicBezTo>
                      <a:pt x="40" y="51"/>
                      <a:pt x="42" y="52"/>
                      <a:pt x="44" y="53"/>
                    </a:cubicBezTo>
                    <a:cubicBezTo>
                      <a:pt x="40" y="48"/>
                      <a:pt x="34" y="44"/>
                      <a:pt x="35" y="4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3" name="Freeform 71">
                <a:extLst>
                  <a:ext uri="{FF2B5EF4-FFF2-40B4-BE49-F238E27FC236}">
                    <a16:creationId xmlns:a16="http://schemas.microsoft.com/office/drawing/2014/main" id="{EA37F25A-E904-447F-8029-299D5C3A9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2663" y="2981325"/>
                <a:ext cx="47625" cy="90488"/>
              </a:xfrm>
              <a:custGeom>
                <a:avLst/>
                <a:gdLst>
                  <a:gd name="T0" fmla="*/ 15 w 22"/>
                  <a:gd name="T1" fmla="*/ 35 h 41"/>
                  <a:gd name="T2" fmla="*/ 17 w 22"/>
                  <a:gd name="T3" fmla="*/ 31 h 41"/>
                  <a:gd name="T4" fmla="*/ 21 w 22"/>
                  <a:gd name="T5" fmla="*/ 25 h 41"/>
                  <a:gd name="T6" fmla="*/ 22 w 22"/>
                  <a:gd name="T7" fmla="*/ 24 h 41"/>
                  <a:gd name="T8" fmla="*/ 15 w 22"/>
                  <a:gd name="T9" fmla="*/ 17 h 41"/>
                  <a:gd name="T10" fmla="*/ 16 w 22"/>
                  <a:gd name="T11" fmla="*/ 6 h 41"/>
                  <a:gd name="T12" fmla="*/ 7 w 22"/>
                  <a:gd name="T13" fmla="*/ 0 h 41"/>
                  <a:gd name="T14" fmla="*/ 1 w 22"/>
                  <a:gd name="T15" fmla="*/ 8 h 41"/>
                  <a:gd name="T16" fmla="*/ 4 w 22"/>
                  <a:gd name="T17" fmla="*/ 15 h 41"/>
                  <a:gd name="T18" fmla="*/ 4 w 22"/>
                  <a:gd name="T19" fmla="*/ 32 h 41"/>
                  <a:gd name="T20" fmla="*/ 11 w 22"/>
                  <a:gd name="T21" fmla="*/ 41 h 41"/>
                  <a:gd name="T22" fmla="*/ 15 w 22"/>
                  <a:gd name="T23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41">
                    <a:moveTo>
                      <a:pt x="15" y="35"/>
                    </a:moveTo>
                    <a:cubicBezTo>
                      <a:pt x="17" y="35"/>
                      <a:pt x="16" y="33"/>
                      <a:pt x="17" y="31"/>
                    </a:cubicBezTo>
                    <a:cubicBezTo>
                      <a:pt x="19" y="29"/>
                      <a:pt x="21" y="26"/>
                      <a:pt x="21" y="25"/>
                    </a:cubicBezTo>
                    <a:cubicBezTo>
                      <a:pt x="21" y="25"/>
                      <a:pt x="21" y="24"/>
                      <a:pt x="22" y="24"/>
                    </a:cubicBezTo>
                    <a:cubicBezTo>
                      <a:pt x="18" y="22"/>
                      <a:pt x="16" y="20"/>
                      <a:pt x="15" y="17"/>
                    </a:cubicBezTo>
                    <a:cubicBezTo>
                      <a:pt x="14" y="15"/>
                      <a:pt x="15" y="9"/>
                      <a:pt x="16" y="6"/>
                    </a:cubicBezTo>
                    <a:cubicBezTo>
                      <a:pt x="14" y="4"/>
                      <a:pt x="8" y="0"/>
                      <a:pt x="7" y="0"/>
                    </a:cubicBezTo>
                    <a:cubicBezTo>
                      <a:pt x="5" y="0"/>
                      <a:pt x="2" y="4"/>
                      <a:pt x="1" y="8"/>
                    </a:cubicBezTo>
                    <a:cubicBezTo>
                      <a:pt x="5" y="11"/>
                      <a:pt x="7" y="12"/>
                      <a:pt x="4" y="15"/>
                    </a:cubicBezTo>
                    <a:cubicBezTo>
                      <a:pt x="1" y="18"/>
                      <a:pt x="0" y="29"/>
                      <a:pt x="4" y="32"/>
                    </a:cubicBezTo>
                    <a:cubicBezTo>
                      <a:pt x="7" y="35"/>
                      <a:pt x="8" y="40"/>
                      <a:pt x="11" y="41"/>
                    </a:cubicBezTo>
                    <a:cubicBezTo>
                      <a:pt x="12" y="39"/>
                      <a:pt x="13" y="36"/>
                      <a:pt x="15" y="3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4" name="Freeform 72">
                <a:extLst>
                  <a:ext uri="{FF2B5EF4-FFF2-40B4-BE49-F238E27FC236}">
                    <a16:creationId xmlns:a16="http://schemas.microsoft.com/office/drawing/2014/main" id="{4CC5E5CE-76CA-48F3-94E9-4767F913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4063" y="2781300"/>
                <a:ext cx="184150" cy="84138"/>
              </a:xfrm>
              <a:custGeom>
                <a:avLst/>
                <a:gdLst>
                  <a:gd name="T0" fmla="*/ 71 w 84"/>
                  <a:gd name="T1" fmla="*/ 3 h 38"/>
                  <a:gd name="T2" fmla="*/ 61 w 84"/>
                  <a:gd name="T3" fmla="*/ 0 h 38"/>
                  <a:gd name="T4" fmla="*/ 59 w 84"/>
                  <a:gd name="T5" fmla="*/ 5 h 38"/>
                  <a:gd name="T6" fmla="*/ 49 w 84"/>
                  <a:gd name="T7" fmla="*/ 6 h 38"/>
                  <a:gd name="T8" fmla="*/ 43 w 84"/>
                  <a:gd name="T9" fmla="*/ 10 h 38"/>
                  <a:gd name="T10" fmla="*/ 38 w 84"/>
                  <a:gd name="T11" fmla="*/ 17 h 38"/>
                  <a:gd name="T12" fmla="*/ 34 w 84"/>
                  <a:gd name="T13" fmla="*/ 20 h 38"/>
                  <a:gd name="T14" fmla="*/ 22 w 84"/>
                  <a:gd name="T15" fmla="*/ 22 h 38"/>
                  <a:gd name="T16" fmla="*/ 16 w 84"/>
                  <a:gd name="T17" fmla="*/ 23 h 38"/>
                  <a:gd name="T18" fmla="*/ 9 w 84"/>
                  <a:gd name="T19" fmla="*/ 24 h 38"/>
                  <a:gd name="T20" fmla="*/ 3 w 84"/>
                  <a:gd name="T21" fmla="*/ 22 h 38"/>
                  <a:gd name="T22" fmla="*/ 1 w 84"/>
                  <a:gd name="T23" fmla="*/ 28 h 38"/>
                  <a:gd name="T24" fmla="*/ 7 w 84"/>
                  <a:gd name="T25" fmla="*/ 31 h 38"/>
                  <a:gd name="T26" fmla="*/ 14 w 84"/>
                  <a:gd name="T27" fmla="*/ 33 h 38"/>
                  <a:gd name="T28" fmla="*/ 21 w 84"/>
                  <a:gd name="T29" fmla="*/ 30 h 38"/>
                  <a:gd name="T30" fmla="*/ 30 w 84"/>
                  <a:gd name="T31" fmla="*/ 29 h 38"/>
                  <a:gd name="T32" fmla="*/ 32 w 84"/>
                  <a:gd name="T33" fmla="*/ 34 h 38"/>
                  <a:gd name="T34" fmla="*/ 43 w 84"/>
                  <a:gd name="T35" fmla="*/ 35 h 38"/>
                  <a:gd name="T36" fmla="*/ 55 w 84"/>
                  <a:gd name="T37" fmla="*/ 38 h 38"/>
                  <a:gd name="T38" fmla="*/ 65 w 84"/>
                  <a:gd name="T39" fmla="*/ 34 h 38"/>
                  <a:gd name="T40" fmla="*/ 73 w 84"/>
                  <a:gd name="T41" fmla="*/ 32 h 38"/>
                  <a:gd name="T42" fmla="*/ 73 w 84"/>
                  <a:gd name="T43" fmla="*/ 32 h 38"/>
                  <a:gd name="T44" fmla="*/ 74 w 84"/>
                  <a:gd name="T45" fmla="*/ 29 h 38"/>
                  <a:gd name="T46" fmla="*/ 76 w 84"/>
                  <a:gd name="T47" fmla="*/ 24 h 38"/>
                  <a:gd name="T48" fmla="*/ 78 w 84"/>
                  <a:gd name="T49" fmla="*/ 20 h 38"/>
                  <a:gd name="T50" fmla="*/ 83 w 84"/>
                  <a:gd name="T51" fmla="*/ 17 h 38"/>
                  <a:gd name="T52" fmla="*/ 84 w 84"/>
                  <a:gd name="T53" fmla="*/ 14 h 38"/>
                  <a:gd name="T54" fmla="*/ 80 w 84"/>
                  <a:gd name="T55" fmla="*/ 4 h 38"/>
                  <a:gd name="T56" fmla="*/ 71 w 84"/>
                  <a:gd name="T5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4" h="38">
                    <a:moveTo>
                      <a:pt x="71" y="3"/>
                    </a:moveTo>
                    <a:cubicBezTo>
                      <a:pt x="68" y="0"/>
                      <a:pt x="61" y="0"/>
                      <a:pt x="61" y="0"/>
                    </a:cubicBezTo>
                    <a:cubicBezTo>
                      <a:pt x="61" y="0"/>
                      <a:pt x="60" y="3"/>
                      <a:pt x="59" y="5"/>
                    </a:cubicBezTo>
                    <a:cubicBezTo>
                      <a:pt x="58" y="7"/>
                      <a:pt x="52" y="7"/>
                      <a:pt x="49" y="6"/>
                    </a:cubicBezTo>
                    <a:cubicBezTo>
                      <a:pt x="48" y="7"/>
                      <a:pt x="43" y="8"/>
                      <a:pt x="43" y="10"/>
                    </a:cubicBezTo>
                    <a:cubicBezTo>
                      <a:pt x="42" y="12"/>
                      <a:pt x="37" y="11"/>
                      <a:pt x="38" y="17"/>
                    </a:cubicBezTo>
                    <a:cubicBezTo>
                      <a:pt x="40" y="23"/>
                      <a:pt x="36" y="21"/>
                      <a:pt x="34" y="20"/>
                    </a:cubicBezTo>
                    <a:cubicBezTo>
                      <a:pt x="32" y="19"/>
                      <a:pt x="24" y="20"/>
                      <a:pt x="22" y="22"/>
                    </a:cubicBezTo>
                    <a:cubicBezTo>
                      <a:pt x="20" y="24"/>
                      <a:pt x="18" y="24"/>
                      <a:pt x="16" y="23"/>
                    </a:cubicBezTo>
                    <a:cubicBezTo>
                      <a:pt x="14" y="22"/>
                      <a:pt x="11" y="21"/>
                      <a:pt x="9" y="24"/>
                    </a:cubicBezTo>
                    <a:cubicBezTo>
                      <a:pt x="8" y="26"/>
                      <a:pt x="5" y="22"/>
                      <a:pt x="3" y="22"/>
                    </a:cubicBezTo>
                    <a:cubicBezTo>
                      <a:pt x="0" y="22"/>
                      <a:pt x="1" y="27"/>
                      <a:pt x="1" y="28"/>
                    </a:cubicBezTo>
                    <a:cubicBezTo>
                      <a:pt x="1" y="29"/>
                      <a:pt x="5" y="32"/>
                      <a:pt x="7" y="31"/>
                    </a:cubicBezTo>
                    <a:cubicBezTo>
                      <a:pt x="9" y="30"/>
                      <a:pt x="12" y="31"/>
                      <a:pt x="14" y="33"/>
                    </a:cubicBezTo>
                    <a:cubicBezTo>
                      <a:pt x="16" y="34"/>
                      <a:pt x="20" y="32"/>
                      <a:pt x="21" y="30"/>
                    </a:cubicBezTo>
                    <a:cubicBezTo>
                      <a:pt x="22" y="29"/>
                      <a:pt x="29" y="29"/>
                      <a:pt x="30" y="29"/>
                    </a:cubicBezTo>
                    <a:cubicBezTo>
                      <a:pt x="31" y="29"/>
                      <a:pt x="31" y="33"/>
                      <a:pt x="32" y="34"/>
                    </a:cubicBezTo>
                    <a:cubicBezTo>
                      <a:pt x="34" y="35"/>
                      <a:pt x="38" y="35"/>
                      <a:pt x="43" y="35"/>
                    </a:cubicBezTo>
                    <a:cubicBezTo>
                      <a:pt x="47" y="36"/>
                      <a:pt x="53" y="38"/>
                      <a:pt x="55" y="38"/>
                    </a:cubicBezTo>
                    <a:cubicBezTo>
                      <a:pt x="57" y="38"/>
                      <a:pt x="60" y="34"/>
                      <a:pt x="65" y="34"/>
                    </a:cubicBezTo>
                    <a:cubicBezTo>
                      <a:pt x="69" y="34"/>
                      <a:pt x="72" y="31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3" y="30"/>
                      <a:pt x="73" y="29"/>
                      <a:pt x="74" y="29"/>
                    </a:cubicBezTo>
                    <a:cubicBezTo>
                      <a:pt x="76" y="29"/>
                      <a:pt x="75" y="26"/>
                      <a:pt x="76" y="24"/>
                    </a:cubicBezTo>
                    <a:cubicBezTo>
                      <a:pt x="78" y="23"/>
                      <a:pt x="75" y="19"/>
                      <a:pt x="78" y="20"/>
                    </a:cubicBezTo>
                    <a:cubicBezTo>
                      <a:pt x="80" y="20"/>
                      <a:pt x="83" y="20"/>
                      <a:pt x="83" y="17"/>
                    </a:cubicBezTo>
                    <a:cubicBezTo>
                      <a:pt x="83" y="16"/>
                      <a:pt x="83" y="15"/>
                      <a:pt x="84" y="14"/>
                    </a:cubicBezTo>
                    <a:cubicBezTo>
                      <a:pt x="81" y="10"/>
                      <a:pt x="80" y="4"/>
                      <a:pt x="80" y="4"/>
                    </a:cubicBezTo>
                    <a:cubicBezTo>
                      <a:pt x="80" y="4"/>
                      <a:pt x="74" y="7"/>
                      <a:pt x="71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5" name="Freeform 73">
                <a:extLst>
                  <a:ext uri="{FF2B5EF4-FFF2-40B4-BE49-F238E27FC236}">
                    <a16:creationId xmlns:a16="http://schemas.microsoft.com/office/drawing/2014/main" id="{6625059F-E1CB-49BF-B25B-2C1A6C805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4400" y="2792413"/>
                <a:ext cx="160337" cy="90488"/>
              </a:xfrm>
              <a:custGeom>
                <a:avLst/>
                <a:gdLst>
                  <a:gd name="T0" fmla="*/ 70 w 73"/>
                  <a:gd name="T1" fmla="*/ 8 h 41"/>
                  <a:gd name="T2" fmla="*/ 68 w 73"/>
                  <a:gd name="T3" fmla="*/ 6 h 41"/>
                  <a:gd name="T4" fmla="*/ 61 w 73"/>
                  <a:gd name="T5" fmla="*/ 4 h 41"/>
                  <a:gd name="T6" fmla="*/ 50 w 73"/>
                  <a:gd name="T7" fmla="*/ 0 h 41"/>
                  <a:gd name="T8" fmla="*/ 40 w 73"/>
                  <a:gd name="T9" fmla="*/ 7 h 41"/>
                  <a:gd name="T10" fmla="*/ 28 w 73"/>
                  <a:gd name="T11" fmla="*/ 11 h 41"/>
                  <a:gd name="T12" fmla="*/ 13 w 73"/>
                  <a:gd name="T13" fmla="*/ 11 h 41"/>
                  <a:gd name="T14" fmla="*/ 11 w 73"/>
                  <a:gd name="T15" fmla="*/ 9 h 41"/>
                  <a:gd name="T16" fmla="*/ 10 w 73"/>
                  <a:gd name="T17" fmla="*/ 12 h 41"/>
                  <a:gd name="T18" fmla="*/ 5 w 73"/>
                  <a:gd name="T19" fmla="*/ 15 h 41"/>
                  <a:gd name="T20" fmla="*/ 3 w 73"/>
                  <a:gd name="T21" fmla="*/ 19 h 41"/>
                  <a:gd name="T22" fmla="*/ 1 w 73"/>
                  <a:gd name="T23" fmla="*/ 24 h 41"/>
                  <a:gd name="T24" fmla="*/ 0 w 73"/>
                  <a:gd name="T25" fmla="*/ 27 h 41"/>
                  <a:gd name="T26" fmla="*/ 2 w 73"/>
                  <a:gd name="T27" fmla="*/ 31 h 41"/>
                  <a:gd name="T28" fmla="*/ 2 w 73"/>
                  <a:gd name="T29" fmla="*/ 31 h 41"/>
                  <a:gd name="T30" fmla="*/ 11 w 73"/>
                  <a:gd name="T31" fmla="*/ 38 h 41"/>
                  <a:gd name="T32" fmla="*/ 23 w 73"/>
                  <a:gd name="T33" fmla="*/ 41 h 41"/>
                  <a:gd name="T34" fmla="*/ 39 w 73"/>
                  <a:gd name="T35" fmla="*/ 36 h 41"/>
                  <a:gd name="T36" fmla="*/ 43 w 73"/>
                  <a:gd name="T37" fmla="*/ 37 h 41"/>
                  <a:gd name="T38" fmla="*/ 47 w 73"/>
                  <a:gd name="T39" fmla="*/ 38 h 41"/>
                  <a:gd name="T40" fmla="*/ 53 w 73"/>
                  <a:gd name="T41" fmla="*/ 33 h 41"/>
                  <a:gd name="T42" fmla="*/ 64 w 73"/>
                  <a:gd name="T43" fmla="*/ 16 h 41"/>
                  <a:gd name="T44" fmla="*/ 71 w 73"/>
                  <a:gd name="T45" fmla="*/ 11 h 41"/>
                  <a:gd name="T46" fmla="*/ 70 w 73"/>
                  <a:gd name="T47" fmla="*/ 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3" h="41">
                    <a:moveTo>
                      <a:pt x="70" y="8"/>
                    </a:moveTo>
                    <a:cubicBezTo>
                      <a:pt x="69" y="7"/>
                      <a:pt x="69" y="7"/>
                      <a:pt x="68" y="6"/>
                    </a:cubicBezTo>
                    <a:cubicBezTo>
                      <a:pt x="65" y="5"/>
                      <a:pt x="62" y="4"/>
                      <a:pt x="61" y="4"/>
                    </a:cubicBezTo>
                    <a:cubicBezTo>
                      <a:pt x="59" y="2"/>
                      <a:pt x="51" y="1"/>
                      <a:pt x="50" y="0"/>
                    </a:cubicBezTo>
                    <a:cubicBezTo>
                      <a:pt x="49" y="0"/>
                      <a:pt x="42" y="7"/>
                      <a:pt x="40" y="7"/>
                    </a:cubicBezTo>
                    <a:cubicBezTo>
                      <a:pt x="38" y="7"/>
                      <a:pt x="28" y="8"/>
                      <a:pt x="28" y="11"/>
                    </a:cubicBezTo>
                    <a:cubicBezTo>
                      <a:pt x="28" y="13"/>
                      <a:pt x="16" y="14"/>
                      <a:pt x="13" y="11"/>
                    </a:cubicBezTo>
                    <a:cubicBezTo>
                      <a:pt x="12" y="10"/>
                      <a:pt x="12" y="9"/>
                      <a:pt x="11" y="9"/>
                    </a:cubicBezTo>
                    <a:cubicBezTo>
                      <a:pt x="10" y="10"/>
                      <a:pt x="10" y="11"/>
                      <a:pt x="10" y="12"/>
                    </a:cubicBezTo>
                    <a:cubicBezTo>
                      <a:pt x="10" y="15"/>
                      <a:pt x="7" y="15"/>
                      <a:pt x="5" y="15"/>
                    </a:cubicBezTo>
                    <a:cubicBezTo>
                      <a:pt x="2" y="14"/>
                      <a:pt x="5" y="18"/>
                      <a:pt x="3" y="19"/>
                    </a:cubicBezTo>
                    <a:cubicBezTo>
                      <a:pt x="2" y="21"/>
                      <a:pt x="3" y="24"/>
                      <a:pt x="1" y="24"/>
                    </a:cubicBezTo>
                    <a:cubicBezTo>
                      <a:pt x="0" y="24"/>
                      <a:pt x="0" y="25"/>
                      <a:pt x="0" y="27"/>
                    </a:cubicBezTo>
                    <a:cubicBezTo>
                      <a:pt x="0" y="27"/>
                      <a:pt x="2" y="31"/>
                      <a:pt x="2" y="31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5" y="33"/>
                      <a:pt x="10" y="36"/>
                      <a:pt x="11" y="38"/>
                    </a:cubicBezTo>
                    <a:cubicBezTo>
                      <a:pt x="14" y="41"/>
                      <a:pt x="20" y="41"/>
                      <a:pt x="23" y="41"/>
                    </a:cubicBezTo>
                    <a:cubicBezTo>
                      <a:pt x="26" y="40"/>
                      <a:pt x="39" y="36"/>
                      <a:pt x="39" y="36"/>
                    </a:cubicBezTo>
                    <a:cubicBezTo>
                      <a:pt x="39" y="36"/>
                      <a:pt x="42" y="37"/>
                      <a:pt x="43" y="37"/>
                    </a:cubicBezTo>
                    <a:cubicBezTo>
                      <a:pt x="44" y="37"/>
                      <a:pt x="45" y="38"/>
                      <a:pt x="47" y="38"/>
                    </a:cubicBezTo>
                    <a:cubicBezTo>
                      <a:pt x="48" y="37"/>
                      <a:pt x="50" y="36"/>
                      <a:pt x="53" y="33"/>
                    </a:cubicBezTo>
                    <a:cubicBezTo>
                      <a:pt x="57" y="30"/>
                      <a:pt x="62" y="17"/>
                      <a:pt x="64" y="16"/>
                    </a:cubicBezTo>
                    <a:cubicBezTo>
                      <a:pt x="65" y="15"/>
                      <a:pt x="69" y="13"/>
                      <a:pt x="71" y="11"/>
                    </a:cubicBezTo>
                    <a:cubicBezTo>
                      <a:pt x="73" y="10"/>
                      <a:pt x="73" y="8"/>
                      <a:pt x="70" y="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6" name="Freeform 74">
                <a:extLst>
                  <a:ext uri="{FF2B5EF4-FFF2-40B4-BE49-F238E27FC236}">
                    <a16:creationId xmlns:a16="http://schemas.microsoft.com/office/drawing/2014/main" id="{610CF32C-99CD-4A08-82F2-74F02895C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9150" y="2716213"/>
                <a:ext cx="155575" cy="80963"/>
              </a:xfrm>
              <a:custGeom>
                <a:avLst/>
                <a:gdLst>
                  <a:gd name="T0" fmla="*/ 67 w 71"/>
                  <a:gd name="T1" fmla="*/ 17 h 37"/>
                  <a:gd name="T2" fmla="*/ 60 w 71"/>
                  <a:gd name="T3" fmla="*/ 15 h 37"/>
                  <a:gd name="T4" fmla="*/ 57 w 71"/>
                  <a:gd name="T5" fmla="*/ 11 h 37"/>
                  <a:gd name="T6" fmla="*/ 50 w 71"/>
                  <a:gd name="T7" fmla="*/ 12 h 37"/>
                  <a:gd name="T8" fmla="*/ 44 w 71"/>
                  <a:gd name="T9" fmla="*/ 9 h 37"/>
                  <a:gd name="T10" fmla="*/ 37 w 71"/>
                  <a:gd name="T11" fmla="*/ 4 h 37"/>
                  <a:gd name="T12" fmla="*/ 30 w 71"/>
                  <a:gd name="T13" fmla="*/ 0 h 37"/>
                  <a:gd name="T14" fmla="*/ 30 w 71"/>
                  <a:gd name="T15" fmla="*/ 2 h 37"/>
                  <a:gd name="T16" fmla="*/ 24 w 71"/>
                  <a:gd name="T17" fmla="*/ 2 h 37"/>
                  <a:gd name="T18" fmla="*/ 15 w 71"/>
                  <a:gd name="T19" fmla="*/ 6 h 37"/>
                  <a:gd name="T20" fmla="*/ 3 w 71"/>
                  <a:gd name="T21" fmla="*/ 11 h 37"/>
                  <a:gd name="T22" fmla="*/ 4 w 71"/>
                  <a:gd name="T23" fmla="*/ 17 h 37"/>
                  <a:gd name="T24" fmla="*/ 7 w 71"/>
                  <a:gd name="T25" fmla="*/ 26 h 37"/>
                  <a:gd name="T26" fmla="*/ 19 w 71"/>
                  <a:gd name="T27" fmla="*/ 35 h 37"/>
                  <a:gd name="T28" fmla="*/ 19 w 71"/>
                  <a:gd name="T29" fmla="*/ 36 h 37"/>
                  <a:gd name="T30" fmla="*/ 29 w 71"/>
                  <a:gd name="T31" fmla="*/ 35 h 37"/>
                  <a:gd name="T32" fmla="*/ 31 w 71"/>
                  <a:gd name="T33" fmla="*/ 30 h 37"/>
                  <a:gd name="T34" fmla="*/ 41 w 71"/>
                  <a:gd name="T35" fmla="*/ 33 h 37"/>
                  <a:gd name="T36" fmla="*/ 50 w 71"/>
                  <a:gd name="T37" fmla="*/ 34 h 37"/>
                  <a:gd name="T38" fmla="*/ 50 w 71"/>
                  <a:gd name="T39" fmla="*/ 37 h 37"/>
                  <a:gd name="T40" fmla="*/ 54 w 71"/>
                  <a:gd name="T41" fmla="*/ 33 h 37"/>
                  <a:gd name="T42" fmla="*/ 64 w 71"/>
                  <a:gd name="T43" fmla="*/ 28 h 37"/>
                  <a:gd name="T44" fmla="*/ 71 w 71"/>
                  <a:gd name="T45" fmla="*/ 22 h 37"/>
                  <a:gd name="T46" fmla="*/ 67 w 71"/>
                  <a:gd name="T47" fmla="*/ 1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37">
                    <a:moveTo>
                      <a:pt x="67" y="17"/>
                    </a:moveTo>
                    <a:cubicBezTo>
                      <a:pt x="65" y="16"/>
                      <a:pt x="60" y="17"/>
                      <a:pt x="60" y="15"/>
                    </a:cubicBezTo>
                    <a:cubicBezTo>
                      <a:pt x="59" y="14"/>
                      <a:pt x="59" y="11"/>
                      <a:pt x="57" y="11"/>
                    </a:cubicBezTo>
                    <a:cubicBezTo>
                      <a:pt x="54" y="11"/>
                      <a:pt x="51" y="9"/>
                      <a:pt x="50" y="12"/>
                    </a:cubicBezTo>
                    <a:cubicBezTo>
                      <a:pt x="49" y="15"/>
                      <a:pt x="45" y="11"/>
                      <a:pt x="44" y="9"/>
                    </a:cubicBezTo>
                    <a:cubicBezTo>
                      <a:pt x="44" y="8"/>
                      <a:pt x="42" y="6"/>
                      <a:pt x="37" y="4"/>
                    </a:cubicBezTo>
                    <a:cubicBezTo>
                      <a:pt x="35" y="4"/>
                      <a:pt x="33" y="2"/>
                      <a:pt x="30" y="0"/>
                    </a:cubicBezTo>
                    <a:cubicBezTo>
                      <a:pt x="30" y="1"/>
                      <a:pt x="30" y="1"/>
                      <a:pt x="30" y="2"/>
                    </a:cubicBezTo>
                    <a:cubicBezTo>
                      <a:pt x="29" y="3"/>
                      <a:pt x="25" y="0"/>
                      <a:pt x="24" y="2"/>
                    </a:cubicBezTo>
                    <a:cubicBezTo>
                      <a:pt x="22" y="3"/>
                      <a:pt x="17" y="4"/>
                      <a:pt x="15" y="6"/>
                    </a:cubicBezTo>
                    <a:cubicBezTo>
                      <a:pt x="12" y="9"/>
                      <a:pt x="6" y="10"/>
                      <a:pt x="3" y="11"/>
                    </a:cubicBezTo>
                    <a:cubicBezTo>
                      <a:pt x="0" y="11"/>
                      <a:pt x="2" y="14"/>
                      <a:pt x="4" y="17"/>
                    </a:cubicBezTo>
                    <a:cubicBezTo>
                      <a:pt x="5" y="19"/>
                      <a:pt x="5" y="24"/>
                      <a:pt x="7" y="26"/>
                    </a:cubicBezTo>
                    <a:cubicBezTo>
                      <a:pt x="10" y="28"/>
                      <a:pt x="18" y="33"/>
                      <a:pt x="19" y="35"/>
                    </a:cubicBezTo>
                    <a:cubicBezTo>
                      <a:pt x="19" y="35"/>
                      <a:pt x="19" y="35"/>
                      <a:pt x="19" y="36"/>
                    </a:cubicBezTo>
                    <a:cubicBezTo>
                      <a:pt x="22" y="37"/>
                      <a:pt x="28" y="37"/>
                      <a:pt x="29" y="35"/>
                    </a:cubicBezTo>
                    <a:cubicBezTo>
                      <a:pt x="30" y="33"/>
                      <a:pt x="31" y="30"/>
                      <a:pt x="31" y="30"/>
                    </a:cubicBezTo>
                    <a:cubicBezTo>
                      <a:pt x="31" y="30"/>
                      <a:pt x="38" y="30"/>
                      <a:pt x="41" y="33"/>
                    </a:cubicBezTo>
                    <a:cubicBezTo>
                      <a:pt x="44" y="37"/>
                      <a:pt x="50" y="34"/>
                      <a:pt x="50" y="34"/>
                    </a:cubicBezTo>
                    <a:cubicBezTo>
                      <a:pt x="50" y="34"/>
                      <a:pt x="50" y="35"/>
                      <a:pt x="50" y="37"/>
                    </a:cubicBezTo>
                    <a:cubicBezTo>
                      <a:pt x="51" y="35"/>
                      <a:pt x="52" y="33"/>
                      <a:pt x="54" y="33"/>
                    </a:cubicBezTo>
                    <a:cubicBezTo>
                      <a:pt x="57" y="33"/>
                      <a:pt x="61" y="32"/>
                      <a:pt x="64" y="28"/>
                    </a:cubicBezTo>
                    <a:cubicBezTo>
                      <a:pt x="66" y="25"/>
                      <a:pt x="69" y="24"/>
                      <a:pt x="71" y="22"/>
                    </a:cubicBezTo>
                    <a:cubicBezTo>
                      <a:pt x="69" y="20"/>
                      <a:pt x="69" y="18"/>
                      <a:pt x="67" y="1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7" name="Freeform 75">
                <a:extLst>
                  <a:ext uri="{FF2B5EF4-FFF2-40B4-BE49-F238E27FC236}">
                    <a16:creationId xmlns:a16="http://schemas.microsoft.com/office/drawing/2014/main" id="{613EB8D7-F536-4E23-AEDD-6EDC3EB5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8688" y="2763838"/>
                <a:ext cx="141287" cy="58738"/>
              </a:xfrm>
              <a:custGeom>
                <a:avLst/>
                <a:gdLst>
                  <a:gd name="T0" fmla="*/ 47 w 64"/>
                  <a:gd name="T1" fmla="*/ 3 h 27"/>
                  <a:gd name="T2" fmla="*/ 39 w 64"/>
                  <a:gd name="T3" fmla="*/ 2 h 27"/>
                  <a:gd name="T4" fmla="*/ 29 w 64"/>
                  <a:gd name="T5" fmla="*/ 1 h 27"/>
                  <a:gd name="T6" fmla="*/ 22 w 64"/>
                  <a:gd name="T7" fmla="*/ 2 h 27"/>
                  <a:gd name="T8" fmla="*/ 21 w 64"/>
                  <a:gd name="T9" fmla="*/ 0 h 27"/>
                  <a:gd name="T10" fmla="*/ 14 w 64"/>
                  <a:gd name="T11" fmla="*/ 6 h 27"/>
                  <a:gd name="T12" fmla="*/ 4 w 64"/>
                  <a:gd name="T13" fmla="*/ 11 h 27"/>
                  <a:gd name="T14" fmla="*/ 0 w 64"/>
                  <a:gd name="T15" fmla="*/ 15 h 27"/>
                  <a:gd name="T16" fmla="*/ 6 w 64"/>
                  <a:gd name="T17" fmla="*/ 24 h 27"/>
                  <a:gd name="T18" fmla="*/ 21 w 64"/>
                  <a:gd name="T19" fmla="*/ 24 h 27"/>
                  <a:gd name="T20" fmla="*/ 33 w 64"/>
                  <a:gd name="T21" fmla="*/ 20 h 27"/>
                  <a:gd name="T22" fmla="*/ 43 w 64"/>
                  <a:gd name="T23" fmla="*/ 13 h 27"/>
                  <a:gd name="T24" fmla="*/ 54 w 64"/>
                  <a:gd name="T25" fmla="*/ 17 h 27"/>
                  <a:gd name="T26" fmla="*/ 61 w 64"/>
                  <a:gd name="T27" fmla="*/ 19 h 27"/>
                  <a:gd name="T28" fmla="*/ 58 w 64"/>
                  <a:gd name="T29" fmla="*/ 15 h 27"/>
                  <a:gd name="T30" fmla="*/ 63 w 64"/>
                  <a:gd name="T31" fmla="*/ 7 h 27"/>
                  <a:gd name="T32" fmla="*/ 64 w 64"/>
                  <a:gd name="T33" fmla="*/ 7 h 27"/>
                  <a:gd name="T34" fmla="*/ 57 w 64"/>
                  <a:gd name="T35" fmla="*/ 5 h 27"/>
                  <a:gd name="T36" fmla="*/ 47 w 64"/>
                  <a:gd name="T3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" h="27">
                    <a:moveTo>
                      <a:pt x="47" y="3"/>
                    </a:moveTo>
                    <a:cubicBezTo>
                      <a:pt x="44" y="3"/>
                      <a:pt x="42" y="1"/>
                      <a:pt x="39" y="2"/>
                    </a:cubicBezTo>
                    <a:cubicBezTo>
                      <a:pt x="36" y="3"/>
                      <a:pt x="31" y="2"/>
                      <a:pt x="29" y="1"/>
                    </a:cubicBezTo>
                    <a:cubicBezTo>
                      <a:pt x="27" y="0"/>
                      <a:pt x="25" y="3"/>
                      <a:pt x="22" y="2"/>
                    </a:cubicBezTo>
                    <a:cubicBezTo>
                      <a:pt x="22" y="1"/>
                      <a:pt x="21" y="1"/>
                      <a:pt x="21" y="0"/>
                    </a:cubicBezTo>
                    <a:cubicBezTo>
                      <a:pt x="19" y="2"/>
                      <a:pt x="16" y="3"/>
                      <a:pt x="14" y="6"/>
                    </a:cubicBezTo>
                    <a:cubicBezTo>
                      <a:pt x="11" y="10"/>
                      <a:pt x="7" y="11"/>
                      <a:pt x="4" y="11"/>
                    </a:cubicBezTo>
                    <a:cubicBezTo>
                      <a:pt x="2" y="11"/>
                      <a:pt x="1" y="13"/>
                      <a:pt x="0" y="15"/>
                    </a:cubicBezTo>
                    <a:cubicBezTo>
                      <a:pt x="1" y="17"/>
                      <a:pt x="3" y="22"/>
                      <a:pt x="6" y="24"/>
                    </a:cubicBezTo>
                    <a:cubicBezTo>
                      <a:pt x="9" y="27"/>
                      <a:pt x="21" y="26"/>
                      <a:pt x="21" y="24"/>
                    </a:cubicBezTo>
                    <a:cubicBezTo>
                      <a:pt x="21" y="21"/>
                      <a:pt x="31" y="20"/>
                      <a:pt x="33" y="20"/>
                    </a:cubicBezTo>
                    <a:cubicBezTo>
                      <a:pt x="35" y="20"/>
                      <a:pt x="42" y="13"/>
                      <a:pt x="43" y="13"/>
                    </a:cubicBezTo>
                    <a:cubicBezTo>
                      <a:pt x="44" y="14"/>
                      <a:pt x="52" y="15"/>
                      <a:pt x="54" y="17"/>
                    </a:cubicBezTo>
                    <a:cubicBezTo>
                      <a:pt x="55" y="17"/>
                      <a:pt x="58" y="18"/>
                      <a:pt x="61" y="19"/>
                    </a:cubicBezTo>
                    <a:cubicBezTo>
                      <a:pt x="59" y="18"/>
                      <a:pt x="58" y="16"/>
                      <a:pt x="58" y="15"/>
                    </a:cubicBezTo>
                    <a:cubicBezTo>
                      <a:pt x="58" y="13"/>
                      <a:pt x="62" y="8"/>
                      <a:pt x="63" y="7"/>
                    </a:cubicBezTo>
                    <a:cubicBezTo>
                      <a:pt x="63" y="7"/>
                      <a:pt x="63" y="7"/>
                      <a:pt x="64" y="7"/>
                    </a:cubicBezTo>
                    <a:cubicBezTo>
                      <a:pt x="61" y="6"/>
                      <a:pt x="58" y="6"/>
                      <a:pt x="57" y="5"/>
                    </a:cubicBezTo>
                    <a:cubicBezTo>
                      <a:pt x="56" y="4"/>
                      <a:pt x="51" y="2"/>
                      <a:pt x="47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8" name="Freeform 76">
                <a:extLst>
                  <a:ext uri="{FF2B5EF4-FFF2-40B4-BE49-F238E27FC236}">
                    <a16:creationId xmlns:a16="http://schemas.microsoft.com/office/drawing/2014/main" id="{BEE214BE-1F80-4009-BD82-B6807EF44F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050" y="2994025"/>
                <a:ext cx="92075" cy="155575"/>
              </a:xfrm>
              <a:custGeom>
                <a:avLst/>
                <a:gdLst>
                  <a:gd name="T0" fmla="*/ 31 w 42"/>
                  <a:gd name="T1" fmla="*/ 58 h 71"/>
                  <a:gd name="T2" fmla="*/ 28 w 42"/>
                  <a:gd name="T3" fmla="*/ 52 h 71"/>
                  <a:gd name="T4" fmla="*/ 31 w 42"/>
                  <a:gd name="T5" fmla="*/ 46 h 71"/>
                  <a:gd name="T6" fmla="*/ 28 w 42"/>
                  <a:gd name="T7" fmla="*/ 40 h 71"/>
                  <a:gd name="T8" fmla="*/ 31 w 42"/>
                  <a:gd name="T9" fmla="*/ 35 h 71"/>
                  <a:gd name="T10" fmla="*/ 33 w 42"/>
                  <a:gd name="T11" fmla="*/ 28 h 71"/>
                  <a:gd name="T12" fmla="*/ 32 w 42"/>
                  <a:gd name="T13" fmla="*/ 17 h 71"/>
                  <a:gd name="T14" fmla="*/ 39 w 42"/>
                  <a:gd name="T15" fmla="*/ 11 h 71"/>
                  <a:gd name="T16" fmla="*/ 36 w 42"/>
                  <a:gd name="T17" fmla="*/ 6 h 71"/>
                  <a:gd name="T18" fmla="*/ 29 w 42"/>
                  <a:gd name="T19" fmla="*/ 5 h 71"/>
                  <a:gd name="T20" fmla="*/ 25 w 42"/>
                  <a:gd name="T21" fmla="*/ 5 h 71"/>
                  <a:gd name="T22" fmla="*/ 18 w 42"/>
                  <a:gd name="T23" fmla="*/ 3 h 71"/>
                  <a:gd name="T24" fmla="*/ 14 w 42"/>
                  <a:gd name="T25" fmla="*/ 3 h 71"/>
                  <a:gd name="T26" fmla="*/ 11 w 42"/>
                  <a:gd name="T27" fmla="*/ 4 h 71"/>
                  <a:gd name="T28" fmla="*/ 11 w 42"/>
                  <a:gd name="T29" fmla="*/ 12 h 71"/>
                  <a:gd name="T30" fmla="*/ 4 w 42"/>
                  <a:gd name="T31" fmla="*/ 39 h 71"/>
                  <a:gd name="T32" fmla="*/ 9 w 42"/>
                  <a:gd name="T33" fmla="*/ 49 h 71"/>
                  <a:gd name="T34" fmla="*/ 10 w 42"/>
                  <a:gd name="T35" fmla="*/ 68 h 71"/>
                  <a:gd name="T36" fmla="*/ 19 w 42"/>
                  <a:gd name="T37" fmla="*/ 70 h 71"/>
                  <a:gd name="T38" fmla="*/ 28 w 42"/>
                  <a:gd name="T39" fmla="*/ 68 h 71"/>
                  <a:gd name="T40" fmla="*/ 26 w 42"/>
                  <a:gd name="T41" fmla="*/ 64 h 71"/>
                  <a:gd name="T42" fmla="*/ 31 w 42"/>
                  <a:gd name="T43" fmla="*/ 5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71">
                    <a:moveTo>
                      <a:pt x="31" y="58"/>
                    </a:moveTo>
                    <a:cubicBezTo>
                      <a:pt x="35" y="57"/>
                      <a:pt x="29" y="53"/>
                      <a:pt x="28" y="52"/>
                    </a:cubicBezTo>
                    <a:cubicBezTo>
                      <a:pt x="27" y="51"/>
                      <a:pt x="29" y="46"/>
                      <a:pt x="31" y="46"/>
                    </a:cubicBezTo>
                    <a:cubicBezTo>
                      <a:pt x="34" y="46"/>
                      <a:pt x="31" y="43"/>
                      <a:pt x="28" y="40"/>
                    </a:cubicBezTo>
                    <a:cubicBezTo>
                      <a:pt x="25" y="36"/>
                      <a:pt x="28" y="35"/>
                      <a:pt x="31" y="35"/>
                    </a:cubicBezTo>
                    <a:cubicBezTo>
                      <a:pt x="34" y="35"/>
                      <a:pt x="30" y="30"/>
                      <a:pt x="33" y="28"/>
                    </a:cubicBezTo>
                    <a:cubicBezTo>
                      <a:pt x="36" y="25"/>
                      <a:pt x="32" y="19"/>
                      <a:pt x="32" y="17"/>
                    </a:cubicBezTo>
                    <a:cubicBezTo>
                      <a:pt x="32" y="15"/>
                      <a:pt x="36" y="14"/>
                      <a:pt x="39" y="11"/>
                    </a:cubicBezTo>
                    <a:cubicBezTo>
                      <a:pt x="42" y="7"/>
                      <a:pt x="36" y="9"/>
                      <a:pt x="36" y="6"/>
                    </a:cubicBezTo>
                    <a:cubicBezTo>
                      <a:pt x="36" y="4"/>
                      <a:pt x="32" y="3"/>
                      <a:pt x="29" y="5"/>
                    </a:cubicBezTo>
                    <a:cubicBezTo>
                      <a:pt x="27" y="7"/>
                      <a:pt x="27" y="5"/>
                      <a:pt x="25" y="5"/>
                    </a:cubicBezTo>
                    <a:cubicBezTo>
                      <a:pt x="23" y="5"/>
                      <a:pt x="18" y="6"/>
                      <a:pt x="18" y="3"/>
                    </a:cubicBezTo>
                    <a:cubicBezTo>
                      <a:pt x="18" y="1"/>
                      <a:pt x="16" y="0"/>
                      <a:pt x="14" y="3"/>
                    </a:cubicBezTo>
                    <a:cubicBezTo>
                      <a:pt x="13" y="4"/>
                      <a:pt x="12" y="4"/>
                      <a:pt x="11" y="4"/>
                    </a:cubicBezTo>
                    <a:cubicBezTo>
                      <a:pt x="11" y="7"/>
                      <a:pt x="10" y="10"/>
                      <a:pt x="11" y="12"/>
                    </a:cubicBezTo>
                    <a:cubicBezTo>
                      <a:pt x="14" y="15"/>
                      <a:pt x="9" y="34"/>
                      <a:pt x="4" y="39"/>
                    </a:cubicBezTo>
                    <a:cubicBezTo>
                      <a:pt x="0" y="44"/>
                      <a:pt x="4" y="45"/>
                      <a:pt x="9" y="49"/>
                    </a:cubicBezTo>
                    <a:cubicBezTo>
                      <a:pt x="13" y="52"/>
                      <a:pt x="10" y="65"/>
                      <a:pt x="10" y="68"/>
                    </a:cubicBezTo>
                    <a:cubicBezTo>
                      <a:pt x="10" y="71"/>
                      <a:pt x="14" y="70"/>
                      <a:pt x="19" y="70"/>
                    </a:cubicBezTo>
                    <a:cubicBezTo>
                      <a:pt x="22" y="70"/>
                      <a:pt x="25" y="69"/>
                      <a:pt x="28" y="68"/>
                    </a:cubicBezTo>
                    <a:cubicBezTo>
                      <a:pt x="27" y="67"/>
                      <a:pt x="26" y="65"/>
                      <a:pt x="26" y="64"/>
                    </a:cubicBezTo>
                    <a:cubicBezTo>
                      <a:pt x="26" y="62"/>
                      <a:pt x="26" y="58"/>
                      <a:pt x="31" y="5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299" name="Freeform 77">
                <a:extLst>
                  <a:ext uri="{FF2B5EF4-FFF2-40B4-BE49-F238E27FC236}">
                    <a16:creationId xmlns:a16="http://schemas.microsoft.com/office/drawing/2014/main" id="{81E8BF54-12DD-4676-B6A3-22DE60624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313" y="2636838"/>
                <a:ext cx="101600" cy="87313"/>
              </a:xfrm>
              <a:custGeom>
                <a:avLst/>
                <a:gdLst>
                  <a:gd name="T0" fmla="*/ 15 w 46"/>
                  <a:gd name="T1" fmla="*/ 31 h 40"/>
                  <a:gd name="T2" fmla="*/ 22 w 46"/>
                  <a:gd name="T3" fmla="*/ 32 h 40"/>
                  <a:gd name="T4" fmla="*/ 30 w 46"/>
                  <a:gd name="T5" fmla="*/ 37 h 40"/>
                  <a:gd name="T6" fmla="*/ 33 w 46"/>
                  <a:gd name="T7" fmla="*/ 40 h 40"/>
                  <a:gd name="T8" fmla="*/ 34 w 46"/>
                  <a:gd name="T9" fmla="*/ 31 h 40"/>
                  <a:gd name="T10" fmla="*/ 35 w 46"/>
                  <a:gd name="T11" fmla="*/ 26 h 40"/>
                  <a:gd name="T12" fmla="*/ 41 w 46"/>
                  <a:gd name="T13" fmla="*/ 23 h 40"/>
                  <a:gd name="T14" fmla="*/ 44 w 46"/>
                  <a:gd name="T15" fmla="*/ 19 h 40"/>
                  <a:gd name="T16" fmla="*/ 40 w 46"/>
                  <a:gd name="T17" fmla="*/ 13 h 40"/>
                  <a:gd name="T18" fmla="*/ 46 w 46"/>
                  <a:gd name="T19" fmla="*/ 8 h 40"/>
                  <a:gd name="T20" fmla="*/ 45 w 46"/>
                  <a:gd name="T21" fmla="*/ 0 h 40"/>
                  <a:gd name="T22" fmla="*/ 42 w 46"/>
                  <a:gd name="T23" fmla="*/ 1 h 40"/>
                  <a:gd name="T24" fmla="*/ 31 w 46"/>
                  <a:gd name="T25" fmla="*/ 1 h 40"/>
                  <a:gd name="T26" fmla="*/ 26 w 46"/>
                  <a:gd name="T27" fmla="*/ 9 h 40"/>
                  <a:gd name="T28" fmla="*/ 21 w 46"/>
                  <a:gd name="T29" fmla="*/ 10 h 40"/>
                  <a:gd name="T30" fmla="*/ 16 w 46"/>
                  <a:gd name="T31" fmla="*/ 12 h 40"/>
                  <a:gd name="T32" fmla="*/ 11 w 46"/>
                  <a:gd name="T33" fmla="*/ 21 h 40"/>
                  <a:gd name="T34" fmla="*/ 2 w 46"/>
                  <a:gd name="T35" fmla="*/ 32 h 40"/>
                  <a:gd name="T36" fmla="*/ 0 w 46"/>
                  <a:gd name="T37" fmla="*/ 33 h 40"/>
                  <a:gd name="T38" fmla="*/ 4 w 46"/>
                  <a:gd name="T39" fmla="*/ 34 h 40"/>
                  <a:gd name="T40" fmla="*/ 15 w 46"/>
                  <a:gd name="T41" fmla="*/ 3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40">
                    <a:moveTo>
                      <a:pt x="15" y="31"/>
                    </a:moveTo>
                    <a:cubicBezTo>
                      <a:pt x="17" y="29"/>
                      <a:pt x="20" y="30"/>
                      <a:pt x="22" y="32"/>
                    </a:cubicBezTo>
                    <a:cubicBezTo>
                      <a:pt x="24" y="34"/>
                      <a:pt x="27" y="34"/>
                      <a:pt x="30" y="37"/>
                    </a:cubicBezTo>
                    <a:cubicBezTo>
                      <a:pt x="31" y="38"/>
                      <a:pt x="32" y="39"/>
                      <a:pt x="33" y="40"/>
                    </a:cubicBezTo>
                    <a:cubicBezTo>
                      <a:pt x="33" y="37"/>
                      <a:pt x="33" y="33"/>
                      <a:pt x="34" y="31"/>
                    </a:cubicBezTo>
                    <a:cubicBezTo>
                      <a:pt x="35" y="29"/>
                      <a:pt x="33" y="26"/>
                      <a:pt x="35" y="26"/>
                    </a:cubicBezTo>
                    <a:cubicBezTo>
                      <a:pt x="37" y="26"/>
                      <a:pt x="41" y="26"/>
                      <a:pt x="41" y="23"/>
                    </a:cubicBezTo>
                    <a:cubicBezTo>
                      <a:pt x="41" y="20"/>
                      <a:pt x="43" y="21"/>
                      <a:pt x="44" y="19"/>
                    </a:cubicBezTo>
                    <a:cubicBezTo>
                      <a:pt x="45" y="17"/>
                      <a:pt x="41" y="14"/>
                      <a:pt x="40" y="13"/>
                    </a:cubicBezTo>
                    <a:cubicBezTo>
                      <a:pt x="39" y="12"/>
                      <a:pt x="43" y="12"/>
                      <a:pt x="46" y="8"/>
                    </a:cubicBezTo>
                    <a:cubicBezTo>
                      <a:pt x="46" y="6"/>
                      <a:pt x="46" y="3"/>
                      <a:pt x="45" y="0"/>
                    </a:cubicBezTo>
                    <a:cubicBezTo>
                      <a:pt x="45" y="1"/>
                      <a:pt x="44" y="2"/>
                      <a:pt x="42" y="1"/>
                    </a:cubicBezTo>
                    <a:cubicBezTo>
                      <a:pt x="40" y="0"/>
                      <a:pt x="36" y="0"/>
                      <a:pt x="31" y="1"/>
                    </a:cubicBezTo>
                    <a:cubicBezTo>
                      <a:pt x="26" y="2"/>
                      <a:pt x="25" y="7"/>
                      <a:pt x="26" y="9"/>
                    </a:cubicBezTo>
                    <a:cubicBezTo>
                      <a:pt x="28" y="11"/>
                      <a:pt x="22" y="12"/>
                      <a:pt x="21" y="10"/>
                    </a:cubicBezTo>
                    <a:cubicBezTo>
                      <a:pt x="21" y="7"/>
                      <a:pt x="16" y="9"/>
                      <a:pt x="16" y="12"/>
                    </a:cubicBezTo>
                    <a:cubicBezTo>
                      <a:pt x="16" y="16"/>
                      <a:pt x="10" y="17"/>
                      <a:pt x="11" y="21"/>
                    </a:cubicBezTo>
                    <a:cubicBezTo>
                      <a:pt x="11" y="26"/>
                      <a:pt x="5" y="30"/>
                      <a:pt x="2" y="32"/>
                    </a:cubicBezTo>
                    <a:cubicBezTo>
                      <a:pt x="1" y="32"/>
                      <a:pt x="1" y="33"/>
                      <a:pt x="0" y="33"/>
                    </a:cubicBezTo>
                    <a:cubicBezTo>
                      <a:pt x="2" y="34"/>
                      <a:pt x="3" y="34"/>
                      <a:pt x="4" y="34"/>
                    </a:cubicBezTo>
                    <a:cubicBezTo>
                      <a:pt x="7" y="34"/>
                      <a:pt x="13" y="33"/>
                      <a:pt x="15" y="3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0" name="Freeform 78">
                <a:extLst>
                  <a:ext uri="{FF2B5EF4-FFF2-40B4-BE49-F238E27FC236}">
                    <a16:creationId xmlns:a16="http://schemas.microsoft.com/office/drawing/2014/main" id="{1C78553E-1E86-4BB8-A40E-5752D4025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8813" y="2746375"/>
                <a:ext cx="17462" cy="23813"/>
              </a:xfrm>
              <a:custGeom>
                <a:avLst/>
                <a:gdLst>
                  <a:gd name="T0" fmla="*/ 5 w 8"/>
                  <a:gd name="T1" fmla="*/ 0 h 11"/>
                  <a:gd name="T2" fmla="*/ 1 w 8"/>
                  <a:gd name="T3" fmla="*/ 10 h 11"/>
                  <a:gd name="T4" fmla="*/ 8 w 8"/>
                  <a:gd name="T5" fmla="*/ 11 h 11"/>
                  <a:gd name="T6" fmla="*/ 5 w 8"/>
                  <a:gd name="T7" fmla="*/ 1 h 11"/>
                  <a:gd name="T8" fmla="*/ 5 w 8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cubicBezTo>
                      <a:pt x="2" y="1"/>
                      <a:pt x="0" y="4"/>
                      <a:pt x="1" y="10"/>
                    </a:cubicBezTo>
                    <a:cubicBezTo>
                      <a:pt x="3" y="10"/>
                      <a:pt x="6" y="10"/>
                      <a:pt x="8" y="11"/>
                    </a:cubicBezTo>
                    <a:cubicBezTo>
                      <a:pt x="8" y="4"/>
                      <a:pt x="5" y="3"/>
                      <a:pt x="5" y="1"/>
                    </a:cubicBezTo>
                    <a:cubicBezTo>
                      <a:pt x="4" y="1"/>
                      <a:pt x="4" y="1"/>
                      <a:pt x="5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1" name="Freeform 79">
                <a:extLst>
                  <a:ext uri="{FF2B5EF4-FFF2-40B4-BE49-F238E27FC236}">
                    <a16:creationId xmlns:a16="http://schemas.microsoft.com/office/drawing/2014/main" id="{42FF1059-993F-45E6-86B4-4762E3851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2700338"/>
                <a:ext cx="96837" cy="68263"/>
              </a:xfrm>
              <a:custGeom>
                <a:avLst/>
                <a:gdLst>
                  <a:gd name="T0" fmla="*/ 2 w 44"/>
                  <a:gd name="T1" fmla="*/ 9 h 31"/>
                  <a:gd name="T2" fmla="*/ 6 w 44"/>
                  <a:gd name="T3" fmla="*/ 13 h 31"/>
                  <a:gd name="T4" fmla="*/ 12 w 44"/>
                  <a:gd name="T5" fmla="*/ 16 h 31"/>
                  <a:gd name="T6" fmla="*/ 19 w 44"/>
                  <a:gd name="T7" fmla="*/ 21 h 31"/>
                  <a:gd name="T8" fmla="*/ 22 w 44"/>
                  <a:gd name="T9" fmla="*/ 24 h 31"/>
                  <a:gd name="T10" fmla="*/ 27 w 44"/>
                  <a:gd name="T11" fmla="*/ 22 h 31"/>
                  <a:gd name="T12" fmla="*/ 30 w 44"/>
                  <a:gd name="T13" fmla="*/ 27 h 31"/>
                  <a:gd name="T14" fmla="*/ 36 w 44"/>
                  <a:gd name="T15" fmla="*/ 31 h 31"/>
                  <a:gd name="T16" fmla="*/ 38 w 44"/>
                  <a:gd name="T17" fmla="*/ 31 h 31"/>
                  <a:gd name="T18" fmla="*/ 42 w 44"/>
                  <a:gd name="T19" fmla="*/ 21 h 31"/>
                  <a:gd name="T20" fmla="*/ 44 w 44"/>
                  <a:gd name="T21" fmla="*/ 18 h 31"/>
                  <a:gd name="T22" fmla="*/ 41 w 44"/>
                  <a:gd name="T23" fmla="*/ 11 h 31"/>
                  <a:gd name="T24" fmla="*/ 41 w 44"/>
                  <a:gd name="T25" fmla="*/ 11 h 31"/>
                  <a:gd name="T26" fmla="*/ 38 w 44"/>
                  <a:gd name="T27" fmla="*/ 8 h 31"/>
                  <a:gd name="T28" fmla="*/ 30 w 44"/>
                  <a:gd name="T29" fmla="*/ 3 h 31"/>
                  <a:gd name="T30" fmla="*/ 23 w 44"/>
                  <a:gd name="T31" fmla="*/ 2 h 31"/>
                  <a:gd name="T32" fmla="*/ 12 w 44"/>
                  <a:gd name="T33" fmla="*/ 5 h 31"/>
                  <a:gd name="T34" fmla="*/ 8 w 44"/>
                  <a:gd name="T35" fmla="*/ 4 h 31"/>
                  <a:gd name="T36" fmla="*/ 0 w 44"/>
                  <a:gd name="T37" fmla="*/ 7 h 31"/>
                  <a:gd name="T38" fmla="*/ 2 w 44"/>
                  <a:gd name="T39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4" h="31">
                    <a:moveTo>
                      <a:pt x="2" y="9"/>
                    </a:moveTo>
                    <a:cubicBezTo>
                      <a:pt x="2" y="10"/>
                      <a:pt x="5" y="15"/>
                      <a:pt x="6" y="13"/>
                    </a:cubicBezTo>
                    <a:cubicBezTo>
                      <a:pt x="7" y="11"/>
                      <a:pt x="9" y="15"/>
                      <a:pt x="12" y="16"/>
                    </a:cubicBezTo>
                    <a:cubicBezTo>
                      <a:pt x="14" y="18"/>
                      <a:pt x="18" y="19"/>
                      <a:pt x="19" y="21"/>
                    </a:cubicBezTo>
                    <a:cubicBezTo>
                      <a:pt x="19" y="22"/>
                      <a:pt x="20" y="25"/>
                      <a:pt x="22" y="24"/>
                    </a:cubicBezTo>
                    <a:cubicBezTo>
                      <a:pt x="24" y="23"/>
                      <a:pt x="27" y="20"/>
                      <a:pt x="27" y="22"/>
                    </a:cubicBezTo>
                    <a:cubicBezTo>
                      <a:pt x="27" y="24"/>
                      <a:pt x="28" y="28"/>
                      <a:pt x="30" y="27"/>
                    </a:cubicBezTo>
                    <a:cubicBezTo>
                      <a:pt x="33" y="27"/>
                      <a:pt x="33" y="31"/>
                      <a:pt x="36" y="31"/>
                    </a:cubicBezTo>
                    <a:cubicBezTo>
                      <a:pt x="36" y="31"/>
                      <a:pt x="37" y="31"/>
                      <a:pt x="38" y="31"/>
                    </a:cubicBezTo>
                    <a:cubicBezTo>
                      <a:pt x="37" y="25"/>
                      <a:pt x="39" y="22"/>
                      <a:pt x="42" y="21"/>
                    </a:cubicBezTo>
                    <a:cubicBezTo>
                      <a:pt x="42" y="20"/>
                      <a:pt x="44" y="19"/>
                      <a:pt x="44" y="18"/>
                    </a:cubicBezTo>
                    <a:cubicBezTo>
                      <a:pt x="44" y="16"/>
                      <a:pt x="41" y="13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0" y="10"/>
                      <a:pt x="39" y="9"/>
                      <a:pt x="38" y="8"/>
                    </a:cubicBezTo>
                    <a:cubicBezTo>
                      <a:pt x="35" y="5"/>
                      <a:pt x="32" y="5"/>
                      <a:pt x="30" y="3"/>
                    </a:cubicBezTo>
                    <a:cubicBezTo>
                      <a:pt x="28" y="1"/>
                      <a:pt x="25" y="0"/>
                      <a:pt x="23" y="2"/>
                    </a:cubicBezTo>
                    <a:cubicBezTo>
                      <a:pt x="21" y="4"/>
                      <a:pt x="15" y="5"/>
                      <a:pt x="12" y="5"/>
                    </a:cubicBezTo>
                    <a:cubicBezTo>
                      <a:pt x="11" y="5"/>
                      <a:pt x="10" y="5"/>
                      <a:pt x="8" y="4"/>
                    </a:cubicBezTo>
                    <a:cubicBezTo>
                      <a:pt x="6" y="5"/>
                      <a:pt x="3" y="7"/>
                      <a:pt x="0" y="7"/>
                    </a:cubicBezTo>
                    <a:cubicBezTo>
                      <a:pt x="1" y="8"/>
                      <a:pt x="2" y="7"/>
                      <a:pt x="2" y="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2" name="Freeform 80">
                <a:extLst>
                  <a:ext uri="{FF2B5EF4-FFF2-40B4-BE49-F238E27FC236}">
                    <a16:creationId xmlns:a16="http://schemas.microsoft.com/office/drawing/2014/main" id="{642BBDF8-FA2A-4A88-9FD2-B610780B4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413" y="2803525"/>
                <a:ext cx="223837" cy="144463"/>
              </a:xfrm>
              <a:custGeom>
                <a:avLst/>
                <a:gdLst>
                  <a:gd name="T0" fmla="*/ 92 w 102"/>
                  <a:gd name="T1" fmla="*/ 44 h 66"/>
                  <a:gd name="T2" fmla="*/ 87 w 102"/>
                  <a:gd name="T3" fmla="*/ 41 h 66"/>
                  <a:gd name="T4" fmla="*/ 87 w 102"/>
                  <a:gd name="T5" fmla="*/ 41 h 66"/>
                  <a:gd name="T6" fmla="*/ 86 w 102"/>
                  <a:gd name="T7" fmla="*/ 28 h 66"/>
                  <a:gd name="T8" fmla="*/ 78 w 102"/>
                  <a:gd name="T9" fmla="*/ 12 h 66"/>
                  <a:gd name="T10" fmla="*/ 71 w 102"/>
                  <a:gd name="T11" fmla="*/ 0 h 66"/>
                  <a:gd name="T12" fmla="*/ 66 w 102"/>
                  <a:gd name="T13" fmla="*/ 2 h 66"/>
                  <a:gd name="T14" fmla="*/ 59 w 102"/>
                  <a:gd name="T15" fmla="*/ 6 h 66"/>
                  <a:gd name="T16" fmla="*/ 54 w 102"/>
                  <a:gd name="T17" fmla="*/ 6 h 66"/>
                  <a:gd name="T18" fmla="*/ 49 w 102"/>
                  <a:gd name="T19" fmla="*/ 8 h 66"/>
                  <a:gd name="T20" fmla="*/ 42 w 102"/>
                  <a:gd name="T21" fmla="*/ 6 h 66"/>
                  <a:gd name="T22" fmla="*/ 31 w 102"/>
                  <a:gd name="T23" fmla="*/ 4 h 66"/>
                  <a:gd name="T24" fmla="*/ 26 w 102"/>
                  <a:gd name="T25" fmla="*/ 4 h 66"/>
                  <a:gd name="T26" fmla="*/ 25 w 102"/>
                  <a:gd name="T27" fmla="*/ 6 h 66"/>
                  <a:gd name="T28" fmla="*/ 18 w 102"/>
                  <a:gd name="T29" fmla="*/ 11 h 66"/>
                  <a:gd name="T30" fmla="*/ 7 w 102"/>
                  <a:gd name="T31" fmla="*/ 28 h 66"/>
                  <a:gd name="T32" fmla="*/ 0 w 102"/>
                  <a:gd name="T33" fmla="*/ 33 h 66"/>
                  <a:gd name="T34" fmla="*/ 4 w 102"/>
                  <a:gd name="T35" fmla="*/ 40 h 66"/>
                  <a:gd name="T36" fmla="*/ 8 w 102"/>
                  <a:gd name="T37" fmla="*/ 44 h 66"/>
                  <a:gd name="T38" fmla="*/ 10 w 102"/>
                  <a:gd name="T39" fmla="*/ 51 h 66"/>
                  <a:gd name="T40" fmla="*/ 22 w 102"/>
                  <a:gd name="T41" fmla="*/ 55 h 66"/>
                  <a:gd name="T42" fmla="*/ 23 w 102"/>
                  <a:gd name="T43" fmla="*/ 60 h 66"/>
                  <a:gd name="T44" fmla="*/ 29 w 102"/>
                  <a:gd name="T45" fmla="*/ 64 h 66"/>
                  <a:gd name="T46" fmla="*/ 41 w 102"/>
                  <a:gd name="T47" fmla="*/ 65 h 66"/>
                  <a:gd name="T48" fmla="*/ 53 w 102"/>
                  <a:gd name="T49" fmla="*/ 66 h 66"/>
                  <a:gd name="T50" fmla="*/ 61 w 102"/>
                  <a:gd name="T51" fmla="*/ 62 h 66"/>
                  <a:gd name="T52" fmla="*/ 75 w 102"/>
                  <a:gd name="T53" fmla="*/ 60 h 66"/>
                  <a:gd name="T54" fmla="*/ 84 w 102"/>
                  <a:gd name="T55" fmla="*/ 63 h 66"/>
                  <a:gd name="T56" fmla="*/ 90 w 102"/>
                  <a:gd name="T57" fmla="*/ 66 h 66"/>
                  <a:gd name="T58" fmla="*/ 90 w 102"/>
                  <a:gd name="T59" fmla="*/ 60 h 66"/>
                  <a:gd name="T60" fmla="*/ 96 w 102"/>
                  <a:gd name="T61" fmla="*/ 51 h 66"/>
                  <a:gd name="T62" fmla="*/ 102 w 102"/>
                  <a:gd name="T63" fmla="*/ 45 h 66"/>
                  <a:gd name="T64" fmla="*/ 102 w 102"/>
                  <a:gd name="T65" fmla="*/ 44 h 66"/>
                  <a:gd name="T66" fmla="*/ 98 w 102"/>
                  <a:gd name="T67" fmla="*/ 41 h 66"/>
                  <a:gd name="T68" fmla="*/ 92 w 102"/>
                  <a:gd name="T69" fmla="*/ 4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2" h="66">
                    <a:moveTo>
                      <a:pt x="92" y="44"/>
                    </a:moveTo>
                    <a:cubicBezTo>
                      <a:pt x="89" y="44"/>
                      <a:pt x="86" y="43"/>
                      <a:pt x="87" y="41"/>
                    </a:cubicBezTo>
                    <a:cubicBezTo>
                      <a:pt x="87" y="41"/>
                      <a:pt x="87" y="41"/>
                      <a:pt x="87" y="41"/>
                    </a:cubicBezTo>
                    <a:cubicBezTo>
                      <a:pt x="84" y="38"/>
                      <a:pt x="84" y="30"/>
                      <a:pt x="86" y="28"/>
                    </a:cubicBezTo>
                    <a:cubicBezTo>
                      <a:pt x="88" y="26"/>
                      <a:pt x="81" y="16"/>
                      <a:pt x="78" y="12"/>
                    </a:cubicBezTo>
                    <a:cubicBezTo>
                      <a:pt x="77" y="11"/>
                      <a:pt x="74" y="5"/>
                      <a:pt x="71" y="0"/>
                    </a:cubicBezTo>
                    <a:cubicBezTo>
                      <a:pt x="68" y="1"/>
                      <a:pt x="66" y="1"/>
                      <a:pt x="66" y="2"/>
                    </a:cubicBezTo>
                    <a:cubicBezTo>
                      <a:pt x="65" y="4"/>
                      <a:pt x="61" y="6"/>
                      <a:pt x="59" y="6"/>
                    </a:cubicBezTo>
                    <a:cubicBezTo>
                      <a:pt x="57" y="6"/>
                      <a:pt x="55" y="5"/>
                      <a:pt x="54" y="6"/>
                    </a:cubicBezTo>
                    <a:cubicBezTo>
                      <a:pt x="52" y="8"/>
                      <a:pt x="50" y="9"/>
                      <a:pt x="49" y="8"/>
                    </a:cubicBezTo>
                    <a:cubicBezTo>
                      <a:pt x="48" y="7"/>
                      <a:pt x="44" y="6"/>
                      <a:pt x="42" y="6"/>
                    </a:cubicBezTo>
                    <a:cubicBezTo>
                      <a:pt x="40" y="6"/>
                      <a:pt x="32" y="4"/>
                      <a:pt x="31" y="4"/>
                    </a:cubicBezTo>
                    <a:cubicBezTo>
                      <a:pt x="30" y="4"/>
                      <a:pt x="28" y="4"/>
                      <a:pt x="26" y="4"/>
                    </a:cubicBezTo>
                    <a:cubicBezTo>
                      <a:pt x="27" y="5"/>
                      <a:pt x="26" y="6"/>
                      <a:pt x="25" y="6"/>
                    </a:cubicBezTo>
                    <a:cubicBezTo>
                      <a:pt x="23" y="8"/>
                      <a:pt x="19" y="10"/>
                      <a:pt x="18" y="11"/>
                    </a:cubicBezTo>
                    <a:cubicBezTo>
                      <a:pt x="16" y="12"/>
                      <a:pt x="11" y="25"/>
                      <a:pt x="7" y="28"/>
                    </a:cubicBezTo>
                    <a:cubicBezTo>
                      <a:pt x="4" y="32"/>
                      <a:pt x="1" y="32"/>
                      <a:pt x="0" y="33"/>
                    </a:cubicBezTo>
                    <a:cubicBezTo>
                      <a:pt x="0" y="35"/>
                      <a:pt x="4" y="38"/>
                      <a:pt x="4" y="40"/>
                    </a:cubicBezTo>
                    <a:cubicBezTo>
                      <a:pt x="4" y="42"/>
                      <a:pt x="5" y="44"/>
                      <a:pt x="8" y="44"/>
                    </a:cubicBezTo>
                    <a:cubicBezTo>
                      <a:pt x="11" y="44"/>
                      <a:pt x="8" y="50"/>
                      <a:pt x="10" y="51"/>
                    </a:cubicBezTo>
                    <a:cubicBezTo>
                      <a:pt x="11" y="51"/>
                      <a:pt x="22" y="52"/>
                      <a:pt x="22" y="55"/>
                    </a:cubicBezTo>
                    <a:cubicBezTo>
                      <a:pt x="22" y="57"/>
                      <a:pt x="23" y="58"/>
                      <a:pt x="23" y="60"/>
                    </a:cubicBezTo>
                    <a:cubicBezTo>
                      <a:pt x="26" y="60"/>
                      <a:pt x="28" y="64"/>
                      <a:pt x="29" y="64"/>
                    </a:cubicBezTo>
                    <a:cubicBezTo>
                      <a:pt x="31" y="64"/>
                      <a:pt x="40" y="66"/>
                      <a:pt x="41" y="65"/>
                    </a:cubicBezTo>
                    <a:cubicBezTo>
                      <a:pt x="43" y="65"/>
                      <a:pt x="51" y="65"/>
                      <a:pt x="53" y="66"/>
                    </a:cubicBezTo>
                    <a:cubicBezTo>
                      <a:pt x="56" y="66"/>
                      <a:pt x="59" y="65"/>
                      <a:pt x="61" y="62"/>
                    </a:cubicBezTo>
                    <a:cubicBezTo>
                      <a:pt x="64" y="60"/>
                      <a:pt x="72" y="60"/>
                      <a:pt x="75" y="60"/>
                    </a:cubicBezTo>
                    <a:cubicBezTo>
                      <a:pt x="77" y="60"/>
                      <a:pt x="83" y="61"/>
                      <a:pt x="84" y="63"/>
                    </a:cubicBezTo>
                    <a:cubicBezTo>
                      <a:pt x="84" y="63"/>
                      <a:pt x="87" y="65"/>
                      <a:pt x="90" y="66"/>
                    </a:cubicBezTo>
                    <a:cubicBezTo>
                      <a:pt x="91" y="64"/>
                      <a:pt x="90" y="62"/>
                      <a:pt x="90" y="60"/>
                    </a:cubicBezTo>
                    <a:cubicBezTo>
                      <a:pt x="91" y="56"/>
                      <a:pt x="93" y="51"/>
                      <a:pt x="96" y="51"/>
                    </a:cubicBezTo>
                    <a:cubicBezTo>
                      <a:pt x="100" y="50"/>
                      <a:pt x="102" y="50"/>
                      <a:pt x="102" y="45"/>
                    </a:cubicBezTo>
                    <a:cubicBezTo>
                      <a:pt x="102" y="44"/>
                      <a:pt x="102" y="44"/>
                      <a:pt x="102" y="44"/>
                    </a:cubicBezTo>
                    <a:cubicBezTo>
                      <a:pt x="100" y="43"/>
                      <a:pt x="98" y="41"/>
                      <a:pt x="98" y="41"/>
                    </a:cubicBezTo>
                    <a:cubicBezTo>
                      <a:pt x="97" y="41"/>
                      <a:pt x="93" y="44"/>
                      <a:pt x="92" y="4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3" name="Freeform 81">
                <a:extLst>
                  <a:ext uri="{FF2B5EF4-FFF2-40B4-BE49-F238E27FC236}">
                    <a16:creationId xmlns:a16="http://schemas.microsoft.com/office/drawing/2014/main" id="{71E7E123-337B-4EFF-A513-85DFE552E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575" y="2797175"/>
                <a:ext cx="76200" cy="96838"/>
              </a:xfrm>
              <a:custGeom>
                <a:avLst/>
                <a:gdLst>
                  <a:gd name="T0" fmla="*/ 25 w 35"/>
                  <a:gd name="T1" fmla="*/ 12 h 44"/>
                  <a:gd name="T2" fmla="*/ 17 w 35"/>
                  <a:gd name="T3" fmla="*/ 6 h 44"/>
                  <a:gd name="T4" fmla="*/ 8 w 35"/>
                  <a:gd name="T5" fmla="*/ 1 h 44"/>
                  <a:gd name="T6" fmla="*/ 0 w 35"/>
                  <a:gd name="T7" fmla="*/ 3 h 44"/>
                  <a:gd name="T8" fmla="*/ 7 w 35"/>
                  <a:gd name="T9" fmla="*/ 15 h 44"/>
                  <a:gd name="T10" fmla="*/ 15 w 35"/>
                  <a:gd name="T11" fmla="*/ 31 h 44"/>
                  <a:gd name="T12" fmla="*/ 16 w 35"/>
                  <a:gd name="T13" fmla="*/ 44 h 44"/>
                  <a:gd name="T14" fmla="*/ 23 w 35"/>
                  <a:gd name="T15" fmla="*/ 34 h 44"/>
                  <a:gd name="T16" fmla="*/ 27 w 35"/>
                  <a:gd name="T17" fmla="*/ 29 h 44"/>
                  <a:gd name="T18" fmla="*/ 35 w 35"/>
                  <a:gd name="T19" fmla="*/ 30 h 44"/>
                  <a:gd name="T20" fmla="*/ 32 w 35"/>
                  <a:gd name="T21" fmla="*/ 23 h 44"/>
                  <a:gd name="T22" fmla="*/ 25 w 35"/>
                  <a:gd name="T23" fmla="*/ 1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44">
                    <a:moveTo>
                      <a:pt x="25" y="12"/>
                    </a:moveTo>
                    <a:cubicBezTo>
                      <a:pt x="24" y="7"/>
                      <a:pt x="20" y="6"/>
                      <a:pt x="17" y="6"/>
                    </a:cubicBezTo>
                    <a:cubicBezTo>
                      <a:pt x="15" y="6"/>
                      <a:pt x="11" y="0"/>
                      <a:pt x="8" y="1"/>
                    </a:cubicBezTo>
                    <a:cubicBezTo>
                      <a:pt x="7" y="1"/>
                      <a:pt x="3" y="2"/>
                      <a:pt x="0" y="3"/>
                    </a:cubicBezTo>
                    <a:cubicBezTo>
                      <a:pt x="3" y="8"/>
                      <a:pt x="6" y="14"/>
                      <a:pt x="7" y="15"/>
                    </a:cubicBezTo>
                    <a:cubicBezTo>
                      <a:pt x="10" y="19"/>
                      <a:pt x="17" y="29"/>
                      <a:pt x="15" y="31"/>
                    </a:cubicBezTo>
                    <a:cubicBezTo>
                      <a:pt x="13" y="33"/>
                      <a:pt x="13" y="41"/>
                      <a:pt x="16" y="44"/>
                    </a:cubicBezTo>
                    <a:cubicBezTo>
                      <a:pt x="18" y="42"/>
                      <a:pt x="23" y="36"/>
                      <a:pt x="23" y="34"/>
                    </a:cubicBezTo>
                    <a:cubicBezTo>
                      <a:pt x="23" y="32"/>
                      <a:pt x="23" y="28"/>
                      <a:pt x="27" y="29"/>
                    </a:cubicBezTo>
                    <a:cubicBezTo>
                      <a:pt x="31" y="30"/>
                      <a:pt x="35" y="32"/>
                      <a:pt x="35" y="30"/>
                    </a:cubicBezTo>
                    <a:cubicBezTo>
                      <a:pt x="35" y="29"/>
                      <a:pt x="34" y="25"/>
                      <a:pt x="32" y="23"/>
                    </a:cubicBezTo>
                    <a:cubicBezTo>
                      <a:pt x="31" y="21"/>
                      <a:pt x="27" y="16"/>
                      <a:pt x="25" y="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4" name="Freeform 82">
                <a:extLst>
                  <a:ext uri="{FF2B5EF4-FFF2-40B4-BE49-F238E27FC236}">
                    <a16:creationId xmlns:a16="http://schemas.microsoft.com/office/drawing/2014/main" id="{2C643DC9-1B2F-4A59-B269-C77695AC1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935288"/>
                <a:ext cx="155575" cy="82550"/>
              </a:xfrm>
              <a:custGeom>
                <a:avLst/>
                <a:gdLst>
                  <a:gd name="T0" fmla="*/ 56 w 71"/>
                  <a:gd name="T1" fmla="*/ 0 h 38"/>
                  <a:gd name="T2" fmla="*/ 42 w 71"/>
                  <a:gd name="T3" fmla="*/ 2 h 38"/>
                  <a:gd name="T4" fmla="*/ 34 w 71"/>
                  <a:gd name="T5" fmla="*/ 6 h 38"/>
                  <a:gd name="T6" fmla="*/ 22 w 71"/>
                  <a:gd name="T7" fmla="*/ 5 h 38"/>
                  <a:gd name="T8" fmla="*/ 10 w 71"/>
                  <a:gd name="T9" fmla="*/ 4 h 38"/>
                  <a:gd name="T10" fmla="*/ 4 w 71"/>
                  <a:gd name="T11" fmla="*/ 0 h 38"/>
                  <a:gd name="T12" fmla="*/ 3 w 71"/>
                  <a:gd name="T13" fmla="*/ 1 h 38"/>
                  <a:gd name="T14" fmla="*/ 3 w 71"/>
                  <a:gd name="T15" fmla="*/ 8 h 38"/>
                  <a:gd name="T16" fmla="*/ 6 w 71"/>
                  <a:gd name="T17" fmla="*/ 16 h 38"/>
                  <a:gd name="T18" fmla="*/ 3 w 71"/>
                  <a:gd name="T19" fmla="*/ 20 h 38"/>
                  <a:gd name="T20" fmla="*/ 3 w 71"/>
                  <a:gd name="T21" fmla="*/ 26 h 38"/>
                  <a:gd name="T22" fmla="*/ 9 w 71"/>
                  <a:gd name="T23" fmla="*/ 33 h 38"/>
                  <a:gd name="T24" fmla="*/ 11 w 71"/>
                  <a:gd name="T25" fmla="*/ 36 h 38"/>
                  <a:gd name="T26" fmla="*/ 26 w 71"/>
                  <a:gd name="T27" fmla="*/ 36 h 38"/>
                  <a:gd name="T28" fmla="*/ 38 w 71"/>
                  <a:gd name="T29" fmla="*/ 38 h 38"/>
                  <a:gd name="T30" fmla="*/ 43 w 71"/>
                  <a:gd name="T31" fmla="*/ 36 h 38"/>
                  <a:gd name="T32" fmla="*/ 48 w 71"/>
                  <a:gd name="T33" fmla="*/ 33 h 38"/>
                  <a:gd name="T34" fmla="*/ 48 w 71"/>
                  <a:gd name="T35" fmla="*/ 30 h 38"/>
                  <a:gd name="T36" fmla="*/ 59 w 71"/>
                  <a:gd name="T37" fmla="*/ 30 h 38"/>
                  <a:gd name="T38" fmla="*/ 64 w 71"/>
                  <a:gd name="T39" fmla="*/ 29 h 38"/>
                  <a:gd name="T40" fmla="*/ 62 w 71"/>
                  <a:gd name="T41" fmla="*/ 26 h 38"/>
                  <a:gd name="T42" fmla="*/ 60 w 71"/>
                  <a:gd name="T43" fmla="*/ 18 h 38"/>
                  <a:gd name="T44" fmla="*/ 69 w 71"/>
                  <a:gd name="T45" fmla="*/ 8 h 38"/>
                  <a:gd name="T46" fmla="*/ 71 w 71"/>
                  <a:gd name="T47" fmla="*/ 6 h 38"/>
                  <a:gd name="T48" fmla="*/ 65 w 71"/>
                  <a:gd name="T49" fmla="*/ 3 h 38"/>
                  <a:gd name="T50" fmla="*/ 56 w 71"/>
                  <a:gd name="T5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1" h="38">
                    <a:moveTo>
                      <a:pt x="56" y="0"/>
                    </a:moveTo>
                    <a:cubicBezTo>
                      <a:pt x="53" y="0"/>
                      <a:pt x="45" y="0"/>
                      <a:pt x="42" y="2"/>
                    </a:cubicBezTo>
                    <a:cubicBezTo>
                      <a:pt x="40" y="5"/>
                      <a:pt x="37" y="6"/>
                      <a:pt x="34" y="6"/>
                    </a:cubicBezTo>
                    <a:cubicBezTo>
                      <a:pt x="32" y="5"/>
                      <a:pt x="24" y="5"/>
                      <a:pt x="22" y="5"/>
                    </a:cubicBezTo>
                    <a:cubicBezTo>
                      <a:pt x="21" y="6"/>
                      <a:pt x="12" y="4"/>
                      <a:pt x="10" y="4"/>
                    </a:cubicBezTo>
                    <a:cubicBezTo>
                      <a:pt x="9" y="4"/>
                      <a:pt x="7" y="0"/>
                      <a:pt x="4" y="0"/>
                    </a:cubicBezTo>
                    <a:cubicBezTo>
                      <a:pt x="4" y="0"/>
                      <a:pt x="3" y="0"/>
                      <a:pt x="3" y="1"/>
                    </a:cubicBezTo>
                    <a:cubicBezTo>
                      <a:pt x="1" y="2"/>
                      <a:pt x="0" y="6"/>
                      <a:pt x="3" y="8"/>
                    </a:cubicBezTo>
                    <a:cubicBezTo>
                      <a:pt x="5" y="11"/>
                      <a:pt x="9" y="16"/>
                      <a:pt x="6" y="16"/>
                    </a:cubicBezTo>
                    <a:cubicBezTo>
                      <a:pt x="4" y="16"/>
                      <a:pt x="2" y="19"/>
                      <a:pt x="3" y="20"/>
                    </a:cubicBezTo>
                    <a:cubicBezTo>
                      <a:pt x="3" y="22"/>
                      <a:pt x="2" y="25"/>
                      <a:pt x="3" y="26"/>
                    </a:cubicBezTo>
                    <a:cubicBezTo>
                      <a:pt x="3" y="26"/>
                      <a:pt x="9" y="31"/>
                      <a:pt x="9" y="33"/>
                    </a:cubicBezTo>
                    <a:cubicBezTo>
                      <a:pt x="9" y="34"/>
                      <a:pt x="11" y="35"/>
                      <a:pt x="11" y="36"/>
                    </a:cubicBezTo>
                    <a:cubicBezTo>
                      <a:pt x="15" y="36"/>
                      <a:pt x="24" y="35"/>
                      <a:pt x="26" y="36"/>
                    </a:cubicBezTo>
                    <a:cubicBezTo>
                      <a:pt x="29" y="38"/>
                      <a:pt x="38" y="38"/>
                      <a:pt x="38" y="38"/>
                    </a:cubicBezTo>
                    <a:cubicBezTo>
                      <a:pt x="41" y="38"/>
                      <a:pt x="43" y="37"/>
                      <a:pt x="43" y="36"/>
                    </a:cubicBezTo>
                    <a:cubicBezTo>
                      <a:pt x="42" y="34"/>
                      <a:pt x="45" y="33"/>
                      <a:pt x="48" y="33"/>
                    </a:cubicBezTo>
                    <a:cubicBezTo>
                      <a:pt x="47" y="31"/>
                      <a:pt x="47" y="30"/>
                      <a:pt x="48" y="30"/>
                    </a:cubicBezTo>
                    <a:cubicBezTo>
                      <a:pt x="49" y="29"/>
                      <a:pt x="56" y="28"/>
                      <a:pt x="59" y="30"/>
                    </a:cubicBezTo>
                    <a:cubicBezTo>
                      <a:pt x="61" y="31"/>
                      <a:pt x="63" y="30"/>
                      <a:pt x="64" y="29"/>
                    </a:cubicBezTo>
                    <a:cubicBezTo>
                      <a:pt x="64" y="28"/>
                      <a:pt x="63" y="27"/>
                      <a:pt x="62" y="26"/>
                    </a:cubicBezTo>
                    <a:cubicBezTo>
                      <a:pt x="61" y="26"/>
                      <a:pt x="58" y="18"/>
                      <a:pt x="60" y="18"/>
                    </a:cubicBezTo>
                    <a:cubicBezTo>
                      <a:pt x="62" y="17"/>
                      <a:pt x="65" y="9"/>
                      <a:pt x="69" y="8"/>
                    </a:cubicBezTo>
                    <a:cubicBezTo>
                      <a:pt x="70" y="8"/>
                      <a:pt x="71" y="7"/>
                      <a:pt x="71" y="6"/>
                    </a:cubicBezTo>
                    <a:cubicBezTo>
                      <a:pt x="68" y="5"/>
                      <a:pt x="65" y="3"/>
                      <a:pt x="65" y="3"/>
                    </a:cubicBezTo>
                    <a:cubicBezTo>
                      <a:pt x="64" y="1"/>
                      <a:pt x="58" y="0"/>
                      <a:pt x="56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5" name="Freeform 83">
                <a:extLst>
                  <a:ext uri="{FF2B5EF4-FFF2-40B4-BE49-F238E27FC236}">
                    <a16:creationId xmlns:a16="http://schemas.microsoft.com/office/drawing/2014/main" id="{8F4BE511-BF72-41AE-8329-0EA047A0A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2825" y="2987675"/>
                <a:ext cx="68262" cy="46038"/>
              </a:xfrm>
              <a:custGeom>
                <a:avLst/>
                <a:gdLst>
                  <a:gd name="T0" fmla="*/ 8 w 31"/>
                  <a:gd name="T1" fmla="*/ 21 h 21"/>
                  <a:gd name="T2" fmla="*/ 8 w 31"/>
                  <a:gd name="T3" fmla="*/ 21 h 21"/>
                  <a:gd name="T4" fmla="*/ 8 w 31"/>
                  <a:gd name="T5" fmla="*/ 21 h 21"/>
                  <a:gd name="T6" fmla="*/ 8 w 31"/>
                  <a:gd name="T7" fmla="*/ 21 h 21"/>
                  <a:gd name="T8" fmla="*/ 9 w 31"/>
                  <a:gd name="T9" fmla="*/ 21 h 21"/>
                  <a:gd name="T10" fmla="*/ 9 w 31"/>
                  <a:gd name="T11" fmla="*/ 21 h 21"/>
                  <a:gd name="T12" fmla="*/ 12 w 31"/>
                  <a:gd name="T13" fmla="*/ 21 h 21"/>
                  <a:gd name="T14" fmla="*/ 13 w 31"/>
                  <a:gd name="T15" fmla="*/ 21 h 21"/>
                  <a:gd name="T16" fmla="*/ 14 w 31"/>
                  <a:gd name="T17" fmla="*/ 21 h 21"/>
                  <a:gd name="T18" fmla="*/ 14 w 31"/>
                  <a:gd name="T19" fmla="*/ 21 h 21"/>
                  <a:gd name="T20" fmla="*/ 15 w 31"/>
                  <a:gd name="T21" fmla="*/ 21 h 21"/>
                  <a:gd name="T22" fmla="*/ 20 w 31"/>
                  <a:gd name="T23" fmla="*/ 17 h 21"/>
                  <a:gd name="T24" fmla="*/ 31 w 31"/>
                  <a:gd name="T25" fmla="*/ 13 h 21"/>
                  <a:gd name="T26" fmla="*/ 31 w 31"/>
                  <a:gd name="T27" fmla="*/ 12 h 21"/>
                  <a:gd name="T28" fmla="*/ 29 w 31"/>
                  <a:gd name="T29" fmla="*/ 9 h 21"/>
                  <a:gd name="T30" fmla="*/ 23 w 31"/>
                  <a:gd name="T31" fmla="*/ 2 h 21"/>
                  <a:gd name="T32" fmla="*/ 22 w 31"/>
                  <a:gd name="T33" fmla="*/ 1 h 21"/>
                  <a:gd name="T34" fmla="*/ 22 w 31"/>
                  <a:gd name="T35" fmla="*/ 1 h 21"/>
                  <a:gd name="T36" fmla="*/ 22 w 31"/>
                  <a:gd name="T37" fmla="*/ 0 h 21"/>
                  <a:gd name="T38" fmla="*/ 3 w 31"/>
                  <a:gd name="T39" fmla="*/ 3 h 21"/>
                  <a:gd name="T40" fmla="*/ 2 w 31"/>
                  <a:gd name="T41" fmla="*/ 3 h 21"/>
                  <a:gd name="T42" fmla="*/ 1 w 31"/>
                  <a:gd name="T43" fmla="*/ 14 h 21"/>
                  <a:gd name="T44" fmla="*/ 8 w 31"/>
                  <a:gd name="T4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1">
                    <a:moveTo>
                      <a:pt x="8" y="21"/>
                    </a:move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9" y="21"/>
                      <a:pt x="9" y="21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1"/>
                      <a:pt x="11" y="21"/>
                      <a:pt x="12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1"/>
                      <a:pt x="13" y="21"/>
                      <a:pt x="14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1"/>
                      <a:pt x="15" y="21"/>
                      <a:pt x="15" y="21"/>
                    </a:cubicBezTo>
                    <a:cubicBezTo>
                      <a:pt x="18" y="20"/>
                      <a:pt x="19" y="17"/>
                      <a:pt x="20" y="17"/>
                    </a:cubicBezTo>
                    <a:cubicBezTo>
                      <a:pt x="22" y="18"/>
                      <a:pt x="30" y="14"/>
                      <a:pt x="31" y="1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29" y="10"/>
                      <a:pt x="29" y="9"/>
                    </a:cubicBezTo>
                    <a:cubicBezTo>
                      <a:pt x="29" y="7"/>
                      <a:pt x="23" y="2"/>
                      <a:pt x="23" y="2"/>
                    </a:cubicBezTo>
                    <a:cubicBezTo>
                      <a:pt x="22" y="2"/>
                      <a:pt x="22" y="1"/>
                      <a:pt x="22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5" y="1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1" y="6"/>
                      <a:pt x="0" y="12"/>
                      <a:pt x="1" y="14"/>
                    </a:cubicBezTo>
                    <a:cubicBezTo>
                      <a:pt x="2" y="17"/>
                      <a:pt x="4" y="19"/>
                      <a:pt x="8" y="2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6" name="Freeform 84">
                <a:extLst>
                  <a:ext uri="{FF2B5EF4-FFF2-40B4-BE49-F238E27FC236}">
                    <a16:creationId xmlns:a16="http://schemas.microsoft.com/office/drawing/2014/main" id="{92DC8252-3B26-4A67-999C-C87EB91CE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670175"/>
                <a:ext cx="441325" cy="255588"/>
              </a:xfrm>
              <a:custGeom>
                <a:avLst/>
                <a:gdLst>
                  <a:gd name="T0" fmla="*/ 188 w 201"/>
                  <a:gd name="T1" fmla="*/ 67 h 117"/>
                  <a:gd name="T2" fmla="*/ 199 w 201"/>
                  <a:gd name="T3" fmla="*/ 61 h 117"/>
                  <a:gd name="T4" fmla="*/ 201 w 201"/>
                  <a:gd name="T5" fmla="*/ 54 h 117"/>
                  <a:gd name="T6" fmla="*/ 201 w 201"/>
                  <a:gd name="T7" fmla="*/ 46 h 117"/>
                  <a:gd name="T8" fmla="*/ 185 w 201"/>
                  <a:gd name="T9" fmla="*/ 39 h 117"/>
                  <a:gd name="T10" fmla="*/ 171 w 201"/>
                  <a:gd name="T11" fmla="*/ 32 h 117"/>
                  <a:gd name="T12" fmla="*/ 159 w 201"/>
                  <a:gd name="T13" fmla="*/ 33 h 117"/>
                  <a:gd name="T14" fmla="*/ 149 w 201"/>
                  <a:gd name="T15" fmla="*/ 28 h 117"/>
                  <a:gd name="T16" fmla="*/ 136 w 201"/>
                  <a:gd name="T17" fmla="*/ 17 h 117"/>
                  <a:gd name="T18" fmla="*/ 132 w 201"/>
                  <a:gd name="T19" fmla="*/ 2 h 117"/>
                  <a:gd name="T20" fmla="*/ 115 w 201"/>
                  <a:gd name="T21" fmla="*/ 2 h 117"/>
                  <a:gd name="T22" fmla="*/ 107 w 201"/>
                  <a:gd name="T23" fmla="*/ 3 h 117"/>
                  <a:gd name="T24" fmla="*/ 93 w 201"/>
                  <a:gd name="T25" fmla="*/ 12 h 117"/>
                  <a:gd name="T26" fmla="*/ 81 w 201"/>
                  <a:gd name="T27" fmla="*/ 15 h 117"/>
                  <a:gd name="T28" fmla="*/ 66 w 201"/>
                  <a:gd name="T29" fmla="*/ 12 h 117"/>
                  <a:gd name="T30" fmla="*/ 48 w 201"/>
                  <a:gd name="T31" fmla="*/ 9 h 117"/>
                  <a:gd name="T32" fmla="*/ 21 w 201"/>
                  <a:gd name="T33" fmla="*/ 11 h 117"/>
                  <a:gd name="T34" fmla="*/ 16 w 201"/>
                  <a:gd name="T35" fmla="*/ 16 h 117"/>
                  <a:gd name="T36" fmla="*/ 16 w 201"/>
                  <a:gd name="T37" fmla="*/ 31 h 117"/>
                  <a:gd name="T38" fmla="*/ 5 w 201"/>
                  <a:gd name="T39" fmla="*/ 50 h 117"/>
                  <a:gd name="T40" fmla="*/ 5 w 201"/>
                  <a:gd name="T41" fmla="*/ 64 h 117"/>
                  <a:gd name="T42" fmla="*/ 12 w 201"/>
                  <a:gd name="T43" fmla="*/ 65 h 117"/>
                  <a:gd name="T44" fmla="*/ 30 w 201"/>
                  <a:gd name="T45" fmla="*/ 69 h 117"/>
                  <a:gd name="T46" fmla="*/ 40 w 201"/>
                  <a:gd name="T47" fmla="*/ 67 h 117"/>
                  <a:gd name="T48" fmla="*/ 60 w 201"/>
                  <a:gd name="T49" fmla="*/ 59 h 117"/>
                  <a:gd name="T50" fmla="*/ 77 w 201"/>
                  <a:gd name="T51" fmla="*/ 70 h 117"/>
                  <a:gd name="T52" fmla="*/ 87 w 201"/>
                  <a:gd name="T53" fmla="*/ 88 h 117"/>
                  <a:gd name="T54" fmla="*/ 75 w 201"/>
                  <a:gd name="T55" fmla="*/ 92 h 117"/>
                  <a:gd name="T56" fmla="*/ 73 w 201"/>
                  <a:gd name="T57" fmla="*/ 105 h 117"/>
                  <a:gd name="T58" fmla="*/ 83 w 201"/>
                  <a:gd name="T59" fmla="*/ 105 h 117"/>
                  <a:gd name="T60" fmla="*/ 98 w 201"/>
                  <a:gd name="T61" fmla="*/ 85 h 117"/>
                  <a:gd name="T62" fmla="*/ 112 w 201"/>
                  <a:gd name="T63" fmla="*/ 91 h 117"/>
                  <a:gd name="T64" fmla="*/ 115 w 201"/>
                  <a:gd name="T65" fmla="*/ 102 h 117"/>
                  <a:gd name="T66" fmla="*/ 127 w 201"/>
                  <a:gd name="T67" fmla="*/ 116 h 117"/>
                  <a:gd name="T68" fmla="*/ 147 w 201"/>
                  <a:gd name="T69" fmla="*/ 109 h 117"/>
                  <a:gd name="T70" fmla="*/ 150 w 201"/>
                  <a:gd name="T71" fmla="*/ 104 h 117"/>
                  <a:gd name="T72" fmla="*/ 155 w 201"/>
                  <a:gd name="T73" fmla="*/ 85 h 117"/>
                  <a:gd name="T74" fmla="*/ 179 w 201"/>
                  <a:gd name="T75" fmla="*/ 7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1" h="117">
                    <a:moveTo>
                      <a:pt x="179" y="73"/>
                    </a:moveTo>
                    <a:cubicBezTo>
                      <a:pt x="181" y="73"/>
                      <a:pt x="186" y="67"/>
                      <a:pt x="188" y="67"/>
                    </a:cubicBezTo>
                    <a:cubicBezTo>
                      <a:pt x="190" y="67"/>
                      <a:pt x="197" y="69"/>
                      <a:pt x="197" y="67"/>
                    </a:cubicBezTo>
                    <a:cubicBezTo>
                      <a:pt x="197" y="66"/>
                      <a:pt x="200" y="62"/>
                      <a:pt x="199" y="61"/>
                    </a:cubicBezTo>
                    <a:cubicBezTo>
                      <a:pt x="199" y="59"/>
                      <a:pt x="196" y="58"/>
                      <a:pt x="197" y="56"/>
                    </a:cubicBezTo>
                    <a:cubicBezTo>
                      <a:pt x="197" y="55"/>
                      <a:pt x="201" y="55"/>
                      <a:pt x="201" y="54"/>
                    </a:cubicBezTo>
                    <a:cubicBezTo>
                      <a:pt x="201" y="52"/>
                      <a:pt x="198" y="51"/>
                      <a:pt x="198" y="50"/>
                    </a:cubicBezTo>
                    <a:cubicBezTo>
                      <a:pt x="198" y="49"/>
                      <a:pt x="201" y="48"/>
                      <a:pt x="201" y="46"/>
                    </a:cubicBezTo>
                    <a:cubicBezTo>
                      <a:pt x="201" y="44"/>
                      <a:pt x="198" y="43"/>
                      <a:pt x="195" y="42"/>
                    </a:cubicBezTo>
                    <a:cubicBezTo>
                      <a:pt x="191" y="40"/>
                      <a:pt x="188" y="41"/>
                      <a:pt x="185" y="39"/>
                    </a:cubicBezTo>
                    <a:cubicBezTo>
                      <a:pt x="182" y="38"/>
                      <a:pt x="176" y="39"/>
                      <a:pt x="176" y="38"/>
                    </a:cubicBezTo>
                    <a:cubicBezTo>
                      <a:pt x="176" y="37"/>
                      <a:pt x="172" y="33"/>
                      <a:pt x="171" y="32"/>
                    </a:cubicBezTo>
                    <a:cubicBezTo>
                      <a:pt x="170" y="30"/>
                      <a:pt x="167" y="31"/>
                      <a:pt x="165" y="32"/>
                    </a:cubicBezTo>
                    <a:cubicBezTo>
                      <a:pt x="163" y="33"/>
                      <a:pt x="161" y="34"/>
                      <a:pt x="159" y="33"/>
                    </a:cubicBezTo>
                    <a:cubicBezTo>
                      <a:pt x="157" y="31"/>
                      <a:pt x="155" y="29"/>
                      <a:pt x="153" y="30"/>
                    </a:cubicBezTo>
                    <a:cubicBezTo>
                      <a:pt x="152" y="31"/>
                      <a:pt x="148" y="30"/>
                      <a:pt x="149" y="28"/>
                    </a:cubicBezTo>
                    <a:cubicBezTo>
                      <a:pt x="150" y="25"/>
                      <a:pt x="146" y="20"/>
                      <a:pt x="144" y="19"/>
                    </a:cubicBezTo>
                    <a:cubicBezTo>
                      <a:pt x="142" y="18"/>
                      <a:pt x="137" y="20"/>
                      <a:pt x="136" y="17"/>
                    </a:cubicBezTo>
                    <a:cubicBezTo>
                      <a:pt x="135" y="15"/>
                      <a:pt x="132" y="13"/>
                      <a:pt x="133" y="11"/>
                    </a:cubicBezTo>
                    <a:cubicBezTo>
                      <a:pt x="134" y="9"/>
                      <a:pt x="133" y="4"/>
                      <a:pt x="132" y="2"/>
                    </a:cubicBezTo>
                    <a:cubicBezTo>
                      <a:pt x="131" y="0"/>
                      <a:pt x="124" y="1"/>
                      <a:pt x="123" y="1"/>
                    </a:cubicBezTo>
                    <a:cubicBezTo>
                      <a:pt x="121" y="2"/>
                      <a:pt x="117" y="1"/>
                      <a:pt x="115" y="2"/>
                    </a:cubicBezTo>
                    <a:cubicBezTo>
                      <a:pt x="113" y="3"/>
                      <a:pt x="112" y="4"/>
                      <a:pt x="110" y="4"/>
                    </a:cubicBezTo>
                    <a:cubicBezTo>
                      <a:pt x="108" y="4"/>
                      <a:pt x="108" y="4"/>
                      <a:pt x="107" y="3"/>
                    </a:cubicBezTo>
                    <a:cubicBezTo>
                      <a:pt x="104" y="4"/>
                      <a:pt x="100" y="5"/>
                      <a:pt x="100" y="5"/>
                    </a:cubicBezTo>
                    <a:cubicBezTo>
                      <a:pt x="100" y="5"/>
                      <a:pt x="93" y="10"/>
                      <a:pt x="93" y="12"/>
                    </a:cubicBezTo>
                    <a:cubicBezTo>
                      <a:pt x="93" y="14"/>
                      <a:pt x="93" y="17"/>
                      <a:pt x="91" y="16"/>
                    </a:cubicBezTo>
                    <a:cubicBezTo>
                      <a:pt x="89" y="14"/>
                      <a:pt x="82" y="14"/>
                      <a:pt x="81" y="15"/>
                    </a:cubicBezTo>
                    <a:cubicBezTo>
                      <a:pt x="79" y="16"/>
                      <a:pt x="76" y="11"/>
                      <a:pt x="73" y="13"/>
                    </a:cubicBezTo>
                    <a:cubicBezTo>
                      <a:pt x="70" y="14"/>
                      <a:pt x="66" y="10"/>
                      <a:pt x="66" y="12"/>
                    </a:cubicBezTo>
                    <a:cubicBezTo>
                      <a:pt x="66" y="14"/>
                      <a:pt x="61" y="12"/>
                      <a:pt x="58" y="11"/>
                    </a:cubicBezTo>
                    <a:cubicBezTo>
                      <a:pt x="55" y="10"/>
                      <a:pt x="50" y="12"/>
                      <a:pt x="48" y="9"/>
                    </a:cubicBezTo>
                    <a:cubicBezTo>
                      <a:pt x="46" y="7"/>
                      <a:pt x="33" y="7"/>
                      <a:pt x="29" y="7"/>
                    </a:cubicBezTo>
                    <a:cubicBezTo>
                      <a:pt x="24" y="7"/>
                      <a:pt x="23" y="9"/>
                      <a:pt x="21" y="11"/>
                    </a:cubicBezTo>
                    <a:cubicBezTo>
                      <a:pt x="19" y="13"/>
                      <a:pt x="17" y="13"/>
                      <a:pt x="15" y="13"/>
                    </a:cubicBezTo>
                    <a:cubicBezTo>
                      <a:pt x="15" y="14"/>
                      <a:pt x="16" y="16"/>
                      <a:pt x="16" y="16"/>
                    </a:cubicBezTo>
                    <a:cubicBezTo>
                      <a:pt x="17" y="18"/>
                      <a:pt x="22" y="25"/>
                      <a:pt x="21" y="27"/>
                    </a:cubicBezTo>
                    <a:cubicBezTo>
                      <a:pt x="19" y="30"/>
                      <a:pt x="17" y="30"/>
                      <a:pt x="16" y="31"/>
                    </a:cubicBezTo>
                    <a:cubicBezTo>
                      <a:pt x="14" y="33"/>
                      <a:pt x="5" y="41"/>
                      <a:pt x="5" y="42"/>
                    </a:cubicBezTo>
                    <a:cubicBezTo>
                      <a:pt x="5" y="43"/>
                      <a:pt x="7" y="49"/>
                      <a:pt x="5" y="50"/>
                    </a:cubicBezTo>
                    <a:cubicBezTo>
                      <a:pt x="4" y="51"/>
                      <a:pt x="0" y="56"/>
                      <a:pt x="0" y="58"/>
                    </a:cubicBezTo>
                    <a:cubicBezTo>
                      <a:pt x="0" y="60"/>
                      <a:pt x="3" y="63"/>
                      <a:pt x="5" y="64"/>
                    </a:cubicBezTo>
                    <a:cubicBezTo>
                      <a:pt x="6" y="64"/>
                      <a:pt x="7" y="64"/>
                      <a:pt x="7" y="65"/>
                    </a:cubicBezTo>
                    <a:cubicBezTo>
                      <a:pt x="9" y="65"/>
                      <a:pt x="11" y="65"/>
                      <a:pt x="12" y="65"/>
                    </a:cubicBezTo>
                    <a:cubicBezTo>
                      <a:pt x="13" y="65"/>
                      <a:pt x="21" y="67"/>
                      <a:pt x="23" y="67"/>
                    </a:cubicBezTo>
                    <a:cubicBezTo>
                      <a:pt x="25" y="67"/>
                      <a:pt x="29" y="68"/>
                      <a:pt x="30" y="69"/>
                    </a:cubicBezTo>
                    <a:cubicBezTo>
                      <a:pt x="31" y="70"/>
                      <a:pt x="33" y="69"/>
                      <a:pt x="35" y="67"/>
                    </a:cubicBezTo>
                    <a:cubicBezTo>
                      <a:pt x="36" y="66"/>
                      <a:pt x="38" y="67"/>
                      <a:pt x="40" y="67"/>
                    </a:cubicBezTo>
                    <a:cubicBezTo>
                      <a:pt x="42" y="67"/>
                      <a:pt x="46" y="65"/>
                      <a:pt x="47" y="63"/>
                    </a:cubicBezTo>
                    <a:cubicBezTo>
                      <a:pt x="48" y="62"/>
                      <a:pt x="58" y="59"/>
                      <a:pt x="60" y="59"/>
                    </a:cubicBezTo>
                    <a:cubicBezTo>
                      <a:pt x="63" y="58"/>
                      <a:pt x="67" y="64"/>
                      <a:pt x="69" y="64"/>
                    </a:cubicBezTo>
                    <a:cubicBezTo>
                      <a:pt x="72" y="64"/>
                      <a:pt x="76" y="65"/>
                      <a:pt x="77" y="70"/>
                    </a:cubicBezTo>
                    <a:cubicBezTo>
                      <a:pt x="79" y="74"/>
                      <a:pt x="83" y="79"/>
                      <a:pt x="84" y="81"/>
                    </a:cubicBezTo>
                    <a:cubicBezTo>
                      <a:pt x="86" y="83"/>
                      <a:pt x="87" y="87"/>
                      <a:pt x="87" y="88"/>
                    </a:cubicBezTo>
                    <a:cubicBezTo>
                      <a:pt x="87" y="90"/>
                      <a:pt x="83" y="88"/>
                      <a:pt x="79" y="87"/>
                    </a:cubicBezTo>
                    <a:cubicBezTo>
                      <a:pt x="75" y="86"/>
                      <a:pt x="75" y="90"/>
                      <a:pt x="75" y="92"/>
                    </a:cubicBezTo>
                    <a:cubicBezTo>
                      <a:pt x="75" y="94"/>
                      <a:pt x="69" y="101"/>
                      <a:pt x="68" y="102"/>
                    </a:cubicBezTo>
                    <a:cubicBezTo>
                      <a:pt x="67" y="104"/>
                      <a:pt x="70" y="105"/>
                      <a:pt x="73" y="105"/>
                    </a:cubicBezTo>
                    <a:cubicBezTo>
                      <a:pt x="74" y="105"/>
                      <a:pt x="78" y="102"/>
                      <a:pt x="79" y="102"/>
                    </a:cubicBezTo>
                    <a:cubicBezTo>
                      <a:pt x="79" y="102"/>
                      <a:pt x="81" y="104"/>
                      <a:pt x="83" y="105"/>
                    </a:cubicBezTo>
                    <a:cubicBezTo>
                      <a:pt x="82" y="100"/>
                      <a:pt x="84" y="100"/>
                      <a:pt x="88" y="97"/>
                    </a:cubicBezTo>
                    <a:cubicBezTo>
                      <a:pt x="93" y="93"/>
                      <a:pt x="94" y="86"/>
                      <a:pt x="98" y="85"/>
                    </a:cubicBezTo>
                    <a:cubicBezTo>
                      <a:pt x="102" y="84"/>
                      <a:pt x="104" y="82"/>
                      <a:pt x="110" y="83"/>
                    </a:cubicBezTo>
                    <a:cubicBezTo>
                      <a:pt x="117" y="84"/>
                      <a:pt x="107" y="88"/>
                      <a:pt x="112" y="91"/>
                    </a:cubicBezTo>
                    <a:cubicBezTo>
                      <a:pt x="116" y="93"/>
                      <a:pt x="129" y="90"/>
                      <a:pt x="130" y="93"/>
                    </a:cubicBezTo>
                    <a:cubicBezTo>
                      <a:pt x="131" y="97"/>
                      <a:pt x="115" y="100"/>
                      <a:pt x="115" y="102"/>
                    </a:cubicBezTo>
                    <a:cubicBezTo>
                      <a:pt x="115" y="103"/>
                      <a:pt x="123" y="105"/>
                      <a:pt x="126" y="107"/>
                    </a:cubicBezTo>
                    <a:cubicBezTo>
                      <a:pt x="129" y="109"/>
                      <a:pt x="125" y="114"/>
                      <a:pt x="127" y="116"/>
                    </a:cubicBezTo>
                    <a:cubicBezTo>
                      <a:pt x="128" y="117"/>
                      <a:pt x="132" y="116"/>
                      <a:pt x="136" y="113"/>
                    </a:cubicBezTo>
                    <a:cubicBezTo>
                      <a:pt x="139" y="111"/>
                      <a:pt x="142" y="112"/>
                      <a:pt x="147" y="109"/>
                    </a:cubicBezTo>
                    <a:cubicBezTo>
                      <a:pt x="151" y="106"/>
                      <a:pt x="161" y="108"/>
                      <a:pt x="162" y="107"/>
                    </a:cubicBezTo>
                    <a:cubicBezTo>
                      <a:pt x="163" y="105"/>
                      <a:pt x="159" y="103"/>
                      <a:pt x="150" y="104"/>
                    </a:cubicBezTo>
                    <a:cubicBezTo>
                      <a:pt x="142" y="104"/>
                      <a:pt x="141" y="96"/>
                      <a:pt x="141" y="94"/>
                    </a:cubicBezTo>
                    <a:cubicBezTo>
                      <a:pt x="141" y="93"/>
                      <a:pt x="150" y="86"/>
                      <a:pt x="155" y="85"/>
                    </a:cubicBezTo>
                    <a:cubicBezTo>
                      <a:pt x="161" y="85"/>
                      <a:pt x="165" y="83"/>
                      <a:pt x="170" y="81"/>
                    </a:cubicBezTo>
                    <a:cubicBezTo>
                      <a:pt x="172" y="80"/>
                      <a:pt x="175" y="79"/>
                      <a:pt x="179" y="79"/>
                    </a:cubicBezTo>
                    <a:cubicBezTo>
                      <a:pt x="178" y="76"/>
                      <a:pt x="178" y="73"/>
                      <a:pt x="179" y="7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7" name="Freeform 85">
                <a:extLst>
                  <a:ext uri="{FF2B5EF4-FFF2-40B4-BE49-F238E27FC236}">
                    <a16:creationId xmlns:a16="http://schemas.microsoft.com/office/drawing/2014/main" id="{6B8A3301-2005-490F-955F-550587194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2675" y="2540000"/>
                <a:ext cx="233362" cy="166688"/>
              </a:xfrm>
              <a:custGeom>
                <a:avLst/>
                <a:gdLst>
                  <a:gd name="T0" fmla="*/ 99 w 106"/>
                  <a:gd name="T1" fmla="*/ 37 h 76"/>
                  <a:gd name="T2" fmla="*/ 92 w 106"/>
                  <a:gd name="T3" fmla="*/ 31 h 76"/>
                  <a:gd name="T4" fmla="*/ 87 w 106"/>
                  <a:gd name="T5" fmla="*/ 24 h 76"/>
                  <a:gd name="T6" fmla="*/ 86 w 106"/>
                  <a:gd name="T7" fmla="*/ 16 h 76"/>
                  <a:gd name="T8" fmla="*/ 85 w 106"/>
                  <a:gd name="T9" fmla="*/ 8 h 76"/>
                  <a:gd name="T10" fmla="*/ 74 w 106"/>
                  <a:gd name="T11" fmla="*/ 5 h 76"/>
                  <a:gd name="T12" fmla="*/ 68 w 106"/>
                  <a:gd name="T13" fmla="*/ 5 h 76"/>
                  <a:gd name="T14" fmla="*/ 63 w 106"/>
                  <a:gd name="T15" fmla="*/ 2 h 76"/>
                  <a:gd name="T16" fmla="*/ 57 w 106"/>
                  <a:gd name="T17" fmla="*/ 1 h 76"/>
                  <a:gd name="T18" fmla="*/ 56 w 106"/>
                  <a:gd name="T19" fmla="*/ 0 h 76"/>
                  <a:gd name="T20" fmla="*/ 53 w 106"/>
                  <a:gd name="T21" fmla="*/ 1 h 76"/>
                  <a:gd name="T22" fmla="*/ 48 w 106"/>
                  <a:gd name="T23" fmla="*/ 5 h 76"/>
                  <a:gd name="T24" fmla="*/ 41 w 106"/>
                  <a:gd name="T25" fmla="*/ 6 h 76"/>
                  <a:gd name="T26" fmla="*/ 38 w 106"/>
                  <a:gd name="T27" fmla="*/ 12 h 76"/>
                  <a:gd name="T28" fmla="*/ 36 w 106"/>
                  <a:gd name="T29" fmla="*/ 17 h 76"/>
                  <a:gd name="T30" fmla="*/ 33 w 106"/>
                  <a:gd name="T31" fmla="*/ 20 h 76"/>
                  <a:gd name="T32" fmla="*/ 27 w 106"/>
                  <a:gd name="T33" fmla="*/ 25 h 76"/>
                  <a:gd name="T34" fmla="*/ 25 w 106"/>
                  <a:gd name="T35" fmla="*/ 30 h 76"/>
                  <a:gd name="T36" fmla="*/ 18 w 106"/>
                  <a:gd name="T37" fmla="*/ 33 h 76"/>
                  <a:gd name="T38" fmla="*/ 12 w 106"/>
                  <a:gd name="T39" fmla="*/ 35 h 76"/>
                  <a:gd name="T40" fmla="*/ 4 w 106"/>
                  <a:gd name="T41" fmla="*/ 35 h 76"/>
                  <a:gd name="T42" fmla="*/ 4 w 106"/>
                  <a:gd name="T43" fmla="*/ 36 h 76"/>
                  <a:gd name="T44" fmla="*/ 6 w 106"/>
                  <a:gd name="T45" fmla="*/ 44 h 76"/>
                  <a:gd name="T46" fmla="*/ 6 w 106"/>
                  <a:gd name="T47" fmla="*/ 54 h 76"/>
                  <a:gd name="T48" fmla="*/ 0 w 106"/>
                  <a:gd name="T49" fmla="*/ 60 h 76"/>
                  <a:gd name="T50" fmla="*/ 3 w 106"/>
                  <a:gd name="T51" fmla="*/ 65 h 76"/>
                  <a:gd name="T52" fmla="*/ 3 w 106"/>
                  <a:gd name="T53" fmla="*/ 72 h 76"/>
                  <a:gd name="T54" fmla="*/ 9 w 106"/>
                  <a:gd name="T55" fmla="*/ 70 h 76"/>
                  <a:gd name="T56" fmla="*/ 17 w 106"/>
                  <a:gd name="T57" fmla="*/ 66 h 76"/>
                  <a:gd name="T58" fmla="*/ 36 w 106"/>
                  <a:gd name="T59" fmla="*/ 68 h 76"/>
                  <a:gd name="T60" fmla="*/ 46 w 106"/>
                  <a:gd name="T61" fmla="*/ 70 h 76"/>
                  <a:gd name="T62" fmla="*/ 54 w 106"/>
                  <a:gd name="T63" fmla="*/ 71 h 76"/>
                  <a:gd name="T64" fmla="*/ 61 w 106"/>
                  <a:gd name="T65" fmla="*/ 72 h 76"/>
                  <a:gd name="T66" fmla="*/ 69 w 106"/>
                  <a:gd name="T67" fmla="*/ 74 h 76"/>
                  <a:gd name="T68" fmla="*/ 79 w 106"/>
                  <a:gd name="T69" fmla="*/ 75 h 76"/>
                  <a:gd name="T70" fmla="*/ 81 w 106"/>
                  <a:gd name="T71" fmla="*/ 71 h 76"/>
                  <a:gd name="T72" fmla="*/ 88 w 106"/>
                  <a:gd name="T73" fmla="*/ 64 h 76"/>
                  <a:gd name="T74" fmla="*/ 95 w 106"/>
                  <a:gd name="T75" fmla="*/ 62 h 76"/>
                  <a:gd name="T76" fmla="*/ 93 w 106"/>
                  <a:gd name="T77" fmla="*/ 57 h 76"/>
                  <a:gd name="T78" fmla="*/ 91 w 106"/>
                  <a:gd name="T79" fmla="*/ 47 h 76"/>
                  <a:gd name="T80" fmla="*/ 99 w 106"/>
                  <a:gd name="T81" fmla="*/ 48 h 76"/>
                  <a:gd name="T82" fmla="*/ 105 w 106"/>
                  <a:gd name="T83" fmla="*/ 43 h 76"/>
                  <a:gd name="T84" fmla="*/ 99 w 106"/>
                  <a:gd name="T85" fmla="*/ 3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6" h="76">
                    <a:moveTo>
                      <a:pt x="99" y="37"/>
                    </a:moveTo>
                    <a:cubicBezTo>
                      <a:pt x="97" y="37"/>
                      <a:pt x="96" y="32"/>
                      <a:pt x="92" y="31"/>
                    </a:cubicBezTo>
                    <a:cubicBezTo>
                      <a:pt x="89" y="30"/>
                      <a:pt x="90" y="26"/>
                      <a:pt x="87" y="24"/>
                    </a:cubicBezTo>
                    <a:cubicBezTo>
                      <a:pt x="84" y="22"/>
                      <a:pt x="86" y="19"/>
                      <a:pt x="86" y="16"/>
                    </a:cubicBezTo>
                    <a:cubicBezTo>
                      <a:pt x="86" y="13"/>
                      <a:pt x="86" y="9"/>
                      <a:pt x="85" y="8"/>
                    </a:cubicBezTo>
                    <a:cubicBezTo>
                      <a:pt x="83" y="7"/>
                      <a:pt x="77" y="4"/>
                      <a:pt x="74" y="5"/>
                    </a:cubicBezTo>
                    <a:cubicBezTo>
                      <a:pt x="72" y="6"/>
                      <a:pt x="70" y="7"/>
                      <a:pt x="68" y="5"/>
                    </a:cubicBezTo>
                    <a:cubicBezTo>
                      <a:pt x="67" y="3"/>
                      <a:pt x="65" y="2"/>
                      <a:pt x="63" y="2"/>
                    </a:cubicBezTo>
                    <a:cubicBezTo>
                      <a:pt x="60" y="3"/>
                      <a:pt x="58" y="2"/>
                      <a:pt x="57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0"/>
                      <a:pt x="53" y="1"/>
                    </a:cubicBezTo>
                    <a:cubicBezTo>
                      <a:pt x="51" y="3"/>
                      <a:pt x="51" y="5"/>
                      <a:pt x="48" y="5"/>
                    </a:cubicBezTo>
                    <a:cubicBezTo>
                      <a:pt x="46" y="5"/>
                      <a:pt x="43" y="4"/>
                      <a:pt x="41" y="6"/>
                    </a:cubicBezTo>
                    <a:cubicBezTo>
                      <a:pt x="38" y="8"/>
                      <a:pt x="37" y="11"/>
                      <a:pt x="38" y="12"/>
                    </a:cubicBezTo>
                    <a:cubicBezTo>
                      <a:pt x="38" y="14"/>
                      <a:pt x="38" y="17"/>
                      <a:pt x="36" y="17"/>
                    </a:cubicBezTo>
                    <a:cubicBezTo>
                      <a:pt x="34" y="17"/>
                      <a:pt x="35" y="19"/>
                      <a:pt x="33" y="20"/>
                    </a:cubicBezTo>
                    <a:cubicBezTo>
                      <a:pt x="31" y="20"/>
                      <a:pt x="27" y="23"/>
                      <a:pt x="27" y="25"/>
                    </a:cubicBezTo>
                    <a:cubicBezTo>
                      <a:pt x="27" y="27"/>
                      <a:pt x="27" y="30"/>
                      <a:pt x="25" y="30"/>
                    </a:cubicBezTo>
                    <a:cubicBezTo>
                      <a:pt x="24" y="30"/>
                      <a:pt x="19" y="31"/>
                      <a:pt x="18" y="33"/>
                    </a:cubicBezTo>
                    <a:cubicBezTo>
                      <a:pt x="17" y="34"/>
                      <a:pt x="15" y="36"/>
                      <a:pt x="12" y="35"/>
                    </a:cubicBezTo>
                    <a:cubicBezTo>
                      <a:pt x="11" y="35"/>
                      <a:pt x="7" y="35"/>
                      <a:pt x="4" y="35"/>
                    </a:cubicBezTo>
                    <a:cubicBezTo>
                      <a:pt x="4" y="35"/>
                      <a:pt x="4" y="35"/>
                      <a:pt x="4" y="36"/>
                    </a:cubicBezTo>
                    <a:cubicBezTo>
                      <a:pt x="3" y="39"/>
                      <a:pt x="4" y="42"/>
                      <a:pt x="6" y="44"/>
                    </a:cubicBezTo>
                    <a:cubicBezTo>
                      <a:pt x="8" y="46"/>
                      <a:pt x="8" y="53"/>
                      <a:pt x="6" y="54"/>
                    </a:cubicBezTo>
                    <a:cubicBezTo>
                      <a:pt x="4" y="55"/>
                      <a:pt x="0" y="58"/>
                      <a:pt x="0" y="60"/>
                    </a:cubicBezTo>
                    <a:cubicBezTo>
                      <a:pt x="0" y="61"/>
                      <a:pt x="4" y="63"/>
                      <a:pt x="3" y="65"/>
                    </a:cubicBezTo>
                    <a:cubicBezTo>
                      <a:pt x="3" y="67"/>
                      <a:pt x="3" y="69"/>
                      <a:pt x="3" y="72"/>
                    </a:cubicBezTo>
                    <a:cubicBezTo>
                      <a:pt x="5" y="72"/>
                      <a:pt x="7" y="72"/>
                      <a:pt x="9" y="70"/>
                    </a:cubicBezTo>
                    <a:cubicBezTo>
                      <a:pt x="11" y="68"/>
                      <a:pt x="12" y="66"/>
                      <a:pt x="17" y="66"/>
                    </a:cubicBezTo>
                    <a:cubicBezTo>
                      <a:pt x="21" y="66"/>
                      <a:pt x="34" y="66"/>
                      <a:pt x="36" y="68"/>
                    </a:cubicBezTo>
                    <a:cubicBezTo>
                      <a:pt x="38" y="71"/>
                      <a:pt x="43" y="69"/>
                      <a:pt x="46" y="70"/>
                    </a:cubicBezTo>
                    <a:cubicBezTo>
                      <a:pt x="49" y="71"/>
                      <a:pt x="54" y="73"/>
                      <a:pt x="54" y="71"/>
                    </a:cubicBezTo>
                    <a:cubicBezTo>
                      <a:pt x="54" y="69"/>
                      <a:pt x="58" y="73"/>
                      <a:pt x="61" y="72"/>
                    </a:cubicBezTo>
                    <a:cubicBezTo>
                      <a:pt x="64" y="70"/>
                      <a:pt x="67" y="75"/>
                      <a:pt x="69" y="74"/>
                    </a:cubicBezTo>
                    <a:cubicBezTo>
                      <a:pt x="70" y="73"/>
                      <a:pt x="77" y="73"/>
                      <a:pt x="79" y="75"/>
                    </a:cubicBezTo>
                    <a:cubicBezTo>
                      <a:pt x="81" y="76"/>
                      <a:pt x="81" y="73"/>
                      <a:pt x="81" y="71"/>
                    </a:cubicBezTo>
                    <a:cubicBezTo>
                      <a:pt x="81" y="69"/>
                      <a:pt x="88" y="64"/>
                      <a:pt x="88" y="64"/>
                    </a:cubicBezTo>
                    <a:cubicBezTo>
                      <a:pt x="88" y="64"/>
                      <a:pt x="92" y="63"/>
                      <a:pt x="95" y="62"/>
                    </a:cubicBezTo>
                    <a:cubicBezTo>
                      <a:pt x="94" y="61"/>
                      <a:pt x="94" y="60"/>
                      <a:pt x="93" y="57"/>
                    </a:cubicBezTo>
                    <a:cubicBezTo>
                      <a:pt x="92" y="52"/>
                      <a:pt x="90" y="49"/>
                      <a:pt x="91" y="47"/>
                    </a:cubicBezTo>
                    <a:cubicBezTo>
                      <a:pt x="93" y="45"/>
                      <a:pt x="97" y="49"/>
                      <a:pt x="99" y="48"/>
                    </a:cubicBezTo>
                    <a:cubicBezTo>
                      <a:pt x="102" y="47"/>
                      <a:pt x="106" y="45"/>
                      <a:pt x="105" y="43"/>
                    </a:cubicBezTo>
                    <a:cubicBezTo>
                      <a:pt x="105" y="41"/>
                      <a:pt x="101" y="38"/>
                      <a:pt x="99" y="3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8" name="Freeform 86">
                <a:extLst>
                  <a:ext uri="{FF2B5EF4-FFF2-40B4-BE49-F238E27FC236}">
                    <a16:creationId xmlns:a16="http://schemas.microsoft.com/office/drawing/2014/main" id="{7FD05730-7FB3-4128-A1BE-E845FD058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2471738"/>
                <a:ext cx="182562" cy="87313"/>
              </a:xfrm>
              <a:custGeom>
                <a:avLst/>
                <a:gdLst>
                  <a:gd name="T0" fmla="*/ 28 w 83"/>
                  <a:gd name="T1" fmla="*/ 28 h 40"/>
                  <a:gd name="T2" fmla="*/ 42 w 83"/>
                  <a:gd name="T3" fmla="*/ 28 h 40"/>
                  <a:gd name="T4" fmla="*/ 49 w 83"/>
                  <a:gd name="T5" fmla="*/ 30 h 40"/>
                  <a:gd name="T6" fmla="*/ 60 w 83"/>
                  <a:gd name="T7" fmla="*/ 36 h 40"/>
                  <a:gd name="T8" fmla="*/ 65 w 83"/>
                  <a:gd name="T9" fmla="*/ 40 h 40"/>
                  <a:gd name="T10" fmla="*/ 68 w 83"/>
                  <a:gd name="T11" fmla="*/ 37 h 40"/>
                  <a:gd name="T12" fmla="*/ 75 w 83"/>
                  <a:gd name="T13" fmla="*/ 36 h 40"/>
                  <a:gd name="T14" fmla="*/ 80 w 83"/>
                  <a:gd name="T15" fmla="*/ 32 h 40"/>
                  <a:gd name="T16" fmla="*/ 83 w 83"/>
                  <a:gd name="T17" fmla="*/ 31 h 40"/>
                  <a:gd name="T18" fmla="*/ 81 w 83"/>
                  <a:gd name="T19" fmla="*/ 24 h 40"/>
                  <a:gd name="T20" fmla="*/ 77 w 83"/>
                  <a:gd name="T21" fmla="*/ 17 h 40"/>
                  <a:gd name="T22" fmla="*/ 76 w 83"/>
                  <a:gd name="T23" fmla="*/ 11 h 40"/>
                  <a:gd name="T24" fmla="*/ 74 w 83"/>
                  <a:gd name="T25" fmla="*/ 8 h 40"/>
                  <a:gd name="T26" fmla="*/ 63 w 83"/>
                  <a:gd name="T27" fmla="*/ 8 h 40"/>
                  <a:gd name="T28" fmla="*/ 52 w 83"/>
                  <a:gd name="T29" fmla="*/ 1 h 40"/>
                  <a:gd name="T30" fmla="*/ 40 w 83"/>
                  <a:gd name="T31" fmla="*/ 1 h 40"/>
                  <a:gd name="T32" fmla="*/ 39 w 83"/>
                  <a:gd name="T33" fmla="*/ 12 h 40"/>
                  <a:gd name="T34" fmla="*/ 30 w 83"/>
                  <a:gd name="T35" fmla="*/ 17 h 40"/>
                  <a:gd name="T36" fmla="*/ 20 w 83"/>
                  <a:gd name="T37" fmla="*/ 5 h 40"/>
                  <a:gd name="T38" fmla="*/ 9 w 83"/>
                  <a:gd name="T39" fmla="*/ 10 h 40"/>
                  <a:gd name="T40" fmla="*/ 4 w 83"/>
                  <a:gd name="T41" fmla="*/ 19 h 40"/>
                  <a:gd name="T42" fmla="*/ 3 w 83"/>
                  <a:gd name="T43" fmla="*/ 30 h 40"/>
                  <a:gd name="T44" fmla="*/ 3 w 83"/>
                  <a:gd name="T45" fmla="*/ 30 h 40"/>
                  <a:gd name="T46" fmla="*/ 12 w 83"/>
                  <a:gd name="T47" fmla="*/ 28 h 40"/>
                  <a:gd name="T48" fmla="*/ 28 w 83"/>
                  <a:gd name="T49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3" h="40">
                    <a:moveTo>
                      <a:pt x="28" y="28"/>
                    </a:moveTo>
                    <a:cubicBezTo>
                      <a:pt x="31" y="28"/>
                      <a:pt x="38" y="29"/>
                      <a:pt x="42" y="28"/>
                    </a:cubicBezTo>
                    <a:cubicBezTo>
                      <a:pt x="46" y="26"/>
                      <a:pt x="46" y="31"/>
                      <a:pt x="49" y="30"/>
                    </a:cubicBezTo>
                    <a:cubicBezTo>
                      <a:pt x="51" y="30"/>
                      <a:pt x="57" y="33"/>
                      <a:pt x="60" y="36"/>
                    </a:cubicBezTo>
                    <a:cubicBezTo>
                      <a:pt x="61" y="37"/>
                      <a:pt x="63" y="38"/>
                      <a:pt x="65" y="40"/>
                    </a:cubicBezTo>
                    <a:cubicBezTo>
                      <a:pt x="66" y="39"/>
                      <a:pt x="66" y="38"/>
                      <a:pt x="68" y="37"/>
                    </a:cubicBezTo>
                    <a:cubicBezTo>
                      <a:pt x="70" y="35"/>
                      <a:pt x="73" y="36"/>
                      <a:pt x="75" y="36"/>
                    </a:cubicBezTo>
                    <a:cubicBezTo>
                      <a:pt x="78" y="36"/>
                      <a:pt x="78" y="34"/>
                      <a:pt x="80" y="32"/>
                    </a:cubicBezTo>
                    <a:cubicBezTo>
                      <a:pt x="80" y="31"/>
                      <a:pt x="82" y="31"/>
                      <a:pt x="83" y="31"/>
                    </a:cubicBezTo>
                    <a:cubicBezTo>
                      <a:pt x="82" y="29"/>
                      <a:pt x="82" y="25"/>
                      <a:pt x="81" y="24"/>
                    </a:cubicBezTo>
                    <a:cubicBezTo>
                      <a:pt x="79" y="22"/>
                      <a:pt x="76" y="19"/>
                      <a:pt x="77" y="17"/>
                    </a:cubicBezTo>
                    <a:cubicBezTo>
                      <a:pt x="78" y="16"/>
                      <a:pt x="78" y="13"/>
                      <a:pt x="76" y="11"/>
                    </a:cubicBezTo>
                    <a:cubicBezTo>
                      <a:pt x="75" y="10"/>
                      <a:pt x="74" y="9"/>
                      <a:pt x="74" y="8"/>
                    </a:cubicBezTo>
                    <a:cubicBezTo>
                      <a:pt x="70" y="8"/>
                      <a:pt x="64" y="7"/>
                      <a:pt x="63" y="8"/>
                    </a:cubicBezTo>
                    <a:cubicBezTo>
                      <a:pt x="61" y="8"/>
                      <a:pt x="53" y="2"/>
                      <a:pt x="52" y="1"/>
                    </a:cubicBezTo>
                    <a:cubicBezTo>
                      <a:pt x="51" y="0"/>
                      <a:pt x="45" y="1"/>
                      <a:pt x="40" y="1"/>
                    </a:cubicBezTo>
                    <a:cubicBezTo>
                      <a:pt x="37" y="5"/>
                      <a:pt x="39" y="7"/>
                      <a:pt x="39" y="12"/>
                    </a:cubicBezTo>
                    <a:cubicBezTo>
                      <a:pt x="39" y="18"/>
                      <a:pt x="33" y="17"/>
                      <a:pt x="30" y="17"/>
                    </a:cubicBezTo>
                    <a:cubicBezTo>
                      <a:pt x="26" y="17"/>
                      <a:pt x="21" y="7"/>
                      <a:pt x="20" y="5"/>
                    </a:cubicBezTo>
                    <a:cubicBezTo>
                      <a:pt x="18" y="3"/>
                      <a:pt x="13" y="8"/>
                      <a:pt x="9" y="10"/>
                    </a:cubicBezTo>
                    <a:cubicBezTo>
                      <a:pt x="5" y="12"/>
                      <a:pt x="7" y="17"/>
                      <a:pt x="4" y="19"/>
                    </a:cubicBezTo>
                    <a:cubicBezTo>
                      <a:pt x="2" y="21"/>
                      <a:pt x="0" y="25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6" y="30"/>
                      <a:pt x="10" y="29"/>
                      <a:pt x="12" y="28"/>
                    </a:cubicBezTo>
                    <a:cubicBezTo>
                      <a:pt x="15" y="25"/>
                      <a:pt x="25" y="28"/>
                      <a:pt x="28" y="2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09" name="Freeform 87">
                <a:extLst>
                  <a:ext uri="{FF2B5EF4-FFF2-40B4-BE49-F238E27FC236}">
                    <a16:creationId xmlns:a16="http://schemas.microsoft.com/office/drawing/2014/main" id="{D480428F-D189-4041-8514-6297361C9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2527300"/>
                <a:ext cx="142875" cy="92075"/>
              </a:xfrm>
              <a:custGeom>
                <a:avLst/>
                <a:gdLst>
                  <a:gd name="T0" fmla="*/ 9 w 65"/>
                  <a:gd name="T1" fmla="*/ 21 h 42"/>
                  <a:gd name="T2" fmla="*/ 16 w 65"/>
                  <a:gd name="T3" fmla="*/ 24 h 42"/>
                  <a:gd name="T4" fmla="*/ 22 w 65"/>
                  <a:gd name="T5" fmla="*/ 27 h 42"/>
                  <a:gd name="T6" fmla="*/ 22 w 65"/>
                  <a:gd name="T7" fmla="*/ 35 h 42"/>
                  <a:gd name="T8" fmla="*/ 31 w 65"/>
                  <a:gd name="T9" fmla="*/ 41 h 42"/>
                  <a:gd name="T10" fmla="*/ 39 w 65"/>
                  <a:gd name="T11" fmla="*/ 41 h 42"/>
                  <a:gd name="T12" fmla="*/ 45 w 65"/>
                  <a:gd name="T13" fmla="*/ 39 h 42"/>
                  <a:gd name="T14" fmla="*/ 52 w 65"/>
                  <a:gd name="T15" fmla="*/ 36 h 42"/>
                  <a:gd name="T16" fmla="*/ 54 w 65"/>
                  <a:gd name="T17" fmla="*/ 31 h 42"/>
                  <a:gd name="T18" fmla="*/ 60 w 65"/>
                  <a:gd name="T19" fmla="*/ 26 h 42"/>
                  <a:gd name="T20" fmla="*/ 63 w 65"/>
                  <a:gd name="T21" fmla="*/ 23 h 42"/>
                  <a:gd name="T22" fmla="*/ 65 w 65"/>
                  <a:gd name="T23" fmla="*/ 18 h 42"/>
                  <a:gd name="T24" fmla="*/ 65 w 65"/>
                  <a:gd name="T25" fmla="*/ 15 h 42"/>
                  <a:gd name="T26" fmla="*/ 60 w 65"/>
                  <a:gd name="T27" fmla="*/ 11 h 42"/>
                  <a:gd name="T28" fmla="*/ 49 w 65"/>
                  <a:gd name="T29" fmla="*/ 5 h 42"/>
                  <a:gd name="T30" fmla="*/ 42 w 65"/>
                  <a:gd name="T31" fmla="*/ 3 h 42"/>
                  <a:gd name="T32" fmla="*/ 28 w 65"/>
                  <a:gd name="T33" fmla="*/ 3 h 42"/>
                  <a:gd name="T34" fmla="*/ 12 w 65"/>
                  <a:gd name="T35" fmla="*/ 3 h 42"/>
                  <a:gd name="T36" fmla="*/ 3 w 65"/>
                  <a:gd name="T37" fmla="*/ 5 h 42"/>
                  <a:gd name="T38" fmla="*/ 2 w 65"/>
                  <a:gd name="T39" fmla="*/ 17 h 42"/>
                  <a:gd name="T40" fmla="*/ 2 w 65"/>
                  <a:gd name="T41" fmla="*/ 21 h 42"/>
                  <a:gd name="T42" fmla="*/ 9 w 65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5" h="42">
                    <a:moveTo>
                      <a:pt x="9" y="21"/>
                    </a:moveTo>
                    <a:cubicBezTo>
                      <a:pt x="10" y="23"/>
                      <a:pt x="14" y="24"/>
                      <a:pt x="16" y="24"/>
                    </a:cubicBezTo>
                    <a:cubicBezTo>
                      <a:pt x="17" y="23"/>
                      <a:pt x="22" y="25"/>
                      <a:pt x="22" y="27"/>
                    </a:cubicBezTo>
                    <a:cubicBezTo>
                      <a:pt x="22" y="29"/>
                      <a:pt x="21" y="35"/>
                      <a:pt x="22" y="35"/>
                    </a:cubicBezTo>
                    <a:cubicBezTo>
                      <a:pt x="23" y="35"/>
                      <a:pt x="30" y="38"/>
                      <a:pt x="31" y="41"/>
                    </a:cubicBezTo>
                    <a:cubicBezTo>
                      <a:pt x="34" y="41"/>
                      <a:pt x="38" y="41"/>
                      <a:pt x="39" y="41"/>
                    </a:cubicBezTo>
                    <a:cubicBezTo>
                      <a:pt x="42" y="42"/>
                      <a:pt x="44" y="40"/>
                      <a:pt x="45" y="39"/>
                    </a:cubicBezTo>
                    <a:cubicBezTo>
                      <a:pt x="46" y="37"/>
                      <a:pt x="51" y="36"/>
                      <a:pt x="52" y="36"/>
                    </a:cubicBezTo>
                    <a:cubicBezTo>
                      <a:pt x="54" y="36"/>
                      <a:pt x="54" y="33"/>
                      <a:pt x="54" y="31"/>
                    </a:cubicBezTo>
                    <a:cubicBezTo>
                      <a:pt x="54" y="29"/>
                      <a:pt x="58" y="26"/>
                      <a:pt x="60" y="26"/>
                    </a:cubicBezTo>
                    <a:cubicBezTo>
                      <a:pt x="62" y="25"/>
                      <a:pt x="61" y="23"/>
                      <a:pt x="63" y="23"/>
                    </a:cubicBezTo>
                    <a:cubicBezTo>
                      <a:pt x="65" y="23"/>
                      <a:pt x="65" y="20"/>
                      <a:pt x="65" y="18"/>
                    </a:cubicBezTo>
                    <a:cubicBezTo>
                      <a:pt x="64" y="17"/>
                      <a:pt x="65" y="16"/>
                      <a:pt x="65" y="15"/>
                    </a:cubicBezTo>
                    <a:cubicBezTo>
                      <a:pt x="63" y="13"/>
                      <a:pt x="61" y="12"/>
                      <a:pt x="60" y="11"/>
                    </a:cubicBezTo>
                    <a:cubicBezTo>
                      <a:pt x="57" y="8"/>
                      <a:pt x="51" y="5"/>
                      <a:pt x="49" y="5"/>
                    </a:cubicBezTo>
                    <a:cubicBezTo>
                      <a:pt x="46" y="6"/>
                      <a:pt x="46" y="1"/>
                      <a:pt x="42" y="3"/>
                    </a:cubicBezTo>
                    <a:cubicBezTo>
                      <a:pt x="38" y="4"/>
                      <a:pt x="31" y="3"/>
                      <a:pt x="28" y="3"/>
                    </a:cubicBezTo>
                    <a:cubicBezTo>
                      <a:pt x="25" y="3"/>
                      <a:pt x="15" y="0"/>
                      <a:pt x="12" y="3"/>
                    </a:cubicBezTo>
                    <a:cubicBezTo>
                      <a:pt x="10" y="4"/>
                      <a:pt x="6" y="5"/>
                      <a:pt x="3" y="5"/>
                    </a:cubicBezTo>
                    <a:cubicBezTo>
                      <a:pt x="5" y="10"/>
                      <a:pt x="4" y="15"/>
                      <a:pt x="2" y="17"/>
                    </a:cubicBezTo>
                    <a:cubicBezTo>
                      <a:pt x="0" y="19"/>
                      <a:pt x="1" y="20"/>
                      <a:pt x="2" y="21"/>
                    </a:cubicBezTo>
                    <a:cubicBezTo>
                      <a:pt x="5" y="20"/>
                      <a:pt x="8" y="20"/>
                      <a:pt x="9" y="2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0" name="Freeform 88">
                <a:extLst>
                  <a:ext uri="{FF2B5EF4-FFF2-40B4-BE49-F238E27FC236}">
                    <a16:creationId xmlns:a16="http://schemas.microsoft.com/office/drawing/2014/main" id="{2586EE22-691F-4763-8787-7AD3EA171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925" y="2825750"/>
                <a:ext cx="112712" cy="60325"/>
              </a:xfrm>
              <a:custGeom>
                <a:avLst/>
                <a:gdLst>
                  <a:gd name="T0" fmla="*/ 45 w 51"/>
                  <a:gd name="T1" fmla="*/ 11 h 28"/>
                  <a:gd name="T2" fmla="*/ 39 w 51"/>
                  <a:gd name="T3" fmla="*/ 8 h 28"/>
                  <a:gd name="T4" fmla="*/ 39 w 51"/>
                  <a:gd name="T5" fmla="*/ 3 h 28"/>
                  <a:gd name="T6" fmla="*/ 33 w 51"/>
                  <a:gd name="T7" fmla="*/ 1 h 28"/>
                  <a:gd name="T8" fmla="*/ 25 w 51"/>
                  <a:gd name="T9" fmla="*/ 1 h 28"/>
                  <a:gd name="T10" fmla="*/ 16 w 51"/>
                  <a:gd name="T11" fmla="*/ 1 h 28"/>
                  <a:gd name="T12" fmla="*/ 14 w 51"/>
                  <a:gd name="T13" fmla="*/ 3 h 28"/>
                  <a:gd name="T14" fmla="*/ 8 w 51"/>
                  <a:gd name="T15" fmla="*/ 8 h 28"/>
                  <a:gd name="T16" fmla="*/ 1 w 51"/>
                  <a:gd name="T17" fmla="*/ 17 h 28"/>
                  <a:gd name="T18" fmla="*/ 3 w 51"/>
                  <a:gd name="T19" fmla="*/ 20 h 28"/>
                  <a:gd name="T20" fmla="*/ 8 w 51"/>
                  <a:gd name="T21" fmla="*/ 21 h 28"/>
                  <a:gd name="T22" fmla="*/ 10 w 51"/>
                  <a:gd name="T23" fmla="*/ 26 h 28"/>
                  <a:gd name="T24" fmla="*/ 10 w 51"/>
                  <a:gd name="T25" fmla="*/ 27 h 28"/>
                  <a:gd name="T26" fmla="*/ 19 w 51"/>
                  <a:gd name="T27" fmla="*/ 26 h 28"/>
                  <a:gd name="T28" fmla="*/ 25 w 51"/>
                  <a:gd name="T29" fmla="*/ 18 h 28"/>
                  <a:gd name="T30" fmla="*/ 31 w 51"/>
                  <a:gd name="T31" fmla="*/ 26 h 28"/>
                  <a:gd name="T32" fmla="*/ 34 w 51"/>
                  <a:gd name="T33" fmla="*/ 22 h 28"/>
                  <a:gd name="T34" fmla="*/ 38 w 51"/>
                  <a:gd name="T35" fmla="*/ 19 h 28"/>
                  <a:gd name="T36" fmla="*/ 44 w 51"/>
                  <a:gd name="T37" fmla="*/ 18 h 28"/>
                  <a:gd name="T38" fmla="*/ 47 w 51"/>
                  <a:gd name="T39" fmla="*/ 17 h 28"/>
                  <a:gd name="T40" fmla="*/ 49 w 51"/>
                  <a:gd name="T41" fmla="*/ 14 h 28"/>
                  <a:gd name="T42" fmla="*/ 51 w 51"/>
                  <a:gd name="T43" fmla="*/ 12 h 28"/>
                  <a:gd name="T44" fmla="*/ 45 w 51"/>
                  <a:gd name="T45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28">
                    <a:moveTo>
                      <a:pt x="45" y="11"/>
                    </a:moveTo>
                    <a:cubicBezTo>
                      <a:pt x="43" y="12"/>
                      <a:pt x="39" y="9"/>
                      <a:pt x="39" y="8"/>
                    </a:cubicBezTo>
                    <a:cubicBezTo>
                      <a:pt x="39" y="7"/>
                      <a:pt x="39" y="5"/>
                      <a:pt x="39" y="3"/>
                    </a:cubicBezTo>
                    <a:cubicBezTo>
                      <a:pt x="37" y="2"/>
                      <a:pt x="35" y="1"/>
                      <a:pt x="33" y="1"/>
                    </a:cubicBezTo>
                    <a:cubicBezTo>
                      <a:pt x="30" y="0"/>
                      <a:pt x="28" y="0"/>
                      <a:pt x="25" y="1"/>
                    </a:cubicBezTo>
                    <a:cubicBezTo>
                      <a:pt x="23" y="2"/>
                      <a:pt x="19" y="2"/>
                      <a:pt x="16" y="1"/>
                    </a:cubicBezTo>
                    <a:cubicBezTo>
                      <a:pt x="15" y="2"/>
                      <a:pt x="15" y="3"/>
                      <a:pt x="14" y="3"/>
                    </a:cubicBezTo>
                    <a:cubicBezTo>
                      <a:pt x="12" y="3"/>
                      <a:pt x="9" y="5"/>
                      <a:pt x="8" y="8"/>
                    </a:cubicBezTo>
                    <a:cubicBezTo>
                      <a:pt x="8" y="10"/>
                      <a:pt x="3" y="12"/>
                      <a:pt x="1" y="17"/>
                    </a:cubicBezTo>
                    <a:cubicBezTo>
                      <a:pt x="0" y="21"/>
                      <a:pt x="0" y="23"/>
                      <a:pt x="3" y="20"/>
                    </a:cubicBezTo>
                    <a:cubicBezTo>
                      <a:pt x="5" y="18"/>
                      <a:pt x="8" y="19"/>
                      <a:pt x="8" y="21"/>
                    </a:cubicBezTo>
                    <a:cubicBezTo>
                      <a:pt x="8" y="23"/>
                      <a:pt x="11" y="23"/>
                      <a:pt x="10" y="26"/>
                    </a:cubicBezTo>
                    <a:cubicBezTo>
                      <a:pt x="10" y="26"/>
                      <a:pt x="10" y="27"/>
                      <a:pt x="10" y="27"/>
                    </a:cubicBezTo>
                    <a:cubicBezTo>
                      <a:pt x="13" y="26"/>
                      <a:pt x="18" y="26"/>
                      <a:pt x="19" y="26"/>
                    </a:cubicBezTo>
                    <a:cubicBezTo>
                      <a:pt x="22" y="26"/>
                      <a:pt x="24" y="19"/>
                      <a:pt x="25" y="18"/>
                    </a:cubicBezTo>
                    <a:cubicBezTo>
                      <a:pt x="26" y="17"/>
                      <a:pt x="29" y="23"/>
                      <a:pt x="31" y="26"/>
                    </a:cubicBezTo>
                    <a:cubicBezTo>
                      <a:pt x="34" y="28"/>
                      <a:pt x="34" y="24"/>
                      <a:pt x="34" y="22"/>
                    </a:cubicBezTo>
                    <a:cubicBezTo>
                      <a:pt x="34" y="20"/>
                      <a:pt x="37" y="19"/>
                      <a:pt x="38" y="19"/>
                    </a:cubicBezTo>
                    <a:cubicBezTo>
                      <a:pt x="40" y="20"/>
                      <a:pt x="44" y="20"/>
                      <a:pt x="44" y="18"/>
                    </a:cubicBezTo>
                    <a:cubicBezTo>
                      <a:pt x="44" y="16"/>
                      <a:pt x="46" y="17"/>
                      <a:pt x="47" y="17"/>
                    </a:cubicBezTo>
                    <a:cubicBezTo>
                      <a:pt x="48" y="17"/>
                      <a:pt x="49" y="14"/>
                      <a:pt x="49" y="14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49" y="11"/>
                      <a:pt x="47" y="10"/>
                      <a:pt x="45" y="1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1" name="Freeform 89">
                <a:extLst>
                  <a:ext uri="{FF2B5EF4-FFF2-40B4-BE49-F238E27FC236}">
                    <a16:creationId xmlns:a16="http://schemas.microsoft.com/office/drawing/2014/main" id="{3A607A94-DF6B-47C1-8C36-ECBA70C91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8338" y="2587625"/>
                <a:ext cx="222250" cy="250825"/>
              </a:xfrm>
              <a:custGeom>
                <a:avLst/>
                <a:gdLst>
                  <a:gd name="T0" fmla="*/ 13 w 101"/>
                  <a:gd name="T1" fmla="*/ 30 h 114"/>
                  <a:gd name="T2" fmla="*/ 7 w 101"/>
                  <a:gd name="T3" fmla="*/ 35 h 114"/>
                  <a:gd name="T4" fmla="*/ 11 w 101"/>
                  <a:gd name="T5" fmla="*/ 41 h 114"/>
                  <a:gd name="T6" fmla="*/ 8 w 101"/>
                  <a:gd name="T7" fmla="*/ 45 h 114"/>
                  <a:gd name="T8" fmla="*/ 2 w 101"/>
                  <a:gd name="T9" fmla="*/ 48 h 114"/>
                  <a:gd name="T10" fmla="*/ 1 w 101"/>
                  <a:gd name="T11" fmla="*/ 53 h 114"/>
                  <a:gd name="T12" fmla="*/ 0 w 101"/>
                  <a:gd name="T13" fmla="*/ 62 h 114"/>
                  <a:gd name="T14" fmla="*/ 3 w 101"/>
                  <a:gd name="T15" fmla="*/ 69 h 114"/>
                  <a:gd name="T16" fmla="*/ 1 w 101"/>
                  <a:gd name="T17" fmla="*/ 73 h 114"/>
                  <a:gd name="T18" fmla="*/ 4 w 101"/>
                  <a:gd name="T19" fmla="*/ 83 h 114"/>
                  <a:gd name="T20" fmla="*/ 7 w 101"/>
                  <a:gd name="T21" fmla="*/ 84 h 114"/>
                  <a:gd name="T22" fmla="*/ 14 w 101"/>
                  <a:gd name="T23" fmla="*/ 87 h 114"/>
                  <a:gd name="T24" fmla="*/ 20 w 101"/>
                  <a:gd name="T25" fmla="*/ 89 h 114"/>
                  <a:gd name="T26" fmla="*/ 22 w 101"/>
                  <a:gd name="T27" fmla="*/ 93 h 114"/>
                  <a:gd name="T28" fmla="*/ 18 w 101"/>
                  <a:gd name="T29" fmla="*/ 102 h 114"/>
                  <a:gd name="T30" fmla="*/ 17 w 101"/>
                  <a:gd name="T31" fmla="*/ 109 h 114"/>
                  <a:gd name="T32" fmla="*/ 26 w 101"/>
                  <a:gd name="T33" fmla="*/ 109 h 114"/>
                  <a:gd name="T34" fmla="*/ 34 w 101"/>
                  <a:gd name="T35" fmla="*/ 109 h 114"/>
                  <a:gd name="T36" fmla="*/ 40 w 101"/>
                  <a:gd name="T37" fmla="*/ 111 h 114"/>
                  <a:gd name="T38" fmla="*/ 42 w 101"/>
                  <a:gd name="T39" fmla="*/ 110 h 114"/>
                  <a:gd name="T40" fmla="*/ 48 w 101"/>
                  <a:gd name="T41" fmla="*/ 112 h 114"/>
                  <a:gd name="T42" fmla="*/ 55 w 101"/>
                  <a:gd name="T43" fmla="*/ 111 h 114"/>
                  <a:gd name="T44" fmla="*/ 61 w 101"/>
                  <a:gd name="T45" fmla="*/ 110 h 114"/>
                  <a:gd name="T46" fmla="*/ 73 w 101"/>
                  <a:gd name="T47" fmla="*/ 108 h 114"/>
                  <a:gd name="T48" fmla="*/ 77 w 101"/>
                  <a:gd name="T49" fmla="*/ 105 h 114"/>
                  <a:gd name="T50" fmla="*/ 82 w 101"/>
                  <a:gd name="T51" fmla="*/ 98 h 114"/>
                  <a:gd name="T52" fmla="*/ 88 w 101"/>
                  <a:gd name="T53" fmla="*/ 93 h 114"/>
                  <a:gd name="T54" fmla="*/ 76 w 101"/>
                  <a:gd name="T55" fmla="*/ 84 h 114"/>
                  <a:gd name="T56" fmla="*/ 73 w 101"/>
                  <a:gd name="T57" fmla="*/ 75 h 114"/>
                  <a:gd name="T58" fmla="*/ 72 w 101"/>
                  <a:gd name="T59" fmla="*/ 69 h 114"/>
                  <a:gd name="T60" fmla="*/ 84 w 101"/>
                  <a:gd name="T61" fmla="*/ 64 h 114"/>
                  <a:gd name="T62" fmla="*/ 93 w 101"/>
                  <a:gd name="T63" fmla="*/ 60 h 114"/>
                  <a:gd name="T64" fmla="*/ 99 w 101"/>
                  <a:gd name="T65" fmla="*/ 60 h 114"/>
                  <a:gd name="T66" fmla="*/ 99 w 101"/>
                  <a:gd name="T67" fmla="*/ 53 h 114"/>
                  <a:gd name="T68" fmla="*/ 96 w 101"/>
                  <a:gd name="T69" fmla="*/ 44 h 114"/>
                  <a:gd name="T70" fmla="*/ 95 w 101"/>
                  <a:gd name="T71" fmla="*/ 38 h 114"/>
                  <a:gd name="T72" fmla="*/ 92 w 101"/>
                  <a:gd name="T73" fmla="*/ 33 h 114"/>
                  <a:gd name="T74" fmla="*/ 92 w 101"/>
                  <a:gd name="T75" fmla="*/ 28 h 114"/>
                  <a:gd name="T76" fmla="*/ 92 w 101"/>
                  <a:gd name="T77" fmla="*/ 17 h 114"/>
                  <a:gd name="T78" fmla="*/ 92 w 101"/>
                  <a:gd name="T79" fmla="*/ 15 h 114"/>
                  <a:gd name="T80" fmla="*/ 91 w 101"/>
                  <a:gd name="T81" fmla="*/ 14 h 114"/>
                  <a:gd name="T82" fmla="*/ 84 w 101"/>
                  <a:gd name="T83" fmla="*/ 10 h 114"/>
                  <a:gd name="T84" fmla="*/ 85 w 101"/>
                  <a:gd name="T85" fmla="*/ 4 h 114"/>
                  <a:gd name="T86" fmla="*/ 75 w 101"/>
                  <a:gd name="T87" fmla="*/ 6 h 114"/>
                  <a:gd name="T88" fmla="*/ 63 w 101"/>
                  <a:gd name="T89" fmla="*/ 14 h 114"/>
                  <a:gd name="T90" fmla="*/ 57 w 101"/>
                  <a:gd name="T91" fmla="*/ 9 h 114"/>
                  <a:gd name="T92" fmla="*/ 53 w 101"/>
                  <a:gd name="T93" fmla="*/ 7 h 114"/>
                  <a:gd name="T94" fmla="*/ 44 w 101"/>
                  <a:gd name="T95" fmla="*/ 3 h 114"/>
                  <a:gd name="T96" fmla="*/ 44 w 101"/>
                  <a:gd name="T97" fmla="*/ 1 h 114"/>
                  <a:gd name="T98" fmla="*/ 40 w 101"/>
                  <a:gd name="T99" fmla="*/ 1 h 114"/>
                  <a:gd name="T100" fmla="*/ 29 w 101"/>
                  <a:gd name="T101" fmla="*/ 0 h 114"/>
                  <a:gd name="T102" fmla="*/ 31 w 101"/>
                  <a:gd name="T103" fmla="*/ 5 h 114"/>
                  <a:gd name="T104" fmla="*/ 34 w 101"/>
                  <a:gd name="T105" fmla="*/ 15 h 114"/>
                  <a:gd name="T106" fmla="*/ 29 w 101"/>
                  <a:gd name="T107" fmla="*/ 19 h 114"/>
                  <a:gd name="T108" fmla="*/ 21 w 101"/>
                  <a:gd name="T109" fmla="*/ 18 h 114"/>
                  <a:gd name="T110" fmla="*/ 13 w 101"/>
                  <a:gd name="T111" fmla="*/ 20 h 114"/>
                  <a:gd name="T112" fmla="*/ 12 w 101"/>
                  <a:gd name="T113" fmla="*/ 22 h 114"/>
                  <a:gd name="T114" fmla="*/ 13 w 101"/>
                  <a:gd name="T115" fmla="*/ 3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1" h="114">
                    <a:moveTo>
                      <a:pt x="13" y="30"/>
                    </a:moveTo>
                    <a:cubicBezTo>
                      <a:pt x="10" y="34"/>
                      <a:pt x="6" y="34"/>
                      <a:pt x="7" y="35"/>
                    </a:cubicBezTo>
                    <a:cubicBezTo>
                      <a:pt x="8" y="36"/>
                      <a:pt x="12" y="39"/>
                      <a:pt x="11" y="41"/>
                    </a:cubicBezTo>
                    <a:cubicBezTo>
                      <a:pt x="10" y="43"/>
                      <a:pt x="8" y="42"/>
                      <a:pt x="8" y="45"/>
                    </a:cubicBezTo>
                    <a:cubicBezTo>
                      <a:pt x="8" y="48"/>
                      <a:pt x="4" y="48"/>
                      <a:pt x="2" y="48"/>
                    </a:cubicBezTo>
                    <a:cubicBezTo>
                      <a:pt x="0" y="48"/>
                      <a:pt x="2" y="51"/>
                      <a:pt x="1" y="53"/>
                    </a:cubicBezTo>
                    <a:cubicBezTo>
                      <a:pt x="0" y="55"/>
                      <a:pt x="0" y="60"/>
                      <a:pt x="0" y="62"/>
                    </a:cubicBezTo>
                    <a:cubicBezTo>
                      <a:pt x="0" y="64"/>
                      <a:pt x="3" y="67"/>
                      <a:pt x="3" y="69"/>
                    </a:cubicBezTo>
                    <a:cubicBezTo>
                      <a:pt x="3" y="71"/>
                      <a:pt x="0" y="72"/>
                      <a:pt x="1" y="73"/>
                    </a:cubicBezTo>
                    <a:cubicBezTo>
                      <a:pt x="1" y="75"/>
                      <a:pt x="4" y="76"/>
                      <a:pt x="4" y="83"/>
                    </a:cubicBezTo>
                    <a:cubicBezTo>
                      <a:pt x="5" y="83"/>
                      <a:pt x="6" y="83"/>
                      <a:pt x="7" y="84"/>
                    </a:cubicBezTo>
                    <a:cubicBezTo>
                      <a:pt x="8" y="86"/>
                      <a:pt x="11" y="87"/>
                      <a:pt x="14" y="87"/>
                    </a:cubicBezTo>
                    <a:cubicBezTo>
                      <a:pt x="17" y="87"/>
                      <a:pt x="18" y="90"/>
                      <a:pt x="20" y="89"/>
                    </a:cubicBezTo>
                    <a:cubicBezTo>
                      <a:pt x="21" y="89"/>
                      <a:pt x="25" y="90"/>
                      <a:pt x="22" y="93"/>
                    </a:cubicBezTo>
                    <a:cubicBezTo>
                      <a:pt x="19" y="96"/>
                      <a:pt x="18" y="99"/>
                      <a:pt x="18" y="102"/>
                    </a:cubicBezTo>
                    <a:cubicBezTo>
                      <a:pt x="17" y="105"/>
                      <a:pt x="17" y="107"/>
                      <a:pt x="17" y="109"/>
                    </a:cubicBezTo>
                    <a:cubicBezTo>
                      <a:pt x="20" y="110"/>
                      <a:pt x="24" y="110"/>
                      <a:pt x="26" y="109"/>
                    </a:cubicBezTo>
                    <a:cubicBezTo>
                      <a:pt x="29" y="108"/>
                      <a:pt x="31" y="108"/>
                      <a:pt x="34" y="109"/>
                    </a:cubicBezTo>
                    <a:cubicBezTo>
                      <a:pt x="36" y="109"/>
                      <a:pt x="38" y="110"/>
                      <a:pt x="40" y="111"/>
                    </a:cubicBezTo>
                    <a:cubicBezTo>
                      <a:pt x="41" y="111"/>
                      <a:pt x="41" y="110"/>
                      <a:pt x="42" y="110"/>
                    </a:cubicBezTo>
                    <a:cubicBezTo>
                      <a:pt x="44" y="110"/>
                      <a:pt x="47" y="114"/>
                      <a:pt x="48" y="112"/>
                    </a:cubicBezTo>
                    <a:cubicBezTo>
                      <a:pt x="50" y="109"/>
                      <a:pt x="53" y="110"/>
                      <a:pt x="55" y="111"/>
                    </a:cubicBezTo>
                    <a:cubicBezTo>
                      <a:pt x="57" y="112"/>
                      <a:pt x="59" y="112"/>
                      <a:pt x="61" y="110"/>
                    </a:cubicBezTo>
                    <a:cubicBezTo>
                      <a:pt x="63" y="108"/>
                      <a:pt x="71" y="107"/>
                      <a:pt x="73" y="108"/>
                    </a:cubicBezTo>
                    <a:cubicBezTo>
                      <a:pt x="75" y="109"/>
                      <a:pt x="79" y="111"/>
                      <a:pt x="77" y="105"/>
                    </a:cubicBezTo>
                    <a:cubicBezTo>
                      <a:pt x="76" y="99"/>
                      <a:pt x="81" y="100"/>
                      <a:pt x="82" y="98"/>
                    </a:cubicBezTo>
                    <a:cubicBezTo>
                      <a:pt x="83" y="96"/>
                      <a:pt x="89" y="95"/>
                      <a:pt x="88" y="93"/>
                    </a:cubicBezTo>
                    <a:cubicBezTo>
                      <a:pt x="87" y="91"/>
                      <a:pt x="79" y="86"/>
                      <a:pt x="76" y="84"/>
                    </a:cubicBezTo>
                    <a:cubicBezTo>
                      <a:pt x="74" y="82"/>
                      <a:pt x="74" y="77"/>
                      <a:pt x="73" y="75"/>
                    </a:cubicBezTo>
                    <a:cubicBezTo>
                      <a:pt x="71" y="72"/>
                      <a:pt x="69" y="69"/>
                      <a:pt x="72" y="69"/>
                    </a:cubicBezTo>
                    <a:cubicBezTo>
                      <a:pt x="75" y="68"/>
                      <a:pt x="81" y="67"/>
                      <a:pt x="84" y="64"/>
                    </a:cubicBezTo>
                    <a:cubicBezTo>
                      <a:pt x="86" y="62"/>
                      <a:pt x="91" y="61"/>
                      <a:pt x="93" y="60"/>
                    </a:cubicBezTo>
                    <a:cubicBezTo>
                      <a:pt x="94" y="58"/>
                      <a:pt x="98" y="61"/>
                      <a:pt x="99" y="60"/>
                    </a:cubicBezTo>
                    <a:cubicBezTo>
                      <a:pt x="100" y="58"/>
                      <a:pt x="101" y="55"/>
                      <a:pt x="99" y="53"/>
                    </a:cubicBezTo>
                    <a:cubicBezTo>
                      <a:pt x="98" y="52"/>
                      <a:pt x="97" y="49"/>
                      <a:pt x="96" y="44"/>
                    </a:cubicBezTo>
                    <a:cubicBezTo>
                      <a:pt x="96" y="40"/>
                      <a:pt x="95" y="40"/>
                      <a:pt x="95" y="38"/>
                    </a:cubicBezTo>
                    <a:cubicBezTo>
                      <a:pt x="95" y="36"/>
                      <a:pt x="94" y="34"/>
                      <a:pt x="92" y="33"/>
                    </a:cubicBezTo>
                    <a:cubicBezTo>
                      <a:pt x="91" y="32"/>
                      <a:pt x="90" y="31"/>
                      <a:pt x="92" y="28"/>
                    </a:cubicBezTo>
                    <a:cubicBezTo>
                      <a:pt x="93" y="26"/>
                      <a:pt x="93" y="19"/>
                      <a:pt x="92" y="17"/>
                    </a:cubicBezTo>
                    <a:cubicBezTo>
                      <a:pt x="92" y="16"/>
                      <a:pt x="92" y="16"/>
                      <a:pt x="92" y="15"/>
                    </a:cubicBezTo>
                    <a:cubicBezTo>
                      <a:pt x="91" y="15"/>
                      <a:pt x="91" y="15"/>
                      <a:pt x="91" y="14"/>
                    </a:cubicBezTo>
                    <a:cubicBezTo>
                      <a:pt x="90" y="11"/>
                      <a:pt x="89" y="10"/>
                      <a:pt x="84" y="10"/>
                    </a:cubicBezTo>
                    <a:cubicBezTo>
                      <a:pt x="80" y="10"/>
                      <a:pt x="87" y="6"/>
                      <a:pt x="85" y="4"/>
                    </a:cubicBezTo>
                    <a:cubicBezTo>
                      <a:pt x="84" y="2"/>
                      <a:pt x="79" y="8"/>
                      <a:pt x="75" y="6"/>
                    </a:cubicBezTo>
                    <a:cubicBezTo>
                      <a:pt x="71" y="5"/>
                      <a:pt x="66" y="11"/>
                      <a:pt x="63" y="14"/>
                    </a:cubicBezTo>
                    <a:cubicBezTo>
                      <a:pt x="59" y="16"/>
                      <a:pt x="54" y="13"/>
                      <a:pt x="57" y="9"/>
                    </a:cubicBezTo>
                    <a:cubicBezTo>
                      <a:pt x="59" y="6"/>
                      <a:pt x="57" y="6"/>
                      <a:pt x="53" y="7"/>
                    </a:cubicBezTo>
                    <a:cubicBezTo>
                      <a:pt x="49" y="9"/>
                      <a:pt x="44" y="7"/>
                      <a:pt x="44" y="3"/>
                    </a:cubicBezTo>
                    <a:cubicBezTo>
                      <a:pt x="44" y="2"/>
                      <a:pt x="44" y="2"/>
                      <a:pt x="44" y="1"/>
                    </a:cubicBezTo>
                    <a:cubicBezTo>
                      <a:pt x="42" y="1"/>
                      <a:pt x="40" y="1"/>
                      <a:pt x="40" y="1"/>
                    </a:cubicBezTo>
                    <a:cubicBezTo>
                      <a:pt x="38" y="0"/>
                      <a:pt x="34" y="0"/>
                      <a:pt x="29" y="0"/>
                    </a:cubicBezTo>
                    <a:cubicBezTo>
                      <a:pt x="31" y="2"/>
                      <a:pt x="32" y="4"/>
                      <a:pt x="31" y="5"/>
                    </a:cubicBezTo>
                    <a:cubicBezTo>
                      <a:pt x="30" y="8"/>
                      <a:pt x="32" y="11"/>
                      <a:pt x="34" y="15"/>
                    </a:cubicBezTo>
                    <a:cubicBezTo>
                      <a:pt x="36" y="19"/>
                      <a:pt x="30" y="17"/>
                      <a:pt x="29" y="19"/>
                    </a:cubicBezTo>
                    <a:cubicBezTo>
                      <a:pt x="29" y="22"/>
                      <a:pt x="23" y="19"/>
                      <a:pt x="21" y="18"/>
                    </a:cubicBezTo>
                    <a:cubicBezTo>
                      <a:pt x="19" y="17"/>
                      <a:pt x="12" y="18"/>
                      <a:pt x="13" y="20"/>
                    </a:cubicBezTo>
                    <a:cubicBezTo>
                      <a:pt x="13" y="20"/>
                      <a:pt x="12" y="21"/>
                      <a:pt x="12" y="22"/>
                    </a:cubicBezTo>
                    <a:cubicBezTo>
                      <a:pt x="13" y="25"/>
                      <a:pt x="13" y="28"/>
                      <a:pt x="13" y="3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2" name="Freeform 90">
                <a:extLst>
                  <a:ext uri="{FF2B5EF4-FFF2-40B4-BE49-F238E27FC236}">
                    <a16:creationId xmlns:a16="http://schemas.microsoft.com/office/drawing/2014/main" id="{A060C686-CB81-400F-B3B6-6E52F547A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8700" y="1985963"/>
                <a:ext cx="260350" cy="415925"/>
              </a:xfrm>
              <a:custGeom>
                <a:avLst/>
                <a:gdLst>
                  <a:gd name="T0" fmla="*/ 101 w 119"/>
                  <a:gd name="T1" fmla="*/ 159 h 189"/>
                  <a:gd name="T2" fmla="*/ 118 w 119"/>
                  <a:gd name="T3" fmla="*/ 143 h 189"/>
                  <a:gd name="T4" fmla="*/ 115 w 119"/>
                  <a:gd name="T5" fmla="*/ 134 h 189"/>
                  <a:gd name="T6" fmla="*/ 100 w 119"/>
                  <a:gd name="T7" fmla="*/ 123 h 189"/>
                  <a:gd name="T8" fmla="*/ 107 w 119"/>
                  <a:gd name="T9" fmla="*/ 116 h 189"/>
                  <a:gd name="T10" fmla="*/ 101 w 119"/>
                  <a:gd name="T11" fmla="*/ 110 h 189"/>
                  <a:gd name="T12" fmla="*/ 103 w 119"/>
                  <a:gd name="T13" fmla="*/ 105 h 189"/>
                  <a:gd name="T14" fmla="*/ 97 w 119"/>
                  <a:gd name="T15" fmla="*/ 101 h 189"/>
                  <a:gd name="T16" fmla="*/ 100 w 119"/>
                  <a:gd name="T17" fmla="*/ 98 h 189"/>
                  <a:gd name="T18" fmla="*/ 98 w 119"/>
                  <a:gd name="T19" fmla="*/ 89 h 189"/>
                  <a:gd name="T20" fmla="*/ 102 w 119"/>
                  <a:gd name="T21" fmla="*/ 82 h 189"/>
                  <a:gd name="T22" fmla="*/ 91 w 119"/>
                  <a:gd name="T23" fmla="*/ 65 h 189"/>
                  <a:gd name="T24" fmla="*/ 95 w 119"/>
                  <a:gd name="T25" fmla="*/ 59 h 189"/>
                  <a:gd name="T26" fmla="*/ 102 w 119"/>
                  <a:gd name="T27" fmla="*/ 50 h 189"/>
                  <a:gd name="T28" fmla="*/ 94 w 119"/>
                  <a:gd name="T29" fmla="*/ 42 h 189"/>
                  <a:gd name="T30" fmla="*/ 87 w 119"/>
                  <a:gd name="T31" fmla="*/ 38 h 189"/>
                  <a:gd name="T32" fmla="*/ 85 w 119"/>
                  <a:gd name="T33" fmla="*/ 32 h 189"/>
                  <a:gd name="T34" fmla="*/ 87 w 119"/>
                  <a:gd name="T35" fmla="*/ 26 h 189"/>
                  <a:gd name="T36" fmla="*/ 91 w 119"/>
                  <a:gd name="T37" fmla="*/ 22 h 189"/>
                  <a:gd name="T38" fmla="*/ 93 w 119"/>
                  <a:gd name="T39" fmla="*/ 18 h 189"/>
                  <a:gd name="T40" fmla="*/ 93 w 119"/>
                  <a:gd name="T41" fmla="*/ 12 h 189"/>
                  <a:gd name="T42" fmla="*/ 82 w 119"/>
                  <a:gd name="T43" fmla="*/ 4 h 189"/>
                  <a:gd name="T44" fmla="*/ 72 w 119"/>
                  <a:gd name="T45" fmla="*/ 4 h 189"/>
                  <a:gd name="T46" fmla="*/ 61 w 119"/>
                  <a:gd name="T47" fmla="*/ 7 h 189"/>
                  <a:gd name="T48" fmla="*/ 54 w 119"/>
                  <a:gd name="T49" fmla="*/ 14 h 189"/>
                  <a:gd name="T50" fmla="*/ 52 w 119"/>
                  <a:gd name="T51" fmla="*/ 24 h 189"/>
                  <a:gd name="T52" fmla="*/ 47 w 119"/>
                  <a:gd name="T53" fmla="*/ 30 h 189"/>
                  <a:gd name="T54" fmla="*/ 41 w 119"/>
                  <a:gd name="T55" fmla="*/ 28 h 189"/>
                  <a:gd name="T56" fmla="*/ 32 w 119"/>
                  <a:gd name="T57" fmla="*/ 28 h 189"/>
                  <a:gd name="T58" fmla="*/ 20 w 119"/>
                  <a:gd name="T59" fmla="*/ 27 h 189"/>
                  <a:gd name="T60" fmla="*/ 8 w 119"/>
                  <a:gd name="T61" fmla="*/ 18 h 189"/>
                  <a:gd name="T62" fmla="*/ 0 w 119"/>
                  <a:gd name="T63" fmla="*/ 24 h 189"/>
                  <a:gd name="T64" fmla="*/ 12 w 119"/>
                  <a:gd name="T65" fmla="*/ 33 h 189"/>
                  <a:gd name="T66" fmla="*/ 29 w 119"/>
                  <a:gd name="T67" fmla="*/ 42 h 189"/>
                  <a:gd name="T68" fmla="*/ 29 w 119"/>
                  <a:gd name="T69" fmla="*/ 53 h 189"/>
                  <a:gd name="T70" fmla="*/ 32 w 119"/>
                  <a:gd name="T71" fmla="*/ 63 h 189"/>
                  <a:gd name="T72" fmla="*/ 31 w 119"/>
                  <a:gd name="T73" fmla="*/ 73 h 189"/>
                  <a:gd name="T74" fmla="*/ 33 w 119"/>
                  <a:gd name="T75" fmla="*/ 79 h 189"/>
                  <a:gd name="T76" fmla="*/ 35 w 119"/>
                  <a:gd name="T77" fmla="*/ 84 h 189"/>
                  <a:gd name="T78" fmla="*/ 44 w 119"/>
                  <a:gd name="T79" fmla="*/ 88 h 189"/>
                  <a:gd name="T80" fmla="*/ 48 w 119"/>
                  <a:gd name="T81" fmla="*/ 97 h 189"/>
                  <a:gd name="T82" fmla="*/ 46 w 119"/>
                  <a:gd name="T83" fmla="*/ 101 h 189"/>
                  <a:gd name="T84" fmla="*/ 40 w 119"/>
                  <a:gd name="T85" fmla="*/ 106 h 189"/>
                  <a:gd name="T86" fmla="*/ 28 w 119"/>
                  <a:gd name="T87" fmla="*/ 117 h 189"/>
                  <a:gd name="T88" fmla="*/ 22 w 119"/>
                  <a:gd name="T89" fmla="*/ 122 h 189"/>
                  <a:gd name="T90" fmla="*/ 16 w 119"/>
                  <a:gd name="T91" fmla="*/ 128 h 189"/>
                  <a:gd name="T92" fmla="*/ 8 w 119"/>
                  <a:gd name="T93" fmla="*/ 132 h 189"/>
                  <a:gd name="T94" fmla="*/ 3 w 119"/>
                  <a:gd name="T95" fmla="*/ 139 h 189"/>
                  <a:gd name="T96" fmla="*/ 3 w 119"/>
                  <a:gd name="T97" fmla="*/ 146 h 189"/>
                  <a:gd name="T98" fmla="*/ 4 w 119"/>
                  <a:gd name="T99" fmla="*/ 154 h 189"/>
                  <a:gd name="T100" fmla="*/ 6 w 119"/>
                  <a:gd name="T101" fmla="*/ 166 h 189"/>
                  <a:gd name="T102" fmla="*/ 3 w 119"/>
                  <a:gd name="T103" fmla="*/ 178 h 189"/>
                  <a:gd name="T104" fmla="*/ 14 w 119"/>
                  <a:gd name="T105" fmla="*/ 182 h 189"/>
                  <a:gd name="T106" fmla="*/ 21 w 119"/>
                  <a:gd name="T107" fmla="*/ 186 h 189"/>
                  <a:gd name="T108" fmla="*/ 33 w 119"/>
                  <a:gd name="T109" fmla="*/ 189 h 189"/>
                  <a:gd name="T110" fmla="*/ 68 w 119"/>
                  <a:gd name="T111" fmla="*/ 181 h 189"/>
                  <a:gd name="T112" fmla="*/ 78 w 119"/>
                  <a:gd name="T113" fmla="*/ 179 h 189"/>
                  <a:gd name="T114" fmla="*/ 84 w 119"/>
                  <a:gd name="T115" fmla="*/ 173 h 189"/>
                  <a:gd name="T116" fmla="*/ 101 w 119"/>
                  <a:gd name="T117" fmla="*/ 15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9" h="189">
                    <a:moveTo>
                      <a:pt x="101" y="159"/>
                    </a:moveTo>
                    <a:cubicBezTo>
                      <a:pt x="104" y="153"/>
                      <a:pt x="116" y="148"/>
                      <a:pt x="118" y="143"/>
                    </a:cubicBezTo>
                    <a:cubicBezTo>
                      <a:pt x="119" y="140"/>
                      <a:pt x="119" y="139"/>
                      <a:pt x="115" y="134"/>
                    </a:cubicBezTo>
                    <a:cubicBezTo>
                      <a:pt x="110" y="129"/>
                      <a:pt x="101" y="125"/>
                      <a:pt x="100" y="123"/>
                    </a:cubicBezTo>
                    <a:cubicBezTo>
                      <a:pt x="100" y="120"/>
                      <a:pt x="108" y="120"/>
                      <a:pt x="107" y="116"/>
                    </a:cubicBezTo>
                    <a:cubicBezTo>
                      <a:pt x="107" y="113"/>
                      <a:pt x="103" y="113"/>
                      <a:pt x="101" y="110"/>
                    </a:cubicBezTo>
                    <a:cubicBezTo>
                      <a:pt x="100" y="108"/>
                      <a:pt x="103" y="106"/>
                      <a:pt x="103" y="105"/>
                    </a:cubicBezTo>
                    <a:cubicBezTo>
                      <a:pt x="103" y="103"/>
                      <a:pt x="98" y="103"/>
                      <a:pt x="97" y="101"/>
                    </a:cubicBezTo>
                    <a:cubicBezTo>
                      <a:pt x="97" y="99"/>
                      <a:pt x="101" y="100"/>
                      <a:pt x="100" y="98"/>
                    </a:cubicBezTo>
                    <a:cubicBezTo>
                      <a:pt x="99" y="96"/>
                      <a:pt x="96" y="92"/>
                      <a:pt x="98" y="89"/>
                    </a:cubicBezTo>
                    <a:cubicBezTo>
                      <a:pt x="101" y="86"/>
                      <a:pt x="106" y="89"/>
                      <a:pt x="102" y="82"/>
                    </a:cubicBezTo>
                    <a:cubicBezTo>
                      <a:pt x="98" y="76"/>
                      <a:pt x="93" y="67"/>
                      <a:pt x="91" y="65"/>
                    </a:cubicBezTo>
                    <a:cubicBezTo>
                      <a:pt x="90" y="63"/>
                      <a:pt x="93" y="60"/>
                      <a:pt x="95" y="59"/>
                    </a:cubicBezTo>
                    <a:cubicBezTo>
                      <a:pt x="97" y="57"/>
                      <a:pt x="102" y="52"/>
                      <a:pt x="102" y="50"/>
                    </a:cubicBezTo>
                    <a:cubicBezTo>
                      <a:pt x="102" y="48"/>
                      <a:pt x="95" y="43"/>
                      <a:pt x="94" y="42"/>
                    </a:cubicBezTo>
                    <a:cubicBezTo>
                      <a:pt x="92" y="41"/>
                      <a:pt x="88" y="41"/>
                      <a:pt x="87" y="38"/>
                    </a:cubicBezTo>
                    <a:cubicBezTo>
                      <a:pt x="85" y="35"/>
                      <a:pt x="83" y="34"/>
                      <a:pt x="85" y="32"/>
                    </a:cubicBezTo>
                    <a:cubicBezTo>
                      <a:pt x="87" y="30"/>
                      <a:pt x="87" y="28"/>
                      <a:pt x="87" y="26"/>
                    </a:cubicBezTo>
                    <a:cubicBezTo>
                      <a:pt x="87" y="24"/>
                      <a:pt x="90" y="25"/>
                      <a:pt x="91" y="22"/>
                    </a:cubicBezTo>
                    <a:cubicBezTo>
                      <a:pt x="91" y="21"/>
                      <a:pt x="92" y="19"/>
                      <a:pt x="93" y="18"/>
                    </a:cubicBezTo>
                    <a:cubicBezTo>
                      <a:pt x="93" y="16"/>
                      <a:pt x="94" y="13"/>
                      <a:pt x="93" y="12"/>
                    </a:cubicBezTo>
                    <a:cubicBezTo>
                      <a:pt x="93" y="9"/>
                      <a:pt x="84" y="8"/>
                      <a:pt x="82" y="4"/>
                    </a:cubicBezTo>
                    <a:cubicBezTo>
                      <a:pt x="79" y="0"/>
                      <a:pt x="74" y="2"/>
                      <a:pt x="72" y="4"/>
                    </a:cubicBezTo>
                    <a:cubicBezTo>
                      <a:pt x="71" y="6"/>
                      <a:pt x="61" y="3"/>
                      <a:pt x="61" y="7"/>
                    </a:cubicBezTo>
                    <a:cubicBezTo>
                      <a:pt x="61" y="10"/>
                      <a:pt x="54" y="10"/>
                      <a:pt x="54" y="14"/>
                    </a:cubicBezTo>
                    <a:cubicBezTo>
                      <a:pt x="54" y="18"/>
                      <a:pt x="57" y="24"/>
                      <a:pt x="52" y="24"/>
                    </a:cubicBezTo>
                    <a:cubicBezTo>
                      <a:pt x="47" y="23"/>
                      <a:pt x="50" y="26"/>
                      <a:pt x="47" y="30"/>
                    </a:cubicBezTo>
                    <a:cubicBezTo>
                      <a:pt x="44" y="34"/>
                      <a:pt x="44" y="27"/>
                      <a:pt x="41" y="28"/>
                    </a:cubicBezTo>
                    <a:cubicBezTo>
                      <a:pt x="38" y="30"/>
                      <a:pt x="34" y="25"/>
                      <a:pt x="32" y="28"/>
                    </a:cubicBezTo>
                    <a:cubicBezTo>
                      <a:pt x="31" y="31"/>
                      <a:pt x="25" y="28"/>
                      <a:pt x="20" y="27"/>
                    </a:cubicBezTo>
                    <a:cubicBezTo>
                      <a:pt x="15" y="26"/>
                      <a:pt x="12" y="19"/>
                      <a:pt x="8" y="18"/>
                    </a:cubicBezTo>
                    <a:cubicBezTo>
                      <a:pt x="5" y="18"/>
                      <a:pt x="2" y="20"/>
                      <a:pt x="0" y="24"/>
                    </a:cubicBezTo>
                    <a:cubicBezTo>
                      <a:pt x="4" y="26"/>
                      <a:pt x="7" y="30"/>
                      <a:pt x="12" y="33"/>
                    </a:cubicBezTo>
                    <a:cubicBezTo>
                      <a:pt x="18" y="35"/>
                      <a:pt x="29" y="39"/>
                      <a:pt x="29" y="42"/>
                    </a:cubicBezTo>
                    <a:cubicBezTo>
                      <a:pt x="28" y="46"/>
                      <a:pt x="26" y="51"/>
                      <a:pt x="29" y="53"/>
                    </a:cubicBezTo>
                    <a:cubicBezTo>
                      <a:pt x="32" y="55"/>
                      <a:pt x="29" y="62"/>
                      <a:pt x="32" y="63"/>
                    </a:cubicBezTo>
                    <a:cubicBezTo>
                      <a:pt x="35" y="65"/>
                      <a:pt x="34" y="73"/>
                      <a:pt x="31" y="73"/>
                    </a:cubicBezTo>
                    <a:cubicBezTo>
                      <a:pt x="29" y="73"/>
                      <a:pt x="32" y="77"/>
                      <a:pt x="33" y="79"/>
                    </a:cubicBezTo>
                    <a:cubicBezTo>
                      <a:pt x="34" y="80"/>
                      <a:pt x="35" y="82"/>
                      <a:pt x="35" y="84"/>
                    </a:cubicBezTo>
                    <a:cubicBezTo>
                      <a:pt x="38" y="85"/>
                      <a:pt x="41" y="87"/>
                      <a:pt x="44" y="88"/>
                    </a:cubicBezTo>
                    <a:cubicBezTo>
                      <a:pt x="49" y="90"/>
                      <a:pt x="48" y="93"/>
                      <a:pt x="48" y="97"/>
                    </a:cubicBezTo>
                    <a:cubicBezTo>
                      <a:pt x="48" y="100"/>
                      <a:pt x="48" y="102"/>
                      <a:pt x="46" y="101"/>
                    </a:cubicBezTo>
                    <a:cubicBezTo>
                      <a:pt x="44" y="99"/>
                      <a:pt x="41" y="101"/>
                      <a:pt x="40" y="106"/>
                    </a:cubicBezTo>
                    <a:cubicBezTo>
                      <a:pt x="39" y="111"/>
                      <a:pt x="32" y="117"/>
                      <a:pt x="28" y="117"/>
                    </a:cubicBezTo>
                    <a:cubicBezTo>
                      <a:pt x="25" y="117"/>
                      <a:pt x="25" y="121"/>
                      <a:pt x="22" y="122"/>
                    </a:cubicBezTo>
                    <a:cubicBezTo>
                      <a:pt x="19" y="123"/>
                      <a:pt x="16" y="125"/>
                      <a:pt x="16" y="128"/>
                    </a:cubicBezTo>
                    <a:cubicBezTo>
                      <a:pt x="16" y="132"/>
                      <a:pt x="11" y="132"/>
                      <a:pt x="8" y="132"/>
                    </a:cubicBezTo>
                    <a:cubicBezTo>
                      <a:pt x="5" y="132"/>
                      <a:pt x="5" y="138"/>
                      <a:pt x="3" y="139"/>
                    </a:cubicBezTo>
                    <a:cubicBezTo>
                      <a:pt x="0" y="141"/>
                      <a:pt x="1" y="143"/>
                      <a:pt x="3" y="146"/>
                    </a:cubicBezTo>
                    <a:cubicBezTo>
                      <a:pt x="6" y="149"/>
                      <a:pt x="4" y="152"/>
                      <a:pt x="4" y="154"/>
                    </a:cubicBezTo>
                    <a:cubicBezTo>
                      <a:pt x="5" y="156"/>
                      <a:pt x="9" y="161"/>
                      <a:pt x="6" y="166"/>
                    </a:cubicBezTo>
                    <a:cubicBezTo>
                      <a:pt x="4" y="172"/>
                      <a:pt x="1" y="179"/>
                      <a:pt x="3" y="178"/>
                    </a:cubicBezTo>
                    <a:cubicBezTo>
                      <a:pt x="6" y="177"/>
                      <a:pt x="11" y="183"/>
                      <a:pt x="14" y="182"/>
                    </a:cubicBezTo>
                    <a:cubicBezTo>
                      <a:pt x="17" y="182"/>
                      <a:pt x="18" y="187"/>
                      <a:pt x="21" y="186"/>
                    </a:cubicBezTo>
                    <a:cubicBezTo>
                      <a:pt x="24" y="185"/>
                      <a:pt x="24" y="189"/>
                      <a:pt x="33" y="189"/>
                    </a:cubicBezTo>
                    <a:cubicBezTo>
                      <a:pt x="42" y="188"/>
                      <a:pt x="61" y="181"/>
                      <a:pt x="68" y="181"/>
                    </a:cubicBezTo>
                    <a:cubicBezTo>
                      <a:pt x="72" y="181"/>
                      <a:pt x="76" y="180"/>
                      <a:pt x="78" y="179"/>
                    </a:cubicBezTo>
                    <a:cubicBezTo>
                      <a:pt x="80" y="177"/>
                      <a:pt x="82" y="174"/>
                      <a:pt x="84" y="173"/>
                    </a:cubicBezTo>
                    <a:cubicBezTo>
                      <a:pt x="88" y="168"/>
                      <a:pt x="98" y="165"/>
                      <a:pt x="101" y="15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3" name="Freeform 91">
                <a:extLst>
                  <a:ext uri="{FF2B5EF4-FFF2-40B4-BE49-F238E27FC236}">
                    <a16:creationId xmlns:a16="http://schemas.microsoft.com/office/drawing/2014/main" id="{EE32AF7E-4AED-4944-9686-D75E815F6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8900" y="3284538"/>
                <a:ext cx="523875" cy="419100"/>
              </a:xfrm>
              <a:custGeom>
                <a:avLst/>
                <a:gdLst>
                  <a:gd name="T0" fmla="*/ 143 w 238"/>
                  <a:gd name="T1" fmla="*/ 40 h 191"/>
                  <a:gd name="T2" fmla="*/ 123 w 238"/>
                  <a:gd name="T3" fmla="*/ 38 h 191"/>
                  <a:gd name="T4" fmla="*/ 109 w 238"/>
                  <a:gd name="T5" fmla="*/ 34 h 191"/>
                  <a:gd name="T6" fmla="*/ 82 w 238"/>
                  <a:gd name="T7" fmla="*/ 14 h 191"/>
                  <a:gd name="T8" fmla="*/ 60 w 238"/>
                  <a:gd name="T9" fmla="*/ 1 h 191"/>
                  <a:gd name="T10" fmla="*/ 51 w 238"/>
                  <a:gd name="T11" fmla="*/ 1 h 191"/>
                  <a:gd name="T12" fmla="*/ 39 w 238"/>
                  <a:gd name="T13" fmla="*/ 4 h 191"/>
                  <a:gd name="T14" fmla="*/ 28 w 238"/>
                  <a:gd name="T15" fmla="*/ 11 h 191"/>
                  <a:gd name="T16" fmla="*/ 36 w 238"/>
                  <a:gd name="T17" fmla="*/ 21 h 191"/>
                  <a:gd name="T18" fmla="*/ 30 w 238"/>
                  <a:gd name="T19" fmla="*/ 26 h 191"/>
                  <a:gd name="T20" fmla="*/ 23 w 238"/>
                  <a:gd name="T21" fmla="*/ 30 h 191"/>
                  <a:gd name="T22" fmla="*/ 14 w 238"/>
                  <a:gd name="T23" fmla="*/ 36 h 191"/>
                  <a:gd name="T24" fmla="*/ 2 w 238"/>
                  <a:gd name="T25" fmla="*/ 31 h 191"/>
                  <a:gd name="T26" fmla="*/ 1 w 238"/>
                  <a:gd name="T27" fmla="*/ 35 h 191"/>
                  <a:gd name="T28" fmla="*/ 1 w 238"/>
                  <a:gd name="T29" fmla="*/ 38 h 191"/>
                  <a:gd name="T30" fmla="*/ 3 w 238"/>
                  <a:gd name="T31" fmla="*/ 50 h 191"/>
                  <a:gd name="T32" fmla="*/ 12 w 238"/>
                  <a:gd name="T33" fmla="*/ 62 h 191"/>
                  <a:gd name="T34" fmla="*/ 28 w 238"/>
                  <a:gd name="T35" fmla="*/ 87 h 191"/>
                  <a:gd name="T36" fmla="*/ 37 w 238"/>
                  <a:gd name="T37" fmla="*/ 99 h 191"/>
                  <a:gd name="T38" fmla="*/ 47 w 238"/>
                  <a:gd name="T39" fmla="*/ 112 h 191"/>
                  <a:gd name="T40" fmla="*/ 50 w 238"/>
                  <a:gd name="T41" fmla="*/ 125 h 191"/>
                  <a:gd name="T42" fmla="*/ 59 w 238"/>
                  <a:gd name="T43" fmla="*/ 144 h 191"/>
                  <a:gd name="T44" fmla="*/ 72 w 238"/>
                  <a:gd name="T45" fmla="*/ 158 h 191"/>
                  <a:gd name="T46" fmla="*/ 82 w 238"/>
                  <a:gd name="T47" fmla="*/ 176 h 191"/>
                  <a:gd name="T48" fmla="*/ 86 w 238"/>
                  <a:gd name="T49" fmla="*/ 184 h 191"/>
                  <a:gd name="T50" fmla="*/ 90 w 238"/>
                  <a:gd name="T51" fmla="*/ 191 h 191"/>
                  <a:gd name="T52" fmla="*/ 95 w 238"/>
                  <a:gd name="T53" fmla="*/ 188 h 191"/>
                  <a:gd name="T54" fmla="*/ 95 w 238"/>
                  <a:gd name="T55" fmla="*/ 182 h 191"/>
                  <a:gd name="T56" fmla="*/ 100 w 238"/>
                  <a:gd name="T57" fmla="*/ 178 h 191"/>
                  <a:gd name="T58" fmla="*/ 108 w 238"/>
                  <a:gd name="T59" fmla="*/ 179 h 191"/>
                  <a:gd name="T60" fmla="*/ 122 w 238"/>
                  <a:gd name="T61" fmla="*/ 180 h 191"/>
                  <a:gd name="T62" fmla="*/ 138 w 238"/>
                  <a:gd name="T63" fmla="*/ 183 h 191"/>
                  <a:gd name="T64" fmla="*/ 145 w 238"/>
                  <a:gd name="T65" fmla="*/ 180 h 191"/>
                  <a:gd name="T66" fmla="*/ 163 w 238"/>
                  <a:gd name="T67" fmla="*/ 165 h 191"/>
                  <a:gd name="T68" fmla="*/ 185 w 238"/>
                  <a:gd name="T69" fmla="*/ 163 h 191"/>
                  <a:gd name="T70" fmla="*/ 230 w 238"/>
                  <a:gd name="T71" fmla="*/ 149 h 191"/>
                  <a:gd name="T72" fmla="*/ 238 w 238"/>
                  <a:gd name="T73" fmla="*/ 125 h 191"/>
                  <a:gd name="T74" fmla="*/ 232 w 238"/>
                  <a:gd name="T75" fmla="*/ 117 h 191"/>
                  <a:gd name="T76" fmla="*/ 204 w 238"/>
                  <a:gd name="T77" fmla="*/ 114 h 191"/>
                  <a:gd name="T78" fmla="*/ 195 w 238"/>
                  <a:gd name="T79" fmla="*/ 102 h 191"/>
                  <a:gd name="T80" fmla="*/ 191 w 238"/>
                  <a:gd name="T81" fmla="*/ 95 h 191"/>
                  <a:gd name="T82" fmla="*/ 181 w 238"/>
                  <a:gd name="T83" fmla="*/ 88 h 191"/>
                  <a:gd name="T84" fmla="*/ 175 w 238"/>
                  <a:gd name="T85" fmla="*/ 76 h 191"/>
                  <a:gd name="T86" fmla="*/ 170 w 238"/>
                  <a:gd name="T87" fmla="*/ 64 h 191"/>
                  <a:gd name="T88" fmla="*/ 159 w 238"/>
                  <a:gd name="T89" fmla="*/ 50 h 191"/>
                  <a:gd name="T90" fmla="*/ 157 w 238"/>
                  <a:gd name="T91" fmla="*/ 46 h 191"/>
                  <a:gd name="T92" fmla="*/ 148 w 238"/>
                  <a:gd name="T93" fmla="*/ 45 h 191"/>
                  <a:gd name="T94" fmla="*/ 143 w 238"/>
                  <a:gd name="T95" fmla="*/ 4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38" h="191">
                    <a:moveTo>
                      <a:pt x="143" y="40"/>
                    </a:moveTo>
                    <a:cubicBezTo>
                      <a:pt x="143" y="40"/>
                      <a:pt x="125" y="38"/>
                      <a:pt x="123" y="38"/>
                    </a:cubicBezTo>
                    <a:cubicBezTo>
                      <a:pt x="120" y="38"/>
                      <a:pt x="113" y="37"/>
                      <a:pt x="109" y="34"/>
                    </a:cubicBezTo>
                    <a:cubicBezTo>
                      <a:pt x="105" y="30"/>
                      <a:pt x="86" y="15"/>
                      <a:pt x="82" y="14"/>
                    </a:cubicBezTo>
                    <a:cubicBezTo>
                      <a:pt x="79" y="12"/>
                      <a:pt x="64" y="1"/>
                      <a:pt x="60" y="1"/>
                    </a:cubicBezTo>
                    <a:cubicBezTo>
                      <a:pt x="56" y="0"/>
                      <a:pt x="55" y="1"/>
                      <a:pt x="51" y="1"/>
                    </a:cubicBezTo>
                    <a:cubicBezTo>
                      <a:pt x="46" y="1"/>
                      <a:pt x="48" y="4"/>
                      <a:pt x="39" y="4"/>
                    </a:cubicBezTo>
                    <a:cubicBezTo>
                      <a:pt x="30" y="5"/>
                      <a:pt x="25" y="10"/>
                      <a:pt x="28" y="11"/>
                    </a:cubicBezTo>
                    <a:cubicBezTo>
                      <a:pt x="31" y="12"/>
                      <a:pt x="39" y="20"/>
                      <a:pt x="36" y="21"/>
                    </a:cubicBezTo>
                    <a:cubicBezTo>
                      <a:pt x="34" y="22"/>
                      <a:pt x="33" y="26"/>
                      <a:pt x="30" y="26"/>
                    </a:cubicBezTo>
                    <a:cubicBezTo>
                      <a:pt x="26" y="26"/>
                      <a:pt x="23" y="27"/>
                      <a:pt x="23" y="30"/>
                    </a:cubicBezTo>
                    <a:cubicBezTo>
                      <a:pt x="23" y="32"/>
                      <a:pt x="18" y="37"/>
                      <a:pt x="14" y="36"/>
                    </a:cubicBezTo>
                    <a:cubicBezTo>
                      <a:pt x="11" y="36"/>
                      <a:pt x="6" y="33"/>
                      <a:pt x="2" y="31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2" y="40"/>
                      <a:pt x="0" y="50"/>
                      <a:pt x="3" y="50"/>
                    </a:cubicBezTo>
                    <a:cubicBezTo>
                      <a:pt x="5" y="51"/>
                      <a:pt x="7" y="56"/>
                      <a:pt x="12" y="62"/>
                    </a:cubicBezTo>
                    <a:cubicBezTo>
                      <a:pt x="17" y="67"/>
                      <a:pt x="28" y="83"/>
                      <a:pt x="28" y="87"/>
                    </a:cubicBezTo>
                    <a:cubicBezTo>
                      <a:pt x="28" y="91"/>
                      <a:pt x="30" y="95"/>
                      <a:pt x="37" y="99"/>
                    </a:cubicBezTo>
                    <a:cubicBezTo>
                      <a:pt x="44" y="104"/>
                      <a:pt x="44" y="109"/>
                      <a:pt x="47" y="112"/>
                    </a:cubicBezTo>
                    <a:cubicBezTo>
                      <a:pt x="51" y="115"/>
                      <a:pt x="50" y="118"/>
                      <a:pt x="50" y="125"/>
                    </a:cubicBezTo>
                    <a:cubicBezTo>
                      <a:pt x="50" y="131"/>
                      <a:pt x="53" y="140"/>
                      <a:pt x="59" y="144"/>
                    </a:cubicBezTo>
                    <a:cubicBezTo>
                      <a:pt x="65" y="147"/>
                      <a:pt x="69" y="151"/>
                      <a:pt x="72" y="158"/>
                    </a:cubicBezTo>
                    <a:cubicBezTo>
                      <a:pt x="75" y="166"/>
                      <a:pt x="79" y="172"/>
                      <a:pt x="82" y="176"/>
                    </a:cubicBezTo>
                    <a:cubicBezTo>
                      <a:pt x="86" y="179"/>
                      <a:pt x="84" y="181"/>
                      <a:pt x="86" y="184"/>
                    </a:cubicBezTo>
                    <a:cubicBezTo>
                      <a:pt x="87" y="186"/>
                      <a:pt x="89" y="188"/>
                      <a:pt x="90" y="191"/>
                    </a:cubicBezTo>
                    <a:cubicBezTo>
                      <a:pt x="93" y="189"/>
                      <a:pt x="95" y="188"/>
                      <a:pt x="95" y="188"/>
                    </a:cubicBezTo>
                    <a:cubicBezTo>
                      <a:pt x="96" y="187"/>
                      <a:pt x="94" y="183"/>
                      <a:pt x="95" y="182"/>
                    </a:cubicBezTo>
                    <a:cubicBezTo>
                      <a:pt x="96" y="181"/>
                      <a:pt x="98" y="178"/>
                      <a:pt x="100" y="178"/>
                    </a:cubicBezTo>
                    <a:cubicBezTo>
                      <a:pt x="102" y="177"/>
                      <a:pt x="104" y="180"/>
                      <a:pt x="108" y="179"/>
                    </a:cubicBezTo>
                    <a:cubicBezTo>
                      <a:pt x="112" y="178"/>
                      <a:pt x="121" y="179"/>
                      <a:pt x="122" y="180"/>
                    </a:cubicBezTo>
                    <a:cubicBezTo>
                      <a:pt x="123" y="181"/>
                      <a:pt x="135" y="181"/>
                      <a:pt x="138" y="183"/>
                    </a:cubicBezTo>
                    <a:cubicBezTo>
                      <a:pt x="141" y="185"/>
                      <a:pt x="143" y="184"/>
                      <a:pt x="145" y="180"/>
                    </a:cubicBezTo>
                    <a:cubicBezTo>
                      <a:pt x="147" y="175"/>
                      <a:pt x="161" y="166"/>
                      <a:pt x="163" y="165"/>
                    </a:cubicBezTo>
                    <a:cubicBezTo>
                      <a:pt x="165" y="164"/>
                      <a:pt x="179" y="165"/>
                      <a:pt x="185" y="163"/>
                    </a:cubicBezTo>
                    <a:cubicBezTo>
                      <a:pt x="191" y="162"/>
                      <a:pt x="229" y="150"/>
                      <a:pt x="230" y="149"/>
                    </a:cubicBezTo>
                    <a:cubicBezTo>
                      <a:pt x="232" y="147"/>
                      <a:pt x="238" y="127"/>
                      <a:pt x="238" y="125"/>
                    </a:cubicBezTo>
                    <a:cubicBezTo>
                      <a:pt x="238" y="123"/>
                      <a:pt x="235" y="117"/>
                      <a:pt x="232" y="117"/>
                    </a:cubicBezTo>
                    <a:cubicBezTo>
                      <a:pt x="229" y="117"/>
                      <a:pt x="206" y="115"/>
                      <a:pt x="204" y="114"/>
                    </a:cubicBezTo>
                    <a:cubicBezTo>
                      <a:pt x="203" y="113"/>
                      <a:pt x="196" y="108"/>
                      <a:pt x="195" y="102"/>
                    </a:cubicBezTo>
                    <a:cubicBezTo>
                      <a:pt x="194" y="100"/>
                      <a:pt x="191" y="97"/>
                      <a:pt x="191" y="95"/>
                    </a:cubicBezTo>
                    <a:cubicBezTo>
                      <a:pt x="188" y="95"/>
                      <a:pt x="184" y="94"/>
                      <a:pt x="181" y="88"/>
                    </a:cubicBezTo>
                    <a:cubicBezTo>
                      <a:pt x="179" y="87"/>
                      <a:pt x="173" y="78"/>
                      <a:pt x="175" y="76"/>
                    </a:cubicBezTo>
                    <a:cubicBezTo>
                      <a:pt x="178" y="73"/>
                      <a:pt x="174" y="67"/>
                      <a:pt x="170" y="64"/>
                    </a:cubicBezTo>
                    <a:cubicBezTo>
                      <a:pt x="167" y="60"/>
                      <a:pt x="159" y="54"/>
                      <a:pt x="159" y="50"/>
                    </a:cubicBezTo>
                    <a:cubicBezTo>
                      <a:pt x="159" y="49"/>
                      <a:pt x="158" y="48"/>
                      <a:pt x="157" y="46"/>
                    </a:cubicBezTo>
                    <a:cubicBezTo>
                      <a:pt x="148" y="45"/>
                      <a:pt x="148" y="45"/>
                      <a:pt x="148" y="45"/>
                    </a:cubicBezTo>
                    <a:lnTo>
                      <a:pt x="143" y="40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4" name="Freeform 92">
                <a:extLst>
                  <a:ext uri="{FF2B5EF4-FFF2-40B4-BE49-F238E27FC236}">
                    <a16:creationId xmlns:a16="http://schemas.microsoft.com/office/drawing/2014/main" id="{A91F2058-89A0-42C9-A0F7-F2963F241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113" y="3476625"/>
                <a:ext cx="200025" cy="222250"/>
              </a:xfrm>
              <a:custGeom>
                <a:avLst/>
                <a:gdLst>
                  <a:gd name="T0" fmla="*/ 45 w 91"/>
                  <a:gd name="T1" fmla="*/ 2 h 101"/>
                  <a:gd name="T2" fmla="*/ 45 w 91"/>
                  <a:gd name="T3" fmla="*/ 11 h 101"/>
                  <a:gd name="T4" fmla="*/ 38 w 91"/>
                  <a:gd name="T5" fmla="*/ 20 h 101"/>
                  <a:gd name="T6" fmla="*/ 34 w 91"/>
                  <a:gd name="T7" fmla="*/ 29 h 101"/>
                  <a:gd name="T8" fmla="*/ 36 w 91"/>
                  <a:gd name="T9" fmla="*/ 29 h 101"/>
                  <a:gd name="T10" fmla="*/ 42 w 91"/>
                  <a:gd name="T11" fmla="*/ 37 h 101"/>
                  <a:gd name="T12" fmla="*/ 34 w 91"/>
                  <a:gd name="T13" fmla="*/ 61 h 101"/>
                  <a:gd name="T14" fmla="*/ 0 w 91"/>
                  <a:gd name="T15" fmla="*/ 72 h 101"/>
                  <a:gd name="T16" fmla="*/ 14 w 91"/>
                  <a:gd name="T17" fmla="*/ 101 h 101"/>
                  <a:gd name="T18" fmla="*/ 17 w 91"/>
                  <a:gd name="T19" fmla="*/ 99 h 101"/>
                  <a:gd name="T20" fmla="*/ 35 w 91"/>
                  <a:gd name="T21" fmla="*/ 96 h 101"/>
                  <a:gd name="T22" fmla="*/ 39 w 91"/>
                  <a:gd name="T23" fmla="*/ 87 h 101"/>
                  <a:gd name="T24" fmla="*/ 52 w 91"/>
                  <a:gd name="T25" fmla="*/ 85 h 101"/>
                  <a:gd name="T26" fmla="*/ 59 w 91"/>
                  <a:gd name="T27" fmla="*/ 75 h 101"/>
                  <a:gd name="T28" fmla="*/ 66 w 91"/>
                  <a:gd name="T29" fmla="*/ 71 h 101"/>
                  <a:gd name="T30" fmla="*/ 70 w 91"/>
                  <a:gd name="T31" fmla="*/ 56 h 101"/>
                  <a:gd name="T32" fmla="*/ 79 w 91"/>
                  <a:gd name="T33" fmla="*/ 50 h 101"/>
                  <a:gd name="T34" fmla="*/ 88 w 91"/>
                  <a:gd name="T35" fmla="*/ 37 h 101"/>
                  <a:gd name="T36" fmla="*/ 88 w 91"/>
                  <a:gd name="T37" fmla="*/ 31 h 101"/>
                  <a:gd name="T38" fmla="*/ 78 w 91"/>
                  <a:gd name="T39" fmla="*/ 19 h 101"/>
                  <a:gd name="T40" fmla="*/ 59 w 91"/>
                  <a:gd name="T41" fmla="*/ 12 h 101"/>
                  <a:gd name="T42" fmla="*/ 53 w 91"/>
                  <a:gd name="T43" fmla="*/ 0 h 101"/>
                  <a:gd name="T44" fmla="*/ 49 w 91"/>
                  <a:gd name="T45" fmla="*/ 2 h 101"/>
                  <a:gd name="T46" fmla="*/ 45 w 91"/>
                  <a:gd name="T47" fmla="*/ 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1" h="101">
                    <a:moveTo>
                      <a:pt x="45" y="2"/>
                    </a:moveTo>
                    <a:cubicBezTo>
                      <a:pt x="45" y="11"/>
                      <a:pt x="45" y="11"/>
                      <a:pt x="45" y="11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6" y="29"/>
                      <a:pt x="36" y="29"/>
                    </a:cubicBezTo>
                    <a:cubicBezTo>
                      <a:pt x="39" y="29"/>
                      <a:pt x="42" y="35"/>
                      <a:pt x="42" y="37"/>
                    </a:cubicBezTo>
                    <a:cubicBezTo>
                      <a:pt x="42" y="39"/>
                      <a:pt x="36" y="59"/>
                      <a:pt x="34" y="61"/>
                    </a:cubicBezTo>
                    <a:cubicBezTo>
                      <a:pt x="33" y="62"/>
                      <a:pt x="13" y="68"/>
                      <a:pt x="0" y="72"/>
                    </a:cubicBezTo>
                    <a:cubicBezTo>
                      <a:pt x="3" y="78"/>
                      <a:pt x="8" y="90"/>
                      <a:pt x="14" y="101"/>
                    </a:cubicBezTo>
                    <a:cubicBezTo>
                      <a:pt x="15" y="100"/>
                      <a:pt x="15" y="100"/>
                      <a:pt x="17" y="99"/>
                    </a:cubicBezTo>
                    <a:cubicBezTo>
                      <a:pt x="23" y="96"/>
                      <a:pt x="30" y="98"/>
                      <a:pt x="35" y="96"/>
                    </a:cubicBezTo>
                    <a:cubicBezTo>
                      <a:pt x="40" y="95"/>
                      <a:pt x="35" y="91"/>
                      <a:pt x="39" y="87"/>
                    </a:cubicBezTo>
                    <a:cubicBezTo>
                      <a:pt x="43" y="84"/>
                      <a:pt x="49" y="87"/>
                      <a:pt x="52" y="85"/>
                    </a:cubicBezTo>
                    <a:cubicBezTo>
                      <a:pt x="54" y="84"/>
                      <a:pt x="55" y="77"/>
                      <a:pt x="59" y="75"/>
                    </a:cubicBezTo>
                    <a:cubicBezTo>
                      <a:pt x="63" y="74"/>
                      <a:pt x="67" y="75"/>
                      <a:pt x="66" y="71"/>
                    </a:cubicBezTo>
                    <a:cubicBezTo>
                      <a:pt x="66" y="68"/>
                      <a:pt x="66" y="57"/>
                      <a:pt x="70" y="56"/>
                    </a:cubicBezTo>
                    <a:cubicBezTo>
                      <a:pt x="73" y="56"/>
                      <a:pt x="79" y="52"/>
                      <a:pt x="79" y="50"/>
                    </a:cubicBezTo>
                    <a:cubicBezTo>
                      <a:pt x="79" y="48"/>
                      <a:pt x="86" y="40"/>
                      <a:pt x="88" y="37"/>
                    </a:cubicBezTo>
                    <a:cubicBezTo>
                      <a:pt x="91" y="33"/>
                      <a:pt x="91" y="31"/>
                      <a:pt x="88" y="31"/>
                    </a:cubicBezTo>
                    <a:cubicBezTo>
                      <a:pt x="84" y="30"/>
                      <a:pt x="79" y="21"/>
                      <a:pt x="78" y="19"/>
                    </a:cubicBezTo>
                    <a:cubicBezTo>
                      <a:pt x="77" y="16"/>
                      <a:pt x="67" y="18"/>
                      <a:pt x="59" y="12"/>
                    </a:cubicBezTo>
                    <a:cubicBezTo>
                      <a:pt x="56" y="9"/>
                      <a:pt x="54" y="5"/>
                      <a:pt x="53" y="0"/>
                    </a:cubicBezTo>
                    <a:cubicBezTo>
                      <a:pt x="49" y="2"/>
                      <a:pt x="49" y="2"/>
                      <a:pt x="49" y="2"/>
                    </a:cubicBezTo>
                    <a:lnTo>
                      <a:pt x="45" y="2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5" name="Freeform 93">
                <a:extLst>
                  <a:ext uri="{FF2B5EF4-FFF2-40B4-BE49-F238E27FC236}">
                    <a16:creationId xmlns:a16="http://schemas.microsoft.com/office/drawing/2014/main" id="{A475763A-3417-418B-B246-5A45F78F7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7363" y="3451225"/>
                <a:ext cx="30162" cy="41275"/>
              </a:xfrm>
              <a:custGeom>
                <a:avLst/>
                <a:gdLst>
                  <a:gd name="T0" fmla="*/ 10 w 14"/>
                  <a:gd name="T1" fmla="*/ 19 h 19"/>
                  <a:gd name="T2" fmla="*/ 10 w 14"/>
                  <a:gd name="T3" fmla="*/ 15 h 19"/>
                  <a:gd name="T4" fmla="*/ 9 w 14"/>
                  <a:gd name="T5" fmla="*/ 1 h 19"/>
                  <a:gd name="T6" fmla="*/ 1 w 14"/>
                  <a:gd name="T7" fmla="*/ 12 h 19"/>
                  <a:gd name="T8" fmla="*/ 0 w 14"/>
                  <a:gd name="T9" fmla="*/ 12 h 19"/>
                  <a:gd name="T10" fmla="*/ 10 w 14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9">
                    <a:moveTo>
                      <a:pt x="10" y="19"/>
                    </a:moveTo>
                    <a:cubicBezTo>
                      <a:pt x="10" y="17"/>
                      <a:pt x="10" y="16"/>
                      <a:pt x="10" y="15"/>
                    </a:cubicBezTo>
                    <a:cubicBezTo>
                      <a:pt x="12" y="12"/>
                      <a:pt x="14" y="2"/>
                      <a:pt x="9" y="1"/>
                    </a:cubicBezTo>
                    <a:cubicBezTo>
                      <a:pt x="4" y="0"/>
                      <a:pt x="1" y="9"/>
                      <a:pt x="1" y="12"/>
                    </a:cubicBezTo>
                    <a:cubicBezTo>
                      <a:pt x="1" y="12"/>
                      <a:pt x="1" y="12"/>
                      <a:pt x="0" y="12"/>
                    </a:cubicBezTo>
                    <a:cubicBezTo>
                      <a:pt x="3" y="18"/>
                      <a:pt x="7" y="19"/>
                      <a:pt x="10" y="1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6" name="Freeform 94">
                <a:extLst>
                  <a:ext uri="{FF2B5EF4-FFF2-40B4-BE49-F238E27FC236}">
                    <a16:creationId xmlns:a16="http://schemas.microsoft.com/office/drawing/2014/main" id="{FB33E4A0-7E3B-4E4F-B133-66450CDEE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525" y="3446463"/>
                <a:ext cx="119062" cy="93663"/>
              </a:xfrm>
              <a:custGeom>
                <a:avLst/>
                <a:gdLst>
                  <a:gd name="T0" fmla="*/ 9 w 54"/>
                  <a:gd name="T1" fmla="*/ 40 h 43"/>
                  <a:gd name="T2" fmla="*/ 35 w 54"/>
                  <a:gd name="T3" fmla="*/ 43 h 43"/>
                  <a:gd name="T4" fmla="*/ 39 w 54"/>
                  <a:gd name="T5" fmla="*/ 34 h 43"/>
                  <a:gd name="T6" fmla="*/ 46 w 54"/>
                  <a:gd name="T7" fmla="*/ 25 h 43"/>
                  <a:gd name="T8" fmla="*/ 46 w 54"/>
                  <a:gd name="T9" fmla="*/ 16 h 43"/>
                  <a:gd name="T10" fmla="*/ 50 w 54"/>
                  <a:gd name="T11" fmla="*/ 16 h 43"/>
                  <a:gd name="T12" fmla="*/ 54 w 54"/>
                  <a:gd name="T13" fmla="*/ 14 h 43"/>
                  <a:gd name="T14" fmla="*/ 51 w 54"/>
                  <a:gd name="T15" fmla="*/ 0 h 43"/>
                  <a:gd name="T16" fmla="*/ 38 w 54"/>
                  <a:gd name="T17" fmla="*/ 15 h 43"/>
                  <a:gd name="T18" fmla="*/ 16 w 54"/>
                  <a:gd name="T19" fmla="*/ 25 h 43"/>
                  <a:gd name="T20" fmla="*/ 3 w 54"/>
                  <a:gd name="T21" fmla="*/ 28 h 43"/>
                  <a:gd name="T22" fmla="*/ 0 w 54"/>
                  <a:gd name="T23" fmla="*/ 28 h 43"/>
                  <a:gd name="T24" fmla="*/ 9 w 54"/>
                  <a:gd name="T25" fmla="*/ 4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" h="43">
                    <a:moveTo>
                      <a:pt x="9" y="40"/>
                    </a:moveTo>
                    <a:cubicBezTo>
                      <a:pt x="10" y="41"/>
                      <a:pt x="28" y="43"/>
                      <a:pt x="35" y="43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16"/>
                      <a:pt x="46" y="16"/>
                      <a:pt x="46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2" y="7"/>
                      <a:pt x="52" y="0"/>
                      <a:pt x="51" y="0"/>
                    </a:cubicBezTo>
                    <a:cubicBezTo>
                      <a:pt x="49" y="0"/>
                      <a:pt x="41" y="8"/>
                      <a:pt x="38" y="15"/>
                    </a:cubicBezTo>
                    <a:cubicBezTo>
                      <a:pt x="34" y="21"/>
                      <a:pt x="25" y="26"/>
                      <a:pt x="16" y="25"/>
                    </a:cubicBezTo>
                    <a:cubicBezTo>
                      <a:pt x="8" y="23"/>
                      <a:pt x="5" y="27"/>
                      <a:pt x="3" y="28"/>
                    </a:cubicBezTo>
                    <a:cubicBezTo>
                      <a:pt x="2" y="29"/>
                      <a:pt x="1" y="28"/>
                      <a:pt x="0" y="28"/>
                    </a:cubicBezTo>
                    <a:cubicBezTo>
                      <a:pt x="1" y="34"/>
                      <a:pt x="8" y="39"/>
                      <a:pt x="9" y="4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7" name="Freeform 95">
                <a:extLst>
                  <a:ext uri="{FF2B5EF4-FFF2-40B4-BE49-F238E27FC236}">
                    <a16:creationId xmlns:a16="http://schemas.microsoft.com/office/drawing/2014/main" id="{7BF5D9AD-8503-4D73-A9BE-E73467E1D4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67513" y="3951288"/>
                <a:ext cx="481012" cy="149225"/>
              </a:xfrm>
              <a:custGeom>
                <a:avLst/>
                <a:gdLst>
                  <a:gd name="T0" fmla="*/ 40 w 219"/>
                  <a:gd name="T1" fmla="*/ 24 h 68"/>
                  <a:gd name="T2" fmla="*/ 31 w 219"/>
                  <a:gd name="T3" fmla="*/ 13 h 68"/>
                  <a:gd name="T4" fmla="*/ 26 w 219"/>
                  <a:gd name="T5" fmla="*/ 7 h 68"/>
                  <a:gd name="T6" fmla="*/ 25 w 219"/>
                  <a:gd name="T7" fmla="*/ 5 h 68"/>
                  <a:gd name="T8" fmla="*/ 21 w 219"/>
                  <a:gd name="T9" fmla="*/ 10 h 68"/>
                  <a:gd name="T10" fmla="*/ 12 w 219"/>
                  <a:gd name="T11" fmla="*/ 9 h 68"/>
                  <a:gd name="T12" fmla="*/ 7 w 219"/>
                  <a:gd name="T13" fmla="*/ 2 h 68"/>
                  <a:gd name="T14" fmla="*/ 0 w 219"/>
                  <a:gd name="T15" fmla="*/ 2 h 68"/>
                  <a:gd name="T16" fmla="*/ 3 w 219"/>
                  <a:gd name="T17" fmla="*/ 19 h 68"/>
                  <a:gd name="T18" fmla="*/ 15 w 219"/>
                  <a:gd name="T19" fmla="*/ 41 h 68"/>
                  <a:gd name="T20" fmla="*/ 26 w 219"/>
                  <a:gd name="T21" fmla="*/ 51 h 68"/>
                  <a:gd name="T22" fmla="*/ 47 w 219"/>
                  <a:gd name="T23" fmla="*/ 62 h 68"/>
                  <a:gd name="T24" fmla="*/ 40 w 219"/>
                  <a:gd name="T25" fmla="*/ 46 h 68"/>
                  <a:gd name="T26" fmla="*/ 40 w 219"/>
                  <a:gd name="T27" fmla="*/ 24 h 68"/>
                  <a:gd name="T28" fmla="*/ 210 w 219"/>
                  <a:gd name="T29" fmla="*/ 12 h 68"/>
                  <a:gd name="T30" fmla="*/ 200 w 219"/>
                  <a:gd name="T31" fmla="*/ 9 h 68"/>
                  <a:gd name="T32" fmla="*/ 190 w 219"/>
                  <a:gd name="T33" fmla="*/ 0 h 68"/>
                  <a:gd name="T34" fmla="*/ 181 w 219"/>
                  <a:gd name="T35" fmla="*/ 12 h 68"/>
                  <a:gd name="T36" fmla="*/ 175 w 219"/>
                  <a:gd name="T37" fmla="*/ 19 h 68"/>
                  <a:gd name="T38" fmla="*/ 172 w 219"/>
                  <a:gd name="T39" fmla="*/ 22 h 68"/>
                  <a:gd name="T40" fmla="*/ 173 w 219"/>
                  <a:gd name="T41" fmla="*/ 29 h 68"/>
                  <a:gd name="T42" fmla="*/ 165 w 219"/>
                  <a:gd name="T43" fmla="*/ 32 h 68"/>
                  <a:gd name="T44" fmla="*/ 159 w 219"/>
                  <a:gd name="T45" fmla="*/ 24 h 68"/>
                  <a:gd name="T46" fmla="*/ 159 w 219"/>
                  <a:gd name="T47" fmla="*/ 24 h 68"/>
                  <a:gd name="T48" fmla="*/ 149 w 219"/>
                  <a:gd name="T49" fmla="*/ 39 h 68"/>
                  <a:gd name="T50" fmla="*/ 133 w 219"/>
                  <a:gd name="T51" fmla="*/ 44 h 68"/>
                  <a:gd name="T52" fmla="*/ 125 w 219"/>
                  <a:gd name="T53" fmla="*/ 59 h 68"/>
                  <a:gd name="T54" fmla="*/ 108 w 219"/>
                  <a:gd name="T55" fmla="*/ 54 h 68"/>
                  <a:gd name="T56" fmla="*/ 112 w 219"/>
                  <a:gd name="T57" fmla="*/ 62 h 68"/>
                  <a:gd name="T58" fmla="*/ 121 w 219"/>
                  <a:gd name="T59" fmla="*/ 66 h 68"/>
                  <a:gd name="T60" fmla="*/ 136 w 219"/>
                  <a:gd name="T61" fmla="*/ 65 h 68"/>
                  <a:gd name="T62" fmla="*/ 147 w 219"/>
                  <a:gd name="T63" fmla="*/ 60 h 68"/>
                  <a:gd name="T64" fmla="*/ 158 w 219"/>
                  <a:gd name="T65" fmla="*/ 62 h 68"/>
                  <a:gd name="T66" fmla="*/ 168 w 219"/>
                  <a:gd name="T67" fmla="*/ 56 h 68"/>
                  <a:gd name="T68" fmla="*/ 171 w 219"/>
                  <a:gd name="T69" fmla="*/ 45 h 68"/>
                  <a:gd name="T70" fmla="*/ 178 w 219"/>
                  <a:gd name="T71" fmla="*/ 35 h 68"/>
                  <a:gd name="T72" fmla="*/ 195 w 219"/>
                  <a:gd name="T73" fmla="*/ 28 h 68"/>
                  <a:gd name="T74" fmla="*/ 201 w 219"/>
                  <a:gd name="T75" fmla="*/ 29 h 68"/>
                  <a:gd name="T76" fmla="*/ 208 w 219"/>
                  <a:gd name="T77" fmla="*/ 23 h 68"/>
                  <a:gd name="T78" fmla="*/ 218 w 219"/>
                  <a:gd name="T79" fmla="*/ 18 h 68"/>
                  <a:gd name="T80" fmla="*/ 210 w 219"/>
                  <a:gd name="T81" fmla="*/ 1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19" h="68">
                    <a:moveTo>
                      <a:pt x="40" y="24"/>
                    </a:moveTo>
                    <a:cubicBezTo>
                      <a:pt x="40" y="17"/>
                      <a:pt x="33" y="18"/>
                      <a:pt x="31" y="13"/>
                    </a:cubicBezTo>
                    <a:cubicBezTo>
                      <a:pt x="29" y="7"/>
                      <a:pt x="27" y="10"/>
                      <a:pt x="26" y="7"/>
                    </a:cubicBezTo>
                    <a:cubicBezTo>
                      <a:pt x="25" y="7"/>
                      <a:pt x="25" y="6"/>
                      <a:pt x="25" y="5"/>
                    </a:cubicBezTo>
                    <a:cubicBezTo>
                      <a:pt x="21" y="7"/>
                      <a:pt x="22" y="10"/>
                      <a:pt x="21" y="10"/>
                    </a:cubicBezTo>
                    <a:cubicBezTo>
                      <a:pt x="20" y="10"/>
                      <a:pt x="12" y="11"/>
                      <a:pt x="12" y="9"/>
                    </a:cubicBezTo>
                    <a:cubicBezTo>
                      <a:pt x="12" y="7"/>
                      <a:pt x="11" y="3"/>
                      <a:pt x="7" y="2"/>
                    </a:cubicBezTo>
                    <a:cubicBezTo>
                      <a:pt x="4" y="2"/>
                      <a:pt x="2" y="2"/>
                      <a:pt x="0" y="2"/>
                    </a:cubicBezTo>
                    <a:cubicBezTo>
                      <a:pt x="3" y="8"/>
                      <a:pt x="3" y="14"/>
                      <a:pt x="3" y="19"/>
                    </a:cubicBezTo>
                    <a:cubicBezTo>
                      <a:pt x="4" y="26"/>
                      <a:pt x="13" y="36"/>
                      <a:pt x="15" y="41"/>
                    </a:cubicBezTo>
                    <a:cubicBezTo>
                      <a:pt x="16" y="45"/>
                      <a:pt x="19" y="46"/>
                      <a:pt x="26" y="51"/>
                    </a:cubicBezTo>
                    <a:cubicBezTo>
                      <a:pt x="32" y="56"/>
                      <a:pt x="45" y="63"/>
                      <a:pt x="47" y="62"/>
                    </a:cubicBezTo>
                    <a:cubicBezTo>
                      <a:pt x="50" y="61"/>
                      <a:pt x="44" y="50"/>
                      <a:pt x="40" y="46"/>
                    </a:cubicBezTo>
                    <a:cubicBezTo>
                      <a:pt x="36" y="42"/>
                      <a:pt x="40" y="32"/>
                      <a:pt x="40" y="24"/>
                    </a:cubicBezTo>
                    <a:close/>
                    <a:moveTo>
                      <a:pt x="210" y="12"/>
                    </a:moveTo>
                    <a:cubicBezTo>
                      <a:pt x="207" y="12"/>
                      <a:pt x="200" y="12"/>
                      <a:pt x="200" y="9"/>
                    </a:cubicBezTo>
                    <a:cubicBezTo>
                      <a:pt x="200" y="6"/>
                      <a:pt x="194" y="0"/>
                      <a:pt x="190" y="0"/>
                    </a:cubicBezTo>
                    <a:cubicBezTo>
                      <a:pt x="186" y="0"/>
                      <a:pt x="181" y="8"/>
                      <a:pt x="181" y="12"/>
                    </a:cubicBezTo>
                    <a:cubicBezTo>
                      <a:pt x="181" y="15"/>
                      <a:pt x="174" y="15"/>
                      <a:pt x="175" y="19"/>
                    </a:cubicBezTo>
                    <a:cubicBezTo>
                      <a:pt x="175" y="21"/>
                      <a:pt x="174" y="22"/>
                      <a:pt x="172" y="22"/>
                    </a:cubicBezTo>
                    <a:cubicBezTo>
                      <a:pt x="173" y="26"/>
                      <a:pt x="174" y="29"/>
                      <a:pt x="173" y="29"/>
                    </a:cubicBezTo>
                    <a:cubicBezTo>
                      <a:pt x="170" y="28"/>
                      <a:pt x="169" y="32"/>
                      <a:pt x="165" y="32"/>
                    </a:cubicBezTo>
                    <a:cubicBezTo>
                      <a:pt x="164" y="32"/>
                      <a:pt x="162" y="28"/>
                      <a:pt x="159" y="24"/>
                    </a:cubicBezTo>
                    <a:cubicBezTo>
                      <a:pt x="159" y="24"/>
                      <a:pt x="159" y="24"/>
                      <a:pt x="159" y="24"/>
                    </a:cubicBezTo>
                    <a:cubicBezTo>
                      <a:pt x="156" y="24"/>
                      <a:pt x="150" y="33"/>
                      <a:pt x="149" y="39"/>
                    </a:cubicBezTo>
                    <a:cubicBezTo>
                      <a:pt x="148" y="46"/>
                      <a:pt x="142" y="44"/>
                      <a:pt x="133" y="44"/>
                    </a:cubicBezTo>
                    <a:cubicBezTo>
                      <a:pt x="124" y="45"/>
                      <a:pt x="127" y="54"/>
                      <a:pt x="125" y="59"/>
                    </a:cubicBezTo>
                    <a:cubicBezTo>
                      <a:pt x="123" y="63"/>
                      <a:pt x="113" y="55"/>
                      <a:pt x="108" y="54"/>
                    </a:cubicBezTo>
                    <a:cubicBezTo>
                      <a:pt x="109" y="58"/>
                      <a:pt x="110" y="62"/>
                      <a:pt x="112" y="62"/>
                    </a:cubicBezTo>
                    <a:cubicBezTo>
                      <a:pt x="115" y="62"/>
                      <a:pt x="119" y="68"/>
                      <a:pt x="121" y="66"/>
                    </a:cubicBezTo>
                    <a:cubicBezTo>
                      <a:pt x="124" y="64"/>
                      <a:pt x="132" y="66"/>
                      <a:pt x="136" y="65"/>
                    </a:cubicBezTo>
                    <a:cubicBezTo>
                      <a:pt x="140" y="64"/>
                      <a:pt x="141" y="60"/>
                      <a:pt x="147" y="60"/>
                    </a:cubicBezTo>
                    <a:cubicBezTo>
                      <a:pt x="154" y="60"/>
                      <a:pt x="151" y="66"/>
                      <a:pt x="158" y="62"/>
                    </a:cubicBezTo>
                    <a:cubicBezTo>
                      <a:pt x="165" y="59"/>
                      <a:pt x="169" y="62"/>
                      <a:pt x="168" y="56"/>
                    </a:cubicBezTo>
                    <a:cubicBezTo>
                      <a:pt x="167" y="50"/>
                      <a:pt x="172" y="50"/>
                      <a:pt x="171" y="45"/>
                    </a:cubicBezTo>
                    <a:cubicBezTo>
                      <a:pt x="171" y="40"/>
                      <a:pt x="179" y="44"/>
                      <a:pt x="178" y="35"/>
                    </a:cubicBezTo>
                    <a:cubicBezTo>
                      <a:pt x="177" y="26"/>
                      <a:pt x="190" y="28"/>
                      <a:pt x="195" y="28"/>
                    </a:cubicBezTo>
                    <a:cubicBezTo>
                      <a:pt x="196" y="28"/>
                      <a:pt x="198" y="28"/>
                      <a:pt x="201" y="29"/>
                    </a:cubicBezTo>
                    <a:cubicBezTo>
                      <a:pt x="204" y="27"/>
                      <a:pt x="210" y="25"/>
                      <a:pt x="208" y="23"/>
                    </a:cubicBezTo>
                    <a:cubicBezTo>
                      <a:pt x="205" y="20"/>
                      <a:pt x="217" y="22"/>
                      <a:pt x="218" y="18"/>
                    </a:cubicBezTo>
                    <a:cubicBezTo>
                      <a:pt x="219" y="14"/>
                      <a:pt x="213" y="11"/>
                      <a:pt x="210" y="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8" name="Freeform 96">
                <a:extLst>
                  <a:ext uri="{FF2B5EF4-FFF2-40B4-BE49-F238E27FC236}">
                    <a16:creationId xmlns:a16="http://schemas.microsoft.com/office/drawing/2014/main" id="{1286B891-F0F1-49AB-81C6-C9F58E0E5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6763" y="3998913"/>
                <a:ext cx="33337" cy="22225"/>
              </a:xfrm>
              <a:custGeom>
                <a:avLst/>
                <a:gdLst>
                  <a:gd name="T0" fmla="*/ 6 w 15"/>
                  <a:gd name="T1" fmla="*/ 10 h 10"/>
                  <a:gd name="T2" fmla="*/ 14 w 15"/>
                  <a:gd name="T3" fmla="*/ 7 h 10"/>
                  <a:gd name="T4" fmla="*/ 13 w 15"/>
                  <a:gd name="T5" fmla="*/ 0 h 10"/>
                  <a:gd name="T6" fmla="*/ 8 w 15"/>
                  <a:gd name="T7" fmla="*/ 3 h 10"/>
                  <a:gd name="T8" fmla="*/ 0 w 15"/>
                  <a:gd name="T9" fmla="*/ 2 h 10"/>
                  <a:gd name="T10" fmla="*/ 6 w 15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6" y="10"/>
                    </a:moveTo>
                    <a:cubicBezTo>
                      <a:pt x="10" y="10"/>
                      <a:pt x="11" y="6"/>
                      <a:pt x="14" y="7"/>
                    </a:cubicBezTo>
                    <a:cubicBezTo>
                      <a:pt x="15" y="7"/>
                      <a:pt x="14" y="4"/>
                      <a:pt x="13" y="0"/>
                    </a:cubicBezTo>
                    <a:cubicBezTo>
                      <a:pt x="11" y="1"/>
                      <a:pt x="8" y="1"/>
                      <a:pt x="8" y="3"/>
                    </a:cubicBezTo>
                    <a:cubicBezTo>
                      <a:pt x="8" y="6"/>
                      <a:pt x="3" y="2"/>
                      <a:pt x="0" y="2"/>
                    </a:cubicBezTo>
                    <a:cubicBezTo>
                      <a:pt x="3" y="6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19" name="Freeform 97">
                <a:extLst>
                  <a:ext uri="{FF2B5EF4-FFF2-40B4-BE49-F238E27FC236}">
                    <a16:creationId xmlns:a16="http://schemas.microsoft.com/office/drawing/2014/main" id="{B8E49C3D-4AA1-432A-A8DC-EDB16C6CF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263" y="3135313"/>
                <a:ext cx="241300" cy="234950"/>
              </a:xfrm>
              <a:custGeom>
                <a:avLst/>
                <a:gdLst>
                  <a:gd name="T0" fmla="*/ 92 w 110"/>
                  <a:gd name="T1" fmla="*/ 97 h 107"/>
                  <a:gd name="T2" fmla="*/ 98 w 110"/>
                  <a:gd name="T3" fmla="*/ 93 h 107"/>
                  <a:gd name="T4" fmla="*/ 105 w 110"/>
                  <a:gd name="T5" fmla="*/ 98 h 107"/>
                  <a:gd name="T6" fmla="*/ 110 w 110"/>
                  <a:gd name="T7" fmla="*/ 95 h 107"/>
                  <a:gd name="T8" fmla="*/ 104 w 110"/>
                  <a:gd name="T9" fmla="*/ 86 h 107"/>
                  <a:gd name="T10" fmla="*/ 100 w 110"/>
                  <a:gd name="T11" fmla="*/ 78 h 107"/>
                  <a:gd name="T12" fmla="*/ 100 w 110"/>
                  <a:gd name="T13" fmla="*/ 71 h 107"/>
                  <a:gd name="T14" fmla="*/ 95 w 110"/>
                  <a:gd name="T15" fmla="*/ 64 h 107"/>
                  <a:gd name="T16" fmla="*/ 83 w 110"/>
                  <a:gd name="T17" fmla="*/ 56 h 107"/>
                  <a:gd name="T18" fmla="*/ 77 w 110"/>
                  <a:gd name="T19" fmla="*/ 50 h 107"/>
                  <a:gd name="T20" fmla="*/ 76 w 110"/>
                  <a:gd name="T21" fmla="*/ 39 h 107"/>
                  <a:gd name="T22" fmla="*/ 80 w 110"/>
                  <a:gd name="T23" fmla="*/ 30 h 107"/>
                  <a:gd name="T24" fmla="*/ 82 w 110"/>
                  <a:gd name="T25" fmla="*/ 24 h 107"/>
                  <a:gd name="T26" fmla="*/ 77 w 110"/>
                  <a:gd name="T27" fmla="*/ 20 h 107"/>
                  <a:gd name="T28" fmla="*/ 71 w 110"/>
                  <a:gd name="T29" fmla="*/ 13 h 107"/>
                  <a:gd name="T30" fmla="*/ 67 w 110"/>
                  <a:gd name="T31" fmla="*/ 4 h 107"/>
                  <a:gd name="T32" fmla="*/ 55 w 110"/>
                  <a:gd name="T33" fmla="*/ 2 h 107"/>
                  <a:gd name="T34" fmla="*/ 45 w 110"/>
                  <a:gd name="T35" fmla="*/ 0 h 107"/>
                  <a:gd name="T36" fmla="*/ 40 w 110"/>
                  <a:gd name="T37" fmla="*/ 4 h 107"/>
                  <a:gd name="T38" fmla="*/ 40 w 110"/>
                  <a:gd name="T39" fmla="*/ 4 h 107"/>
                  <a:gd name="T40" fmla="*/ 34 w 110"/>
                  <a:gd name="T41" fmla="*/ 9 h 107"/>
                  <a:gd name="T42" fmla="*/ 27 w 110"/>
                  <a:gd name="T43" fmla="*/ 14 h 107"/>
                  <a:gd name="T44" fmla="*/ 27 w 110"/>
                  <a:gd name="T45" fmla="*/ 24 h 107"/>
                  <a:gd name="T46" fmla="*/ 27 w 110"/>
                  <a:gd name="T47" fmla="*/ 33 h 107"/>
                  <a:gd name="T48" fmla="*/ 24 w 110"/>
                  <a:gd name="T49" fmla="*/ 39 h 107"/>
                  <a:gd name="T50" fmla="*/ 0 w 110"/>
                  <a:gd name="T51" fmla="*/ 52 h 107"/>
                  <a:gd name="T52" fmla="*/ 1 w 110"/>
                  <a:gd name="T53" fmla="*/ 58 h 107"/>
                  <a:gd name="T54" fmla="*/ 3 w 110"/>
                  <a:gd name="T55" fmla="*/ 69 h 107"/>
                  <a:gd name="T56" fmla="*/ 12 w 110"/>
                  <a:gd name="T57" fmla="*/ 69 h 107"/>
                  <a:gd name="T58" fmla="*/ 34 w 110"/>
                  <a:gd name="T59" fmla="*/ 82 h 107"/>
                  <a:gd name="T60" fmla="*/ 61 w 110"/>
                  <a:gd name="T61" fmla="*/ 102 h 107"/>
                  <a:gd name="T62" fmla="*/ 75 w 110"/>
                  <a:gd name="T63" fmla="*/ 106 h 107"/>
                  <a:gd name="T64" fmla="*/ 88 w 110"/>
                  <a:gd name="T65" fmla="*/ 107 h 107"/>
                  <a:gd name="T66" fmla="*/ 92 w 110"/>
                  <a:gd name="T67" fmla="*/ 9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0" h="107">
                    <a:moveTo>
                      <a:pt x="92" y="97"/>
                    </a:moveTo>
                    <a:cubicBezTo>
                      <a:pt x="94" y="96"/>
                      <a:pt x="94" y="94"/>
                      <a:pt x="98" y="93"/>
                    </a:cubicBezTo>
                    <a:cubicBezTo>
                      <a:pt x="100" y="93"/>
                      <a:pt x="102" y="95"/>
                      <a:pt x="105" y="98"/>
                    </a:cubicBezTo>
                    <a:cubicBezTo>
                      <a:pt x="106" y="96"/>
                      <a:pt x="108" y="95"/>
                      <a:pt x="110" y="95"/>
                    </a:cubicBezTo>
                    <a:cubicBezTo>
                      <a:pt x="107" y="92"/>
                      <a:pt x="103" y="88"/>
                      <a:pt x="104" y="86"/>
                    </a:cubicBezTo>
                    <a:cubicBezTo>
                      <a:pt x="104" y="82"/>
                      <a:pt x="100" y="81"/>
                      <a:pt x="100" y="78"/>
                    </a:cubicBezTo>
                    <a:cubicBezTo>
                      <a:pt x="99" y="76"/>
                      <a:pt x="102" y="73"/>
                      <a:pt x="100" y="71"/>
                    </a:cubicBezTo>
                    <a:cubicBezTo>
                      <a:pt x="99" y="69"/>
                      <a:pt x="98" y="65"/>
                      <a:pt x="95" y="64"/>
                    </a:cubicBezTo>
                    <a:cubicBezTo>
                      <a:pt x="92" y="64"/>
                      <a:pt x="82" y="59"/>
                      <a:pt x="83" y="56"/>
                    </a:cubicBezTo>
                    <a:cubicBezTo>
                      <a:pt x="83" y="53"/>
                      <a:pt x="79" y="50"/>
                      <a:pt x="77" y="50"/>
                    </a:cubicBezTo>
                    <a:cubicBezTo>
                      <a:pt x="76" y="49"/>
                      <a:pt x="74" y="41"/>
                      <a:pt x="76" y="39"/>
                    </a:cubicBezTo>
                    <a:cubicBezTo>
                      <a:pt x="78" y="38"/>
                      <a:pt x="78" y="30"/>
                      <a:pt x="80" y="30"/>
                    </a:cubicBezTo>
                    <a:cubicBezTo>
                      <a:pt x="83" y="30"/>
                      <a:pt x="81" y="26"/>
                      <a:pt x="82" y="24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5" y="20"/>
                      <a:pt x="71" y="16"/>
                      <a:pt x="71" y="13"/>
                    </a:cubicBezTo>
                    <a:cubicBezTo>
                      <a:pt x="71" y="10"/>
                      <a:pt x="67" y="5"/>
                      <a:pt x="67" y="4"/>
                    </a:cubicBezTo>
                    <a:cubicBezTo>
                      <a:pt x="66" y="10"/>
                      <a:pt x="58" y="1"/>
                      <a:pt x="55" y="2"/>
                    </a:cubicBezTo>
                    <a:cubicBezTo>
                      <a:pt x="53" y="4"/>
                      <a:pt x="51" y="0"/>
                      <a:pt x="45" y="0"/>
                    </a:cubicBezTo>
                    <a:cubicBezTo>
                      <a:pt x="42" y="1"/>
                      <a:pt x="42" y="2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4" y="9"/>
                      <a:pt x="28" y="11"/>
                      <a:pt x="27" y="14"/>
                    </a:cubicBezTo>
                    <a:cubicBezTo>
                      <a:pt x="25" y="18"/>
                      <a:pt x="29" y="21"/>
                      <a:pt x="27" y="24"/>
                    </a:cubicBezTo>
                    <a:cubicBezTo>
                      <a:pt x="26" y="26"/>
                      <a:pt x="26" y="31"/>
                      <a:pt x="27" y="33"/>
                    </a:cubicBezTo>
                    <a:cubicBezTo>
                      <a:pt x="27" y="34"/>
                      <a:pt x="24" y="39"/>
                      <a:pt x="24" y="39"/>
                    </a:cubicBezTo>
                    <a:cubicBezTo>
                      <a:pt x="24" y="39"/>
                      <a:pt x="11" y="46"/>
                      <a:pt x="0" y="52"/>
                    </a:cubicBezTo>
                    <a:cubicBezTo>
                      <a:pt x="0" y="54"/>
                      <a:pt x="0" y="56"/>
                      <a:pt x="1" y="58"/>
                    </a:cubicBezTo>
                    <a:cubicBezTo>
                      <a:pt x="1" y="60"/>
                      <a:pt x="2" y="65"/>
                      <a:pt x="3" y="69"/>
                    </a:cubicBezTo>
                    <a:cubicBezTo>
                      <a:pt x="7" y="69"/>
                      <a:pt x="8" y="68"/>
                      <a:pt x="12" y="69"/>
                    </a:cubicBezTo>
                    <a:cubicBezTo>
                      <a:pt x="16" y="69"/>
                      <a:pt x="31" y="80"/>
                      <a:pt x="34" y="82"/>
                    </a:cubicBezTo>
                    <a:cubicBezTo>
                      <a:pt x="38" y="83"/>
                      <a:pt x="57" y="98"/>
                      <a:pt x="61" y="102"/>
                    </a:cubicBezTo>
                    <a:cubicBezTo>
                      <a:pt x="65" y="105"/>
                      <a:pt x="72" y="106"/>
                      <a:pt x="75" y="106"/>
                    </a:cubicBezTo>
                    <a:cubicBezTo>
                      <a:pt x="76" y="106"/>
                      <a:pt x="83" y="107"/>
                      <a:pt x="88" y="107"/>
                    </a:cubicBezTo>
                    <a:cubicBezTo>
                      <a:pt x="89" y="104"/>
                      <a:pt x="92" y="98"/>
                      <a:pt x="92" y="9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0" name="Freeform 98">
                <a:extLst>
                  <a:ext uri="{FF2B5EF4-FFF2-40B4-BE49-F238E27FC236}">
                    <a16:creationId xmlns:a16="http://schemas.microsoft.com/office/drawing/2014/main" id="{4081EE24-1F01-4430-98F8-B4496C5DA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7350" y="3338513"/>
                <a:ext cx="47625" cy="46038"/>
              </a:xfrm>
              <a:custGeom>
                <a:avLst/>
                <a:gdLst>
                  <a:gd name="T0" fmla="*/ 7 w 21"/>
                  <a:gd name="T1" fmla="*/ 15 h 21"/>
                  <a:gd name="T2" fmla="*/ 12 w 21"/>
                  <a:gd name="T3" fmla="*/ 20 h 21"/>
                  <a:gd name="T4" fmla="*/ 21 w 21"/>
                  <a:gd name="T5" fmla="*/ 21 h 21"/>
                  <a:gd name="T6" fmla="*/ 16 w 21"/>
                  <a:gd name="T7" fmla="*/ 6 h 21"/>
                  <a:gd name="T8" fmla="*/ 17 w 21"/>
                  <a:gd name="T9" fmla="*/ 5 h 21"/>
                  <a:gd name="T10" fmla="*/ 10 w 21"/>
                  <a:gd name="T11" fmla="*/ 0 h 21"/>
                  <a:gd name="T12" fmla="*/ 4 w 21"/>
                  <a:gd name="T13" fmla="*/ 4 h 21"/>
                  <a:gd name="T14" fmla="*/ 0 w 21"/>
                  <a:gd name="T15" fmla="*/ 14 h 21"/>
                  <a:gd name="T16" fmla="*/ 7 w 21"/>
                  <a:gd name="T17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21">
                    <a:moveTo>
                      <a:pt x="7" y="15"/>
                    </a:moveTo>
                    <a:cubicBezTo>
                      <a:pt x="12" y="20"/>
                      <a:pt x="12" y="20"/>
                      <a:pt x="12" y="20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19" y="15"/>
                      <a:pt x="16" y="8"/>
                      <a:pt x="16" y="6"/>
                    </a:cubicBezTo>
                    <a:cubicBezTo>
                      <a:pt x="16" y="6"/>
                      <a:pt x="16" y="5"/>
                      <a:pt x="17" y="5"/>
                    </a:cubicBezTo>
                    <a:cubicBezTo>
                      <a:pt x="14" y="2"/>
                      <a:pt x="12" y="0"/>
                      <a:pt x="10" y="0"/>
                    </a:cubicBezTo>
                    <a:cubicBezTo>
                      <a:pt x="6" y="1"/>
                      <a:pt x="6" y="3"/>
                      <a:pt x="4" y="4"/>
                    </a:cubicBezTo>
                    <a:cubicBezTo>
                      <a:pt x="4" y="5"/>
                      <a:pt x="1" y="11"/>
                      <a:pt x="0" y="14"/>
                    </a:cubicBezTo>
                    <a:cubicBezTo>
                      <a:pt x="4" y="15"/>
                      <a:pt x="7" y="15"/>
                      <a:pt x="7" y="1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1" name="Freeform 99">
                <a:extLst>
                  <a:ext uri="{FF2B5EF4-FFF2-40B4-BE49-F238E27FC236}">
                    <a16:creationId xmlns:a16="http://schemas.microsoft.com/office/drawing/2014/main" id="{1DC6EA99-2DB3-44DA-B746-2CDF9495C0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03700" y="2716213"/>
                <a:ext cx="361950" cy="301625"/>
              </a:xfrm>
              <a:custGeom>
                <a:avLst/>
                <a:gdLst>
                  <a:gd name="T0" fmla="*/ 145 w 165"/>
                  <a:gd name="T1" fmla="*/ 31 h 138"/>
                  <a:gd name="T2" fmla="*/ 139 w 165"/>
                  <a:gd name="T3" fmla="*/ 29 h 138"/>
                  <a:gd name="T4" fmla="*/ 132 w 165"/>
                  <a:gd name="T5" fmla="*/ 26 h 138"/>
                  <a:gd name="T6" fmla="*/ 120 w 165"/>
                  <a:gd name="T7" fmla="*/ 24 h 138"/>
                  <a:gd name="T8" fmla="*/ 114 w 165"/>
                  <a:gd name="T9" fmla="*/ 20 h 138"/>
                  <a:gd name="T10" fmla="*/ 111 w 165"/>
                  <a:gd name="T11" fmla="*/ 15 h 138"/>
                  <a:gd name="T12" fmla="*/ 106 w 165"/>
                  <a:gd name="T13" fmla="*/ 17 h 138"/>
                  <a:gd name="T14" fmla="*/ 103 w 165"/>
                  <a:gd name="T15" fmla="*/ 14 h 138"/>
                  <a:gd name="T16" fmla="*/ 96 w 165"/>
                  <a:gd name="T17" fmla="*/ 9 h 138"/>
                  <a:gd name="T18" fmla="*/ 90 w 165"/>
                  <a:gd name="T19" fmla="*/ 6 h 138"/>
                  <a:gd name="T20" fmla="*/ 86 w 165"/>
                  <a:gd name="T21" fmla="*/ 2 h 138"/>
                  <a:gd name="T22" fmla="*/ 84 w 165"/>
                  <a:gd name="T23" fmla="*/ 0 h 138"/>
                  <a:gd name="T24" fmla="*/ 82 w 165"/>
                  <a:gd name="T25" fmla="*/ 0 h 138"/>
                  <a:gd name="T26" fmla="*/ 75 w 165"/>
                  <a:gd name="T27" fmla="*/ 10 h 138"/>
                  <a:gd name="T28" fmla="*/ 63 w 165"/>
                  <a:gd name="T29" fmla="*/ 18 h 138"/>
                  <a:gd name="T30" fmla="*/ 56 w 165"/>
                  <a:gd name="T31" fmla="*/ 26 h 138"/>
                  <a:gd name="T32" fmla="*/ 42 w 165"/>
                  <a:gd name="T33" fmla="*/ 21 h 138"/>
                  <a:gd name="T34" fmla="*/ 35 w 165"/>
                  <a:gd name="T35" fmla="*/ 25 h 138"/>
                  <a:gd name="T36" fmla="*/ 37 w 165"/>
                  <a:gd name="T37" fmla="*/ 37 h 138"/>
                  <a:gd name="T38" fmla="*/ 27 w 165"/>
                  <a:gd name="T39" fmla="*/ 37 h 138"/>
                  <a:gd name="T40" fmla="*/ 20 w 165"/>
                  <a:gd name="T41" fmla="*/ 34 h 138"/>
                  <a:gd name="T42" fmla="*/ 9 w 165"/>
                  <a:gd name="T43" fmla="*/ 35 h 138"/>
                  <a:gd name="T44" fmla="*/ 2 w 165"/>
                  <a:gd name="T45" fmla="*/ 40 h 138"/>
                  <a:gd name="T46" fmla="*/ 4 w 165"/>
                  <a:gd name="T47" fmla="*/ 47 h 138"/>
                  <a:gd name="T48" fmla="*/ 19 w 165"/>
                  <a:gd name="T49" fmla="*/ 52 h 138"/>
                  <a:gd name="T50" fmla="*/ 28 w 165"/>
                  <a:gd name="T51" fmla="*/ 55 h 138"/>
                  <a:gd name="T52" fmla="*/ 32 w 165"/>
                  <a:gd name="T53" fmla="*/ 60 h 138"/>
                  <a:gd name="T54" fmla="*/ 41 w 165"/>
                  <a:gd name="T55" fmla="*/ 69 h 138"/>
                  <a:gd name="T56" fmla="*/ 44 w 165"/>
                  <a:gd name="T57" fmla="*/ 78 h 138"/>
                  <a:gd name="T58" fmla="*/ 42 w 165"/>
                  <a:gd name="T59" fmla="*/ 92 h 138"/>
                  <a:gd name="T60" fmla="*/ 37 w 165"/>
                  <a:gd name="T61" fmla="*/ 112 h 138"/>
                  <a:gd name="T62" fmla="*/ 36 w 165"/>
                  <a:gd name="T63" fmla="*/ 112 h 138"/>
                  <a:gd name="T64" fmla="*/ 43 w 165"/>
                  <a:gd name="T65" fmla="*/ 115 h 138"/>
                  <a:gd name="T66" fmla="*/ 54 w 165"/>
                  <a:gd name="T67" fmla="*/ 120 h 138"/>
                  <a:gd name="T68" fmla="*/ 62 w 165"/>
                  <a:gd name="T69" fmla="*/ 120 h 138"/>
                  <a:gd name="T70" fmla="*/ 68 w 165"/>
                  <a:gd name="T71" fmla="*/ 121 h 138"/>
                  <a:gd name="T72" fmla="*/ 81 w 165"/>
                  <a:gd name="T73" fmla="*/ 124 h 138"/>
                  <a:gd name="T74" fmla="*/ 93 w 165"/>
                  <a:gd name="T75" fmla="*/ 124 h 138"/>
                  <a:gd name="T76" fmla="*/ 92 w 165"/>
                  <a:gd name="T77" fmla="*/ 122 h 138"/>
                  <a:gd name="T78" fmla="*/ 101 w 165"/>
                  <a:gd name="T79" fmla="*/ 110 h 138"/>
                  <a:gd name="T80" fmla="*/ 122 w 165"/>
                  <a:gd name="T81" fmla="*/ 115 h 138"/>
                  <a:gd name="T82" fmla="*/ 135 w 165"/>
                  <a:gd name="T83" fmla="*/ 111 h 138"/>
                  <a:gd name="T84" fmla="*/ 142 w 165"/>
                  <a:gd name="T85" fmla="*/ 106 h 138"/>
                  <a:gd name="T86" fmla="*/ 143 w 165"/>
                  <a:gd name="T87" fmla="*/ 102 h 138"/>
                  <a:gd name="T88" fmla="*/ 138 w 165"/>
                  <a:gd name="T89" fmla="*/ 100 h 138"/>
                  <a:gd name="T90" fmla="*/ 136 w 165"/>
                  <a:gd name="T91" fmla="*/ 95 h 138"/>
                  <a:gd name="T92" fmla="*/ 132 w 165"/>
                  <a:gd name="T93" fmla="*/ 89 h 138"/>
                  <a:gd name="T94" fmla="*/ 135 w 165"/>
                  <a:gd name="T95" fmla="*/ 86 h 138"/>
                  <a:gd name="T96" fmla="*/ 137 w 165"/>
                  <a:gd name="T97" fmla="*/ 82 h 138"/>
                  <a:gd name="T98" fmla="*/ 136 w 165"/>
                  <a:gd name="T99" fmla="*/ 76 h 138"/>
                  <a:gd name="T100" fmla="*/ 134 w 165"/>
                  <a:gd name="T101" fmla="*/ 71 h 138"/>
                  <a:gd name="T102" fmla="*/ 129 w 165"/>
                  <a:gd name="T103" fmla="*/ 70 h 138"/>
                  <a:gd name="T104" fmla="*/ 127 w 165"/>
                  <a:gd name="T105" fmla="*/ 67 h 138"/>
                  <a:gd name="T106" fmla="*/ 134 w 165"/>
                  <a:gd name="T107" fmla="*/ 58 h 138"/>
                  <a:gd name="T108" fmla="*/ 140 w 165"/>
                  <a:gd name="T109" fmla="*/ 53 h 138"/>
                  <a:gd name="T110" fmla="*/ 143 w 165"/>
                  <a:gd name="T111" fmla="*/ 44 h 138"/>
                  <a:gd name="T112" fmla="*/ 147 w 165"/>
                  <a:gd name="T113" fmla="*/ 35 h 138"/>
                  <a:gd name="T114" fmla="*/ 145 w 165"/>
                  <a:gd name="T115" fmla="*/ 31 h 138"/>
                  <a:gd name="T116" fmla="*/ 163 w 165"/>
                  <a:gd name="T117" fmla="*/ 116 h 138"/>
                  <a:gd name="T118" fmla="*/ 156 w 165"/>
                  <a:gd name="T119" fmla="*/ 122 h 138"/>
                  <a:gd name="T120" fmla="*/ 160 w 165"/>
                  <a:gd name="T121" fmla="*/ 137 h 138"/>
                  <a:gd name="T122" fmla="*/ 163 w 165"/>
                  <a:gd name="T123" fmla="*/ 11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5" h="138">
                    <a:moveTo>
                      <a:pt x="145" y="31"/>
                    </a:moveTo>
                    <a:cubicBezTo>
                      <a:pt x="143" y="32"/>
                      <a:pt x="142" y="29"/>
                      <a:pt x="139" y="29"/>
                    </a:cubicBezTo>
                    <a:cubicBezTo>
                      <a:pt x="136" y="29"/>
                      <a:pt x="133" y="28"/>
                      <a:pt x="132" y="26"/>
                    </a:cubicBezTo>
                    <a:cubicBezTo>
                      <a:pt x="130" y="24"/>
                      <a:pt x="122" y="23"/>
                      <a:pt x="120" y="24"/>
                    </a:cubicBezTo>
                    <a:cubicBezTo>
                      <a:pt x="117" y="24"/>
                      <a:pt x="117" y="20"/>
                      <a:pt x="114" y="20"/>
                    </a:cubicBezTo>
                    <a:cubicBezTo>
                      <a:pt x="112" y="21"/>
                      <a:pt x="111" y="17"/>
                      <a:pt x="111" y="15"/>
                    </a:cubicBezTo>
                    <a:cubicBezTo>
                      <a:pt x="111" y="13"/>
                      <a:pt x="108" y="16"/>
                      <a:pt x="106" y="17"/>
                    </a:cubicBezTo>
                    <a:cubicBezTo>
                      <a:pt x="104" y="18"/>
                      <a:pt x="103" y="15"/>
                      <a:pt x="103" y="14"/>
                    </a:cubicBezTo>
                    <a:cubicBezTo>
                      <a:pt x="102" y="12"/>
                      <a:pt x="98" y="11"/>
                      <a:pt x="96" y="9"/>
                    </a:cubicBezTo>
                    <a:cubicBezTo>
                      <a:pt x="93" y="8"/>
                      <a:pt x="91" y="4"/>
                      <a:pt x="90" y="6"/>
                    </a:cubicBezTo>
                    <a:cubicBezTo>
                      <a:pt x="89" y="8"/>
                      <a:pt x="86" y="3"/>
                      <a:pt x="86" y="2"/>
                    </a:cubicBezTo>
                    <a:cubicBezTo>
                      <a:pt x="86" y="0"/>
                      <a:pt x="85" y="1"/>
                      <a:pt x="84" y="0"/>
                    </a:cubicBezTo>
                    <a:cubicBezTo>
                      <a:pt x="84" y="0"/>
                      <a:pt x="83" y="0"/>
                      <a:pt x="82" y="0"/>
                    </a:cubicBezTo>
                    <a:cubicBezTo>
                      <a:pt x="78" y="0"/>
                      <a:pt x="74" y="3"/>
                      <a:pt x="75" y="10"/>
                    </a:cubicBezTo>
                    <a:cubicBezTo>
                      <a:pt x="76" y="17"/>
                      <a:pt x="70" y="17"/>
                      <a:pt x="63" y="18"/>
                    </a:cubicBezTo>
                    <a:cubicBezTo>
                      <a:pt x="57" y="18"/>
                      <a:pt x="59" y="24"/>
                      <a:pt x="56" y="26"/>
                    </a:cubicBezTo>
                    <a:cubicBezTo>
                      <a:pt x="53" y="28"/>
                      <a:pt x="43" y="25"/>
                      <a:pt x="42" y="21"/>
                    </a:cubicBezTo>
                    <a:cubicBezTo>
                      <a:pt x="41" y="17"/>
                      <a:pt x="32" y="21"/>
                      <a:pt x="35" y="25"/>
                    </a:cubicBezTo>
                    <a:cubicBezTo>
                      <a:pt x="39" y="30"/>
                      <a:pt x="39" y="36"/>
                      <a:pt x="37" y="37"/>
                    </a:cubicBezTo>
                    <a:cubicBezTo>
                      <a:pt x="35" y="39"/>
                      <a:pt x="30" y="35"/>
                      <a:pt x="27" y="37"/>
                    </a:cubicBezTo>
                    <a:cubicBezTo>
                      <a:pt x="24" y="39"/>
                      <a:pt x="24" y="35"/>
                      <a:pt x="20" y="34"/>
                    </a:cubicBezTo>
                    <a:cubicBezTo>
                      <a:pt x="17" y="32"/>
                      <a:pt x="15" y="35"/>
                      <a:pt x="9" y="35"/>
                    </a:cubicBezTo>
                    <a:cubicBezTo>
                      <a:pt x="3" y="34"/>
                      <a:pt x="0" y="38"/>
                      <a:pt x="2" y="40"/>
                    </a:cubicBezTo>
                    <a:cubicBezTo>
                      <a:pt x="4" y="43"/>
                      <a:pt x="2" y="45"/>
                      <a:pt x="4" y="47"/>
                    </a:cubicBezTo>
                    <a:cubicBezTo>
                      <a:pt x="5" y="49"/>
                      <a:pt x="13" y="49"/>
                      <a:pt x="19" y="52"/>
                    </a:cubicBezTo>
                    <a:cubicBezTo>
                      <a:pt x="24" y="55"/>
                      <a:pt x="26" y="52"/>
                      <a:pt x="28" y="55"/>
                    </a:cubicBezTo>
                    <a:cubicBezTo>
                      <a:pt x="31" y="57"/>
                      <a:pt x="32" y="55"/>
                      <a:pt x="32" y="60"/>
                    </a:cubicBezTo>
                    <a:cubicBezTo>
                      <a:pt x="32" y="64"/>
                      <a:pt x="35" y="68"/>
                      <a:pt x="41" y="69"/>
                    </a:cubicBezTo>
                    <a:cubicBezTo>
                      <a:pt x="46" y="71"/>
                      <a:pt x="42" y="74"/>
                      <a:pt x="44" y="78"/>
                    </a:cubicBezTo>
                    <a:cubicBezTo>
                      <a:pt x="46" y="82"/>
                      <a:pt x="41" y="87"/>
                      <a:pt x="42" y="92"/>
                    </a:cubicBezTo>
                    <a:cubicBezTo>
                      <a:pt x="43" y="96"/>
                      <a:pt x="40" y="111"/>
                      <a:pt x="37" y="112"/>
                    </a:cubicBezTo>
                    <a:cubicBezTo>
                      <a:pt x="37" y="112"/>
                      <a:pt x="36" y="112"/>
                      <a:pt x="36" y="112"/>
                    </a:cubicBezTo>
                    <a:cubicBezTo>
                      <a:pt x="39" y="113"/>
                      <a:pt x="41" y="114"/>
                      <a:pt x="43" y="115"/>
                    </a:cubicBezTo>
                    <a:cubicBezTo>
                      <a:pt x="45" y="117"/>
                      <a:pt x="50" y="118"/>
                      <a:pt x="54" y="120"/>
                    </a:cubicBezTo>
                    <a:cubicBezTo>
                      <a:pt x="57" y="123"/>
                      <a:pt x="62" y="122"/>
                      <a:pt x="62" y="120"/>
                    </a:cubicBezTo>
                    <a:cubicBezTo>
                      <a:pt x="62" y="117"/>
                      <a:pt x="66" y="119"/>
                      <a:pt x="68" y="121"/>
                    </a:cubicBezTo>
                    <a:cubicBezTo>
                      <a:pt x="70" y="123"/>
                      <a:pt x="77" y="123"/>
                      <a:pt x="81" y="124"/>
                    </a:cubicBezTo>
                    <a:cubicBezTo>
                      <a:pt x="84" y="125"/>
                      <a:pt x="89" y="124"/>
                      <a:pt x="93" y="124"/>
                    </a:cubicBezTo>
                    <a:cubicBezTo>
                      <a:pt x="93" y="124"/>
                      <a:pt x="92" y="123"/>
                      <a:pt x="92" y="122"/>
                    </a:cubicBezTo>
                    <a:cubicBezTo>
                      <a:pt x="90" y="115"/>
                      <a:pt x="96" y="111"/>
                      <a:pt x="101" y="110"/>
                    </a:cubicBezTo>
                    <a:cubicBezTo>
                      <a:pt x="107" y="110"/>
                      <a:pt x="119" y="113"/>
                      <a:pt x="122" y="115"/>
                    </a:cubicBezTo>
                    <a:cubicBezTo>
                      <a:pt x="125" y="117"/>
                      <a:pt x="130" y="116"/>
                      <a:pt x="135" y="111"/>
                    </a:cubicBezTo>
                    <a:cubicBezTo>
                      <a:pt x="138" y="108"/>
                      <a:pt x="140" y="107"/>
                      <a:pt x="142" y="106"/>
                    </a:cubicBezTo>
                    <a:cubicBezTo>
                      <a:pt x="142" y="105"/>
                      <a:pt x="143" y="103"/>
                      <a:pt x="143" y="102"/>
                    </a:cubicBezTo>
                    <a:cubicBezTo>
                      <a:pt x="144" y="100"/>
                      <a:pt x="141" y="101"/>
                      <a:pt x="138" y="100"/>
                    </a:cubicBezTo>
                    <a:cubicBezTo>
                      <a:pt x="136" y="100"/>
                      <a:pt x="134" y="98"/>
                      <a:pt x="136" y="95"/>
                    </a:cubicBezTo>
                    <a:cubicBezTo>
                      <a:pt x="137" y="92"/>
                      <a:pt x="134" y="92"/>
                      <a:pt x="132" y="89"/>
                    </a:cubicBezTo>
                    <a:cubicBezTo>
                      <a:pt x="131" y="86"/>
                      <a:pt x="133" y="87"/>
                      <a:pt x="135" y="86"/>
                    </a:cubicBezTo>
                    <a:cubicBezTo>
                      <a:pt x="136" y="86"/>
                      <a:pt x="138" y="83"/>
                      <a:pt x="137" y="82"/>
                    </a:cubicBezTo>
                    <a:cubicBezTo>
                      <a:pt x="136" y="81"/>
                      <a:pt x="135" y="79"/>
                      <a:pt x="136" y="76"/>
                    </a:cubicBezTo>
                    <a:cubicBezTo>
                      <a:pt x="137" y="73"/>
                      <a:pt x="134" y="73"/>
                      <a:pt x="134" y="71"/>
                    </a:cubicBezTo>
                    <a:cubicBezTo>
                      <a:pt x="134" y="69"/>
                      <a:pt x="131" y="68"/>
                      <a:pt x="129" y="70"/>
                    </a:cubicBezTo>
                    <a:cubicBezTo>
                      <a:pt x="126" y="73"/>
                      <a:pt x="126" y="71"/>
                      <a:pt x="127" y="67"/>
                    </a:cubicBezTo>
                    <a:cubicBezTo>
                      <a:pt x="129" y="62"/>
                      <a:pt x="134" y="60"/>
                      <a:pt x="134" y="58"/>
                    </a:cubicBezTo>
                    <a:cubicBezTo>
                      <a:pt x="135" y="55"/>
                      <a:pt x="138" y="53"/>
                      <a:pt x="140" y="53"/>
                    </a:cubicBezTo>
                    <a:cubicBezTo>
                      <a:pt x="142" y="53"/>
                      <a:pt x="142" y="48"/>
                      <a:pt x="143" y="44"/>
                    </a:cubicBezTo>
                    <a:cubicBezTo>
                      <a:pt x="143" y="41"/>
                      <a:pt x="144" y="38"/>
                      <a:pt x="147" y="35"/>
                    </a:cubicBezTo>
                    <a:cubicBezTo>
                      <a:pt x="150" y="32"/>
                      <a:pt x="146" y="31"/>
                      <a:pt x="145" y="31"/>
                    </a:cubicBezTo>
                    <a:close/>
                    <a:moveTo>
                      <a:pt x="163" y="116"/>
                    </a:moveTo>
                    <a:cubicBezTo>
                      <a:pt x="161" y="116"/>
                      <a:pt x="160" y="119"/>
                      <a:pt x="156" y="122"/>
                    </a:cubicBezTo>
                    <a:cubicBezTo>
                      <a:pt x="151" y="125"/>
                      <a:pt x="156" y="138"/>
                      <a:pt x="160" y="137"/>
                    </a:cubicBezTo>
                    <a:cubicBezTo>
                      <a:pt x="165" y="137"/>
                      <a:pt x="165" y="116"/>
                      <a:pt x="163" y="11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2" name="Freeform 100">
                <a:extLst>
                  <a:ext uri="{FF2B5EF4-FFF2-40B4-BE49-F238E27FC236}">
                    <a16:creationId xmlns:a16="http://schemas.microsoft.com/office/drawing/2014/main" id="{03FF0250-AADF-48FA-B971-ED4171755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8038" y="3754438"/>
                <a:ext cx="57150" cy="31750"/>
              </a:xfrm>
              <a:custGeom>
                <a:avLst/>
                <a:gdLst>
                  <a:gd name="T0" fmla="*/ 25 w 26"/>
                  <a:gd name="T1" fmla="*/ 6 h 15"/>
                  <a:gd name="T2" fmla="*/ 13 w 26"/>
                  <a:gd name="T3" fmla="*/ 3 h 15"/>
                  <a:gd name="T4" fmla="*/ 8 w 26"/>
                  <a:gd name="T5" fmla="*/ 0 h 15"/>
                  <a:gd name="T6" fmla="*/ 8 w 26"/>
                  <a:gd name="T7" fmla="*/ 1 h 15"/>
                  <a:gd name="T8" fmla="*/ 0 w 26"/>
                  <a:gd name="T9" fmla="*/ 7 h 15"/>
                  <a:gd name="T10" fmla="*/ 22 w 26"/>
                  <a:gd name="T11" fmla="*/ 15 h 15"/>
                  <a:gd name="T12" fmla="*/ 25 w 26"/>
                  <a:gd name="T13" fmla="*/ 13 h 15"/>
                  <a:gd name="T14" fmla="*/ 25 w 26"/>
                  <a:gd name="T15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5">
                    <a:moveTo>
                      <a:pt x="25" y="6"/>
                    </a:moveTo>
                    <a:cubicBezTo>
                      <a:pt x="23" y="3"/>
                      <a:pt x="18" y="6"/>
                      <a:pt x="13" y="3"/>
                    </a:cubicBezTo>
                    <a:cubicBezTo>
                      <a:pt x="12" y="2"/>
                      <a:pt x="10" y="1"/>
                      <a:pt x="8" y="0"/>
                    </a:cubicBezTo>
                    <a:cubicBezTo>
                      <a:pt x="8" y="0"/>
                      <a:pt x="8" y="0"/>
                      <a:pt x="8" y="1"/>
                    </a:cubicBezTo>
                    <a:cubicBezTo>
                      <a:pt x="7" y="1"/>
                      <a:pt x="3" y="4"/>
                      <a:pt x="0" y="7"/>
                    </a:cubicBezTo>
                    <a:cubicBezTo>
                      <a:pt x="4" y="10"/>
                      <a:pt x="18" y="15"/>
                      <a:pt x="22" y="15"/>
                    </a:cubicBezTo>
                    <a:cubicBezTo>
                      <a:pt x="23" y="15"/>
                      <a:pt x="24" y="14"/>
                      <a:pt x="25" y="13"/>
                    </a:cubicBezTo>
                    <a:cubicBezTo>
                      <a:pt x="26" y="10"/>
                      <a:pt x="26" y="7"/>
                      <a:pt x="25" y="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3" name="Freeform 101">
                <a:extLst>
                  <a:ext uri="{FF2B5EF4-FFF2-40B4-BE49-F238E27FC236}">
                    <a16:creationId xmlns:a16="http://schemas.microsoft.com/office/drawing/2014/main" id="{7BC860DF-F3CA-400A-A499-B15CBBB4B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7088" y="3708400"/>
                <a:ext cx="150812" cy="82550"/>
              </a:xfrm>
              <a:custGeom>
                <a:avLst/>
                <a:gdLst>
                  <a:gd name="T0" fmla="*/ 29 w 69"/>
                  <a:gd name="T1" fmla="*/ 34 h 38"/>
                  <a:gd name="T2" fmla="*/ 33 w 69"/>
                  <a:gd name="T3" fmla="*/ 27 h 38"/>
                  <a:gd name="T4" fmla="*/ 45 w 69"/>
                  <a:gd name="T5" fmla="*/ 22 h 38"/>
                  <a:gd name="T6" fmla="*/ 56 w 69"/>
                  <a:gd name="T7" fmla="*/ 20 h 38"/>
                  <a:gd name="T8" fmla="*/ 69 w 69"/>
                  <a:gd name="T9" fmla="*/ 14 h 38"/>
                  <a:gd name="T10" fmla="*/ 57 w 69"/>
                  <a:gd name="T11" fmla="*/ 5 h 38"/>
                  <a:gd name="T12" fmla="*/ 33 w 69"/>
                  <a:gd name="T13" fmla="*/ 5 h 38"/>
                  <a:gd name="T14" fmla="*/ 12 w 69"/>
                  <a:gd name="T15" fmla="*/ 6 h 38"/>
                  <a:gd name="T16" fmla="*/ 11 w 69"/>
                  <a:gd name="T17" fmla="*/ 6 h 38"/>
                  <a:gd name="T18" fmla="*/ 5 w 69"/>
                  <a:gd name="T19" fmla="*/ 13 h 38"/>
                  <a:gd name="T20" fmla="*/ 0 w 69"/>
                  <a:gd name="T21" fmla="*/ 21 h 38"/>
                  <a:gd name="T22" fmla="*/ 5 w 69"/>
                  <a:gd name="T23" fmla="*/ 24 h 38"/>
                  <a:gd name="T24" fmla="*/ 17 w 69"/>
                  <a:gd name="T25" fmla="*/ 27 h 38"/>
                  <a:gd name="T26" fmla="*/ 17 w 69"/>
                  <a:gd name="T27" fmla="*/ 34 h 38"/>
                  <a:gd name="T28" fmla="*/ 21 w 69"/>
                  <a:gd name="T29" fmla="*/ 34 h 38"/>
                  <a:gd name="T30" fmla="*/ 22 w 69"/>
                  <a:gd name="T31" fmla="*/ 38 h 38"/>
                  <a:gd name="T32" fmla="*/ 26 w 69"/>
                  <a:gd name="T33" fmla="*/ 37 h 38"/>
                  <a:gd name="T34" fmla="*/ 29 w 69"/>
                  <a:gd name="T35" fmla="*/ 3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9" h="38">
                    <a:moveTo>
                      <a:pt x="29" y="34"/>
                    </a:moveTo>
                    <a:cubicBezTo>
                      <a:pt x="30" y="33"/>
                      <a:pt x="26" y="28"/>
                      <a:pt x="33" y="27"/>
                    </a:cubicBezTo>
                    <a:cubicBezTo>
                      <a:pt x="39" y="27"/>
                      <a:pt x="44" y="26"/>
                      <a:pt x="45" y="22"/>
                    </a:cubicBezTo>
                    <a:cubicBezTo>
                      <a:pt x="46" y="18"/>
                      <a:pt x="54" y="20"/>
                      <a:pt x="56" y="20"/>
                    </a:cubicBezTo>
                    <a:cubicBezTo>
                      <a:pt x="58" y="19"/>
                      <a:pt x="64" y="14"/>
                      <a:pt x="69" y="14"/>
                    </a:cubicBezTo>
                    <a:cubicBezTo>
                      <a:pt x="69" y="9"/>
                      <a:pt x="62" y="11"/>
                      <a:pt x="57" y="5"/>
                    </a:cubicBezTo>
                    <a:cubicBezTo>
                      <a:pt x="51" y="0"/>
                      <a:pt x="39" y="2"/>
                      <a:pt x="33" y="5"/>
                    </a:cubicBezTo>
                    <a:cubicBezTo>
                      <a:pt x="26" y="7"/>
                      <a:pt x="19" y="2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0" y="8"/>
                      <a:pt x="8" y="11"/>
                      <a:pt x="5" y="13"/>
                    </a:cubicBezTo>
                    <a:cubicBezTo>
                      <a:pt x="1" y="16"/>
                      <a:pt x="2" y="20"/>
                      <a:pt x="0" y="21"/>
                    </a:cubicBezTo>
                    <a:cubicBezTo>
                      <a:pt x="2" y="22"/>
                      <a:pt x="4" y="23"/>
                      <a:pt x="5" y="24"/>
                    </a:cubicBezTo>
                    <a:cubicBezTo>
                      <a:pt x="10" y="27"/>
                      <a:pt x="15" y="24"/>
                      <a:pt x="17" y="27"/>
                    </a:cubicBezTo>
                    <a:cubicBezTo>
                      <a:pt x="18" y="28"/>
                      <a:pt x="18" y="31"/>
                      <a:pt x="17" y="34"/>
                    </a:cubicBezTo>
                    <a:cubicBezTo>
                      <a:pt x="18" y="33"/>
                      <a:pt x="19" y="33"/>
                      <a:pt x="21" y="34"/>
                    </a:cubicBezTo>
                    <a:cubicBezTo>
                      <a:pt x="22" y="35"/>
                      <a:pt x="22" y="37"/>
                      <a:pt x="22" y="3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37"/>
                      <a:pt x="29" y="35"/>
                      <a:pt x="29" y="3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4" name="Freeform 102">
                <a:extLst>
                  <a:ext uri="{FF2B5EF4-FFF2-40B4-BE49-F238E27FC236}">
                    <a16:creationId xmlns:a16="http://schemas.microsoft.com/office/drawing/2014/main" id="{31A20BFB-520A-4650-AB39-D24A97779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700" y="3270250"/>
                <a:ext cx="752475" cy="469900"/>
              </a:xfrm>
              <a:custGeom>
                <a:avLst/>
                <a:gdLst>
                  <a:gd name="T0" fmla="*/ 300 w 343"/>
                  <a:gd name="T1" fmla="*/ 200 h 214"/>
                  <a:gd name="T2" fmla="*/ 296 w 343"/>
                  <a:gd name="T3" fmla="*/ 180 h 214"/>
                  <a:gd name="T4" fmla="*/ 324 w 343"/>
                  <a:gd name="T5" fmla="*/ 173 h 214"/>
                  <a:gd name="T6" fmla="*/ 334 w 343"/>
                  <a:gd name="T7" fmla="*/ 161 h 214"/>
                  <a:gd name="T8" fmla="*/ 342 w 343"/>
                  <a:gd name="T9" fmla="*/ 139 h 214"/>
                  <a:gd name="T10" fmla="*/ 315 w 343"/>
                  <a:gd name="T11" fmla="*/ 138 h 214"/>
                  <a:gd name="T12" fmla="*/ 297 w 343"/>
                  <a:gd name="T13" fmla="*/ 161 h 214"/>
                  <a:gd name="T14" fmla="*/ 281 w 343"/>
                  <a:gd name="T15" fmla="*/ 170 h 214"/>
                  <a:gd name="T16" fmla="*/ 242 w 343"/>
                  <a:gd name="T17" fmla="*/ 170 h 214"/>
                  <a:gd name="T18" fmla="*/ 223 w 343"/>
                  <a:gd name="T19" fmla="*/ 143 h 214"/>
                  <a:gd name="T20" fmla="*/ 223 w 343"/>
                  <a:gd name="T21" fmla="*/ 90 h 214"/>
                  <a:gd name="T22" fmla="*/ 219 w 343"/>
                  <a:gd name="T23" fmla="*/ 83 h 214"/>
                  <a:gd name="T24" fmla="*/ 200 w 343"/>
                  <a:gd name="T25" fmla="*/ 71 h 214"/>
                  <a:gd name="T26" fmla="*/ 187 w 343"/>
                  <a:gd name="T27" fmla="*/ 47 h 214"/>
                  <a:gd name="T28" fmla="*/ 158 w 343"/>
                  <a:gd name="T29" fmla="*/ 46 h 214"/>
                  <a:gd name="T30" fmla="*/ 141 w 343"/>
                  <a:gd name="T31" fmla="*/ 32 h 214"/>
                  <a:gd name="T32" fmla="*/ 121 w 343"/>
                  <a:gd name="T33" fmla="*/ 12 h 214"/>
                  <a:gd name="T34" fmla="*/ 99 w 343"/>
                  <a:gd name="T35" fmla="*/ 17 h 214"/>
                  <a:gd name="T36" fmla="*/ 38 w 343"/>
                  <a:gd name="T37" fmla="*/ 7 h 214"/>
                  <a:gd name="T38" fmla="*/ 0 w 343"/>
                  <a:gd name="T39" fmla="*/ 4 h 214"/>
                  <a:gd name="T40" fmla="*/ 15 w 343"/>
                  <a:gd name="T41" fmla="*/ 35 h 214"/>
                  <a:gd name="T42" fmla="*/ 35 w 343"/>
                  <a:gd name="T43" fmla="*/ 61 h 214"/>
                  <a:gd name="T44" fmla="*/ 40 w 343"/>
                  <a:gd name="T45" fmla="*/ 72 h 214"/>
                  <a:gd name="T46" fmla="*/ 55 w 343"/>
                  <a:gd name="T47" fmla="*/ 94 h 214"/>
                  <a:gd name="T48" fmla="*/ 80 w 343"/>
                  <a:gd name="T49" fmla="*/ 120 h 214"/>
                  <a:gd name="T50" fmla="*/ 83 w 343"/>
                  <a:gd name="T51" fmla="*/ 107 h 214"/>
                  <a:gd name="T52" fmla="*/ 71 w 343"/>
                  <a:gd name="T53" fmla="*/ 93 h 214"/>
                  <a:gd name="T54" fmla="*/ 51 w 343"/>
                  <a:gd name="T55" fmla="*/ 60 h 214"/>
                  <a:gd name="T56" fmla="*/ 43 w 343"/>
                  <a:gd name="T57" fmla="*/ 42 h 214"/>
                  <a:gd name="T58" fmla="*/ 28 w 343"/>
                  <a:gd name="T59" fmla="*/ 30 h 214"/>
                  <a:gd name="T60" fmla="*/ 29 w 343"/>
                  <a:gd name="T61" fmla="*/ 12 h 214"/>
                  <a:gd name="T62" fmla="*/ 39 w 343"/>
                  <a:gd name="T63" fmla="*/ 16 h 214"/>
                  <a:gd name="T64" fmla="*/ 48 w 343"/>
                  <a:gd name="T65" fmla="*/ 32 h 214"/>
                  <a:gd name="T66" fmla="*/ 55 w 343"/>
                  <a:gd name="T67" fmla="*/ 48 h 214"/>
                  <a:gd name="T68" fmla="*/ 73 w 343"/>
                  <a:gd name="T69" fmla="*/ 61 h 214"/>
                  <a:gd name="T70" fmla="*/ 86 w 343"/>
                  <a:gd name="T71" fmla="*/ 74 h 214"/>
                  <a:gd name="T72" fmla="*/ 95 w 343"/>
                  <a:gd name="T73" fmla="*/ 90 h 214"/>
                  <a:gd name="T74" fmla="*/ 128 w 343"/>
                  <a:gd name="T75" fmla="*/ 125 h 214"/>
                  <a:gd name="T76" fmla="*/ 133 w 343"/>
                  <a:gd name="T77" fmla="*/ 146 h 214"/>
                  <a:gd name="T78" fmla="*/ 139 w 343"/>
                  <a:gd name="T79" fmla="*/ 164 h 214"/>
                  <a:gd name="T80" fmla="*/ 173 w 343"/>
                  <a:gd name="T81" fmla="*/ 180 h 214"/>
                  <a:gd name="T82" fmla="*/ 221 w 343"/>
                  <a:gd name="T83" fmla="*/ 202 h 214"/>
                  <a:gd name="T84" fmla="*/ 264 w 343"/>
                  <a:gd name="T85" fmla="*/ 204 h 214"/>
                  <a:gd name="T86" fmla="*/ 285 w 343"/>
                  <a:gd name="T87" fmla="*/ 201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3" h="214">
                    <a:moveTo>
                      <a:pt x="285" y="201"/>
                    </a:moveTo>
                    <a:cubicBezTo>
                      <a:pt x="287" y="201"/>
                      <a:pt x="299" y="203"/>
                      <a:pt x="300" y="200"/>
                    </a:cubicBezTo>
                    <a:cubicBezTo>
                      <a:pt x="302" y="197"/>
                      <a:pt x="291" y="190"/>
                      <a:pt x="292" y="189"/>
                    </a:cubicBezTo>
                    <a:cubicBezTo>
                      <a:pt x="293" y="188"/>
                      <a:pt x="294" y="180"/>
                      <a:pt x="296" y="180"/>
                    </a:cubicBezTo>
                    <a:cubicBezTo>
                      <a:pt x="298" y="180"/>
                      <a:pt x="315" y="181"/>
                      <a:pt x="316" y="180"/>
                    </a:cubicBezTo>
                    <a:cubicBezTo>
                      <a:pt x="317" y="180"/>
                      <a:pt x="321" y="174"/>
                      <a:pt x="324" y="173"/>
                    </a:cubicBezTo>
                    <a:cubicBezTo>
                      <a:pt x="325" y="173"/>
                      <a:pt x="327" y="175"/>
                      <a:pt x="329" y="177"/>
                    </a:cubicBezTo>
                    <a:cubicBezTo>
                      <a:pt x="332" y="174"/>
                      <a:pt x="333" y="167"/>
                      <a:pt x="334" y="161"/>
                    </a:cubicBezTo>
                    <a:cubicBezTo>
                      <a:pt x="335" y="155"/>
                      <a:pt x="332" y="152"/>
                      <a:pt x="336" y="149"/>
                    </a:cubicBezTo>
                    <a:cubicBezTo>
                      <a:pt x="339" y="145"/>
                      <a:pt x="343" y="145"/>
                      <a:pt x="342" y="139"/>
                    </a:cubicBezTo>
                    <a:cubicBezTo>
                      <a:pt x="341" y="134"/>
                      <a:pt x="336" y="139"/>
                      <a:pt x="332" y="137"/>
                    </a:cubicBezTo>
                    <a:cubicBezTo>
                      <a:pt x="328" y="134"/>
                      <a:pt x="325" y="136"/>
                      <a:pt x="315" y="138"/>
                    </a:cubicBezTo>
                    <a:cubicBezTo>
                      <a:pt x="304" y="139"/>
                      <a:pt x="300" y="143"/>
                      <a:pt x="300" y="151"/>
                    </a:cubicBezTo>
                    <a:cubicBezTo>
                      <a:pt x="301" y="158"/>
                      <a:pt x="297" y="155"/>
                      <a:pt x="297" y="161"/>
                    </a:cubicBezTo>
                    <a:cubicBezTo>
                      <a:pt x="297" y="167"/>
                      <a:pt x="289" y="167"/>
                      <a:pt x="289" y="171"/>
                    </a:cubicBezTo>
                    <a:cubicBezTo>
                      <a:pt x="290" y="175"/>
                      <a:pt x="283" y="171"/>
                      <a:pt x="281" y="170"/>
                    </a:cubicBezTo>
                    <a:cubicBezTo>
                      <a:pt x="279" y="169"/>
                      <a:pt x="257" y="175"/>
                      <a:pt x="254" y="176"/>
                    </a:cubicBezTo>
                    <a:cubicBezTo>
                      <a:pt x="251" y="176"/>
                      <a:pt x="246" y="169"/>
                      <a:pt x="242" y="170"/>
                    </a:cubicBezTo>
                    <a:cubicBezTo>
                      <a:pt x="237" y="170"/>
                      <a:pt x="236" y="163"/>
                      <a:pt x="235" y="158"/>
                    </a:cubicBezTo>
                    <a:cubicBezTo>
                      <a:pt x="235" y="153"/>
                      <a:pt x="227" y="148"/>
                      <a:pt x="223" y="143"/>
                    </a:cubicBezTo>
                    <a:cubicBezTo>
                      <a:pt x="220" y="139"/>
                      <a:pt x="219" y="128"/>
                      <a:pt x="219" y="121"/>
                    </a:cubicBezTo>
                    <a:cubicBezTo>
                      <a:pt x="219" y="115"/>
                      <a:pt x="218" y="103"/>
                      <a:pt x="223" y="90"/>
                    </a:cubicBezTo>
                    <a:cubicBezTo>
                      <a:pt x="223" y="88"/>
                      <a:pt x="224" y="87"/>
                      <a:pt x="224" y="85"/>
                    </a:cubicBezTo>
                    <a:cubicBezTo>
                      <a:pt x="222" y="84"/>
                      <a:pt x="220" y="83"/>
                      <a:pt x="219" y="83"/>
                    </a:cubicBezTo>
                    <a:cubicBezTo>
                      <a:pt x="215" y="84"/>
                      <a:pt x="205" y="78"/>
                      <a:pt x="203" y="78"/>
                    </a:cubicBezTo>
                    <a:cubicBezTo>
                      <a:pt x="201" y="78"/>
                      <a:pt x="202" y="73"/>
                      <a:pt x="200" y="71"/>
                    </a:cubicBezTo>
                    <a:cubicBezTo>
                      <a:pt x="198" y="68"/>
                      <a:pt x="199" y="64"/>
                      <a:pt x="197" y="62"/>
                    </a:cubicBezTo>
                    <a:cubicBezTo>
                      <a:pt x="195" y="61"/>
                      <a:pt x="189" y="55"/>
                      <a:pt x="187" y="47"/>
                    </a:cubicBezTo>
                    <a:cubicBezTo>
                      <a:pt x="184" y="40"/>
                      <a:pt x="171" y="36"/>
                      <a:pt x="167" y="36"/>
                    </a:cubicBezTo>
                    <a:cubicBezTo>
                      <a:pt x="162" y="35"/>
                      <a:pt x="159" y="46"/>
                      <a:pt x="158" y="46"/>
                    </a:cubicBezTo>
                    <a:cubicBezTo>
                      <a:pt x="156" y="47"/>
                      <a:pt x="147" y="41"/>
                      <a:pt x="145" y="39"/>
                    </a:cubicBezTo>
                    <a:cubicBezTo>
                      <a:pt x="142" y="38"/>
                      <a:pt x="141" y="35"/>
                      <a:pt x="141" y="32"/>
                    </a:cubicBezTo>
                    <a:cubicBezTo>
                      <a:pt x="141" y="29"/>
                      <a:pt x="135" y="24"/>
                      <a:pt x="133" y="23"/>
                    </a:cubicBezTo>
                    <a:cubicBezTo>
                      <a:pt x="132" y="23"/>
                      <a:pt x="121" y="12"/>
                      <a:pt x="121" y="12"/>
                    </a:cubicBezTo>
                    <a:cubicBezTo>
                      <a:pt x="103" y="12"/>
                      <a:pt x="103" y="12"/>
                      <a:pt x="103" y="12"/>
                    </a:cubicBezTo>
                    <a:cubicBezTo>
                      <a:pt x="99" y="17"/>
                      <a:pt x="99" y="17"/>
                      <a:pt x="99" y="17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7" y="17"/>
                      <a:pt x="43" y="8"/>
                      <a:pt x="38" y="7"/>
                    </a:cubicBezTo>
                    <a:cubicBezTo>
                      <a:pt x="34" y="6"/>
                      <a:pt x="26" y="0"/>
                      <a:pt x="26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6"/>
                      <a:pt x="3" y="9"/>
                      <a:pt x="6" y="13"/>
                    </a:cubicBezTo>
                    <a:cubicBezTo>
                      <a:pt x="11" y="19"/>
                      <a:pt x="15" y="31"/>
                      <a:pt x="15" y="35"/>
                    </a:cubicBezTo>
                    <a:cubicBezTo>
                      <a:pt x="16" y="39"/>
                      <a:pt x="23" y="42"/>
                      <a:pt x="29" y="46"/>
                    </a:cubicBezTo>
                    <a:cubicBezTo>
                      <a:pt x="35" y="50"/>
                      <a:pt x="35" y="59"/>
                      <a:pt x="35" y="61"/>
                    </a:cubicBezTo>
                    <a:cubicBezTo>
                      <a:pt x="34" y="63"/>
                      <a:pt x="26" y="60"/>
                      <a:pt x="26" y="62"/>
                    </a:cubicBezTo>
                    <a:cubicBezTo>
                      <a:pt x="25" y="64"/>
                      <a:pt x="36" y="73"/>
                      <a:pt x="40" y="72"/>
                    </a:cubicBezTo>
                    <a:cubicBezTo>
                      <a:pt x="44" y="72"/>
                      <a:pt x="46" y="74"/>
                      <a:pt x="52" y="80"/>
                    </a:cubicBezTo>
                    <a:cubicBezTo>
                      <a:pt x="58" y="85"/>
                      <a:pt x="58" y="92"/>
                      <a:pt x="55" y="94"/>
                    </a:cubicBezTo>
                    <a:cubicBezTo>
                      <a:pt x="53" y="96"/>
                      <a:pt x="60" y="100"/>
                      <a:pt x="68" y="105"/>
                    </a:cubicBezTo>
                    <a:cubicBezTo>
                      <a:pt x="76" y="111"/>
                      <a:pt x="79" y="117"/>
                      <a:pt x="80" y="120"/>
                    </a:cubicBezTo>
                    <a:cubicBezTo>
                      <a:pt x="81" y="123"/>
                      <a:pt x="84" y="120"/>
                      <a:pt x="86" y="116"/>
                    </a:cubicBezTo>
                    <a:cubicBezTo>
                      <a:pt x="87" y="113"/>
                      <a:pt x="83" y="112"/>
                      <a:pt x="83" y="107"/>
                    </a:cubicBezTo>
                    <a:cubicBezTo>
                      <a:pt x="83" y="103"/>
                      <a:pt x="77" y="104"/>
                      <a:pt x="74" y="103"/>
                    </a:cubicBezTo>
                    <a:cubicBezTo>
                      <a:pt x="71" y="103"/>
                      <a:pt x="74" y="96"/>
                      <a:pt x="71" y="93"/>
                    </a:cubicBezTo>
                    <a:cubicBezTo>
                      <a:pt x="68" y="90"/>
                      <a:pt x="65" y="83"/>
                      <a:pt x="64" y="77"/>
                    </a:cubicBezTo>
                    <a:cubicBezTo>
                      <a:pt x="62" y="72"/>
                      <a:pt x="54" y="66"/>
                      <a:pt x="51" y="60"/>
                    </a:cubicBezTo>
                    <a:cubicBezTo>
                      <a:pt x="48" y="54"/>
                      <a:pt x="44" y="50"/>
                      <a:pt x="42" y="48"/>
                    </a:cubicBezTo>
                    <a:cubicBezTo>
                      <a:pt x="40" y="47"/>
                      <a:pt x="45" y="44"/>
                      <a:pt x="43" y="42"/>
                    </a:cubicBezTo>
                    <a:cubicBezTo>
                      <a:pt x="41" y="40"/>
                      <a:pt x="38" y="40"/>
                      <a:pt x="35" y="38"/>
                    </a:cubicBezTo>
                    <a:cubicBezTo>
                      <a:pt x="31" y="37"/>
                      <a:pt x="28" y="34"/>
                      <a:pt x="28" y="30"/>
                    </a:cubicBezTo>
                    <a:cubicBezTo>
                      <a:pt x="28" y="26"/>
                      <a:pt x="26" y="16"/>
                      <a:pt x="25" y="13"/>
                    </a:cubicBezTo>
                    <a:cubicBezTo>
                      <a:pt x="23" y="10"/>
                      <a:pt x="27" y="10"/>
                      <a:pt x="29" y="12"/>
                    </a:cubicBezTo>
                    <a:cubicBezTo>
                      <a:pt x="30" y="13"/>
                      <a:pt x="31" y="15"/>
                      <a:pt x="33" y="14"/>
                    </a:cubicBezTo>
                    <a:cubicBezTo>
                      <a:pt x="34" y="13"/>
                      <a:pt x="37" y="13"/>
                      <a:pt x="39" y="16"/>
                    </a:cubicBezTo>
                    <a:cubicBezTo>
                      <a:pt x="40" y="19"/>
                      <a:pt x="44" y="16"/>
                      <a:pt x="46" y="18"/>
                    </a:cubicBezTo>
                    <a:cubicBezTo>
                      <a:pt x="48" y="19"/>
                      <a:pt x="42" y="20"/>
                      <a:pt x="48" y="32"/>
                    </a:cubicBezTo>
                    <a:cubicBezTo>
                      <a:pt x="55" y="43"/>
                      <a:pt x="50" y="37"/>
                      <a:pt x="50" y="45"/>
                    </a:cubicBezTo>
                    <a:cubicBezTo>
                      <a:pt x="50" y="52"/>
                      <a:pt x="54" y="49"/>
                      <a:pt x="55" y="48"/>
                    </a:cubicBezTo>
                    <a:cubicBezTo>
                      <a:pt x="57" y="46"/>
                      <a:pt x="60" y="50"/>
                      <a:pt x="63" y="54"/>
                    </a:cubicBezTo>
                    <a:cubicBezTo>
                      <a:pt x="67" y="58"/>
                      <a:pt x="73" y="58"/>
                      <a:pt x="73" y="61"/>
                    </a:cubicBezTo>
                    <a:cubicBezTo>
                      <a:pt x="73" y="63"/>
                      <a:pt x="74" y="67"/>
                      <a:pt x="78" y="68"/>
                    </a:cubicBezTo>
                    <a:cubicBezTo>
                      <a:pt x="83" y="69"/>
                      <a:pt x="83" y="74"/>
                      <a:pt x="86" y="74"/>
                    </a:cubicBezTo>
                    <a:cubicBezTo>
                      <a:pt x="89" y="75"/>
                      <a:pt x="89" y="78"/>
                      <a:pt x="88" y="81"/>
                    </a:cubicBezTo>
                    <a:cubicBezTo>
                      <a:pt x="86" y="84"/>
                      <a:pt x="88" y="87"/>
                      <a:pt x="95" y="90"/>
                    </a:cubicBezTo>
                    <a:cubicBezTo>
                      <a:pt x="102" y="92"/>
                      <a:pt x="99" y="93"/>
                      <a:pt x="104" y="98"/>
                    </a:cubicBezTo>
                    <a:cubicBezTo>
                      <a:pt x="110" y="103"/>
                      <a:pt x="125" y="120"/>
                      <a:pt x="128" y="125"/>
                    </a:cubicBezTo>
                    <a:cubicBezTo>
                      <a:pt x="132" y="130"/>
                      <a:pt x="133" y="134"/>
                      <a:pt x="134" y="137"/>
                    </a:cubicBezTo>
                    <a:cubicBezTo>
                      <a:pt x="135" y="141"/>
                      <a:pt x="131" y="143"/>
                      <a:pt x="133" y="146"/>
                    </a:cubicBezTo>
                    <a:cubicBezTo>
                      <a:pt x="135" y="149"/>
                      <a:pt x="130" y="147"/>
                      <a:pt x="130" y="150"/>
                    </a:cubicBezTo>
                    <a:cubicBezTo>
                      <a:pt x="130" y="152"/>
                      <a:pt x="133" y="163"/>
                      <a:pt x="139" y="164"/>
                    </a:cubicBezTo>
                    <a:cubicBezTo>
                      <a:pt x="144" y="164"/>
                      <a:pt x="151" y="171"/>
                      <a:pt x="155" y="175"/>
                    </a:cubicBezTo>
                    <a:cubicBezTo>
                      <a:pt x="160" y="178"/>
                      <a:pt x="166" y="178"/>
                      <a:pt x="173" y="180"/>
                    </a:cubicBezTo>
                    <a:cubicBezTo>
                      <a:pt x="180" y="183"/>
                      <a:pt x="186" y="189"/>
                      <a:pt x="195" y="191"/>
                    </a:cubicBezTo>
                    <a:cubicBezTo>
                      <a:pt x="205" y="194"/>
                      <a:pt x="215" y="198"/>
                      <a:pt x="221" y="202"/>
                    </a:cubicBezTo>
                    <a:cubicBezTo>
                      <a:pt x="227" y="206"/>
                      <a:pt x="235" y="205"/>
                      <a:pt x="244" y="201"/>
                    </a:cubicBezTo>
                    <a:cubicBezTo>
                      <a:pt x="252" y="198"/>
                      <a:pt x="259" y="202"/>
                      <a:pt x="264" y="204"/>
                    </a:cubicBezTo>
                    <a:cubicBezTo>
                      <a:pt x="267" y="205"/>
                      <a:pt x="271" y="209"/>
                      <a:pt x="276" y="214"/>
                    </a:cubicBezTo>
                    <a:cubicBezTo>
                      <a:pt x="281" y="207"/>
                      <a:pt x="285" y="202"/>
                      <a:pt x="285" y="20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5" name="Freeform 103">
                <a:extLst>
                  <a:ext uri="{FF2B5EF4-FFF2-40B4-BE49-F238E27FC236}">
                    <a16:creationId xmlns:a16="http://schemas.microsoft.com/office/drawing/2014/main" id="{15C54808-06E2-4516-A7E7-436184E41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538" y="3665538"/>
                <a:ext cx="106362" cy="103188"/>
              </a:xfrm>
              <a:custGeom>
                <a:avLst/>
                <a:gdLst>
                  <a:gd name="T0" fmla="*/ 42 w 48"/>
                  <a:gd name="T1" fmla="*/ 32 h 47"/>
                  <a:gd name="T2" fmla="*/ 48 w 48"/>
                  <a:gd name="T3" fmla="*/ 25 h 47"/>
                  <a:gd name="T4" fmla="*/ 44 w 48"/>
                  <a:gd name="T5" fmla="*/ 23 h 47"/>
                  <a:gd name="T6" fmla="*/ 38 w 48"/>
                  <a:gd name="T7" fmla="*/ 23 h 47"/>
                  <a:gd name="T8" fmla="*/ 39 w 48"/>
                  <a:gd name="T9" fmla="*/ 1 h 47"/>
                  <a:gd name="T10" fmla="*/ 20 w 48"/>
                  <a:gd name="T11" fmla="*/ 0 h 47"/>
                  <a:gd name="T12" fmla="*/ 16 w 48"/>
                  <a:gd name="T13" fmla="*/ 9 h 47"/>
                  <a:gd name="T14" fmla="*/ 24 w 48"/>
                  <a:gd name="T15" fmla="*/ 20 h 47"/>
                  <a:gd name="T16" fmla="*/ 9 w 48"/>
                  <a:gd name="T17" fmla="*/ 21 h 47"/>
                  <a:gd name="T18" fmla="*/ 0 w 48"/>
                  <a:gd name="T19" fmla="*/ 34 h 47"/>
                  <a:gd name="T20" fmla="*/ 13 w 48"/>
                  <a:gd name="T21" fmla="*/ 44 h 47"/>
                  <a:gd name="T22" fmla="*/ 28 w 48"/>
                  <a:gd name="T23" fmla="*/ 47 h 47"/>
                  <a:gd name="T24" fmla="*/ 29 w 48"/>
                  <a:gd name="T25" fmla="*/ 47 h 47"/>
                  <a:gd name="T26" fmla="*/ 37 w 48"/>
                  <a:gd name="T27" fmla="*/ 41 h 47"/>
                  <a:gd name="T28" fmla="*/ 42 w 48"/>
                  <a:gd name="T29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7">
                    <a:moveTo>
                      <a:pt x="42" y="32"/>
                    </a:moveTo>
                    <a:cubicBezTo>
                      <a:pt x="45" y="30"/>
                      <a:pt x="47" y="27"/>
                      <a:pt x="48" y="25"/>
                    </a:cubicBezTo>
                    <a:cubicBezTo>
                      <a:pt x="44" y="27"/>
                      <a:pt x="43" y="25"/>
                      <a:pt x="44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4" y="1"/>
                      <a:pt x="21" y="0"/>
                      <a:pt x="20" y="0"/>
                    </a:cubicBezTo>
                    <a:cubicBezTo>
                      <a:pt x="18" y="0"/>
                      <a:pt x="17" y="8"/>
                      <a:pt x="16" y="9"/>
                    </a:cubicBezTo>
                    <a:cubicBezTo>
                      <a:pt x="15" y="10"/>
                      <a:pt x="26" y="17"/>
                      <a:pt x="24" y="20"/>
                    </a:cubicBezTo>
                    <a:cubicBezTo>
                      <a:pt x="23" y="23"/>
                      <a:pt x="11" y="21"/>
                      <a:pt x="9" y="21"/>
                    </a:cubicBezTo>
                    <a:cubicBezTo>
                      <a:pt x="9" y="22"/>
                      <a:pt x="5" y="27"/>
                      <a:pt x="0" y="34"/>
                    </a:cubicBezTo>
                    <a:cubicBezTo>
                      <a:pt x="5" y="38"/>
                      <a:pt x="10" y="43"/>
                      <a:pt x="13" y="44"/>
                    </a:cubicBezTo>
                    <a:cubicBezTo>
                      <a:pt x="17" y="47"/>
                      <a:pt x="25" y="44"/>
                      <a:pt x="28" y="47"/>
                    </a:cubicBezTo>
                    <a:cubicBezTo>
                      <a:pt x="28" y="47"/>
                      <a:pt x="29" y="47"/>
                      <a:pt x="29" y="47"/>
                    </a:cubicBezTo>
                    <a:cubicBezTo>
                      <a:pt x="32" y="44"/>
                      <a:pt x="36" y="41"/>
                      <a:pt x="37" y="41"/>
                    </a:cubicBezTo>
                    <a:cubicBezTo>
                      <a:pt x="39" y="40"/>
                      <a:pt x="37" y="36"/>
                      <a:pt x="42" y="3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6" name="Freeform 104">
                <a:extLst>
                  <a:ext uri="{FF2B5EF4-FFF2-40B4-BE49-F238E27FC236}">
                    <a16:creationId xmlns:a16="http://schemas.microsoft.com/office/drawing/2014/main" id="{462E1DBB-78C8-4BE5-93A6-58429AC70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675" y="3651250"/>
                <a:ext cx="33337" cy="65088"/>
              </a:xfrm>
              <a:custGeom>
                <a:avLst/>
                <a:gdLst>
                  <a:gd name="T0" fmla="*/ 2 w 15"/>
                  <a:gd name="T1" fmla="*/ 7 h 30"/>
                  <a:gd name="T2" fmla="*/ 1 w 15"/>
                  <a:gd name="T3" fmla="*/ 8 h 30"/>
                  <a:gd name="T4" fmla="*/ 0 w 15"/>
                  <a:gd name="T5" fmla="*/ 30 h 30"/>
                  <a:gd name="T6" fmla="*/ 6 w 15"/>
                  <a:gd name="T7" fmla="*/ 30 h 30"/>
                  <a:gd name="T8" fmla="*/ 9 w 15"/>
                  <a:gd name="T9" fmla="*/ 24 h 30"/>
                  <a:gd name="T10" fmla="*/ 12 w 15"/>
                  <a:gd name="T11" fmla="*/ 5 h 30"/>
                  <a:gd name="T12" fmla="*/ 15 w 15"/>
                  <a:gd name="T13" fmla="*/ 4 h 30"/>
                  <a:gd name="T14" fmla="*/ 10 w 15"/>
                  <a:gd name="T15" fmla="*/ 0 h 30"/>
                  <a:gd name="T16" fmla="*/ 2 w 15"/>
                  <a:gd name="T17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0">
                    <a:moveTo>
                      <a:pt x="2" y="7"/>
                    </a:moveTo>
                    <a:cubicBezTo>
                      <a:pt x="2" y="8"/>
                      <a:pt x="2" y="8"/>
                      <a:pt x="1" y="8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28"/>
                      <a:pt x="8" y="25"/>
                      <a:pt x="9" y="24"/>
                    </a:cubicBezTo>
                    <a:cubicBezTo>
                      <a:pt x="14" y="20"/>
                      <a:pt x="7" y="6"/>
                      <a:pt x="12" y="5"/>
                    </a:cubicBezTo>
                    <a:cubicBezTo>
                      <a:pt x="13" y="5"/>
                      <a:pt x="14" y="4"/>
                      <a:pt x="15" y="4"/>
                    </a:cubicBezTo>
                    <a:cubicBezTo>
                      <a:pt x="13" y="2"/>
                      <a:pt x="11" y="0"/>
                      <a:pt x="10" y="0"/>
                    </a:cubicBezTo>
                    <a:cubicBezTo>
                      <a:pt x="7" y="1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7" name="Freeform 105">
                <a:extLst>
                  <a:ext uri="{FF2B5EF4-FFF2-40B4-BE49-F238E27FC236}">
                    <a16:creationId xmlns:a16="http://schemas.microsoft.com/office/drawing/2014/main" id="{2A2542C1-ABD5-480E-9B0E-74555622A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213" y="3605213"/>
                <a:ext cx="73025" cy="60325"/>
              </a:xfrm>
              <a:custGeom>
                <a:avLst/>
                <a:gdLst>
                  <a:gd name="T0" fmla="*/ 15 w 33"/>
                  <a:gd name="T1" fmla="*/ 2 h 28"/>
                  <a:gd name="T2" fmla="*/ 23 w 33"/>
                  <a:gd name="T3" fmla="*/ 18 h 28"/>
                  <a:gd name="T4" fmla="*/ 1 w 33"/>
                  <a:gd name="T5" fmla="*/ 22 h 28"/>
                  <a:gd name="T6" fmla="*/ 15 w 33"/>
                  <a:gd name="T7" fmla="*/ 25 h 28"/>
                  <a:gd name="T8" fmla="*/ 31 w 33"/>
                  <a:gd name="T9" fmla="*/ 27 h 28"/>
                  <a:gd name="T10" fmla="*/ 33 w 33"/>
                  <a:gd name="T11" fmla="*/ 6 h 28"/>
                  <a:gd name="T12" fmla="*/ 15 w 33"/>
                  <a:gd name="T13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8">
                    <a:moveTo>
                      <a:pt x="15" y="2"/>
                    </a:moveTo>
                    <a:cubicBezTo>
                      <a:pt x="10" y="6"/>
                      <a:pt x="23" y="13"/>
                      <a:pt x="23" y="18"/>
                    </a:cubicBezTo>
                    <a:cubicBezTo>
                      <a:pt x="23" y="22"/>
                      <a:pt x="3" y="17"/>
                      <a:pt x="1" y="22"/>
                    </a:cubicBezTo>
                    <a:cubicBezTo>
                      <a:pt x="0" y="24"/>
                      <a:pt x="8" y="28"/>
                      <a:pt x="15" y="25"/>
                    </a:cubicBezTo>
                    <a:cubicBezTo>
                      <a:pt x="22" y="23"/>
                      <a:pt x="27" y="26"/>
                      <a:pt x="31" y="27"/>
                    </a:cubicBezTo>
                    <a:cubicBezTo>
                      <a:pt x="32" y="20"/>
                      <a:pt x="32" y="11"/>
                      <a:pt x="33" y="6"/>
                    </a:cubicBezTo>
                    <a:cubicBezTo>
                      <a:pt x="27" y="4"/>
                      <a:pt x="19" y="0"/>
                      <a:pt x="15" y="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8" name="Freeform 106">
                <a:extLst>
                  <a:ext uri="{FF2B5EF4-FFF2-40B4-BE49-F238E27FC236}">
                    <a16:creationId xmlns:a16="http://schemas.microsoft.com/office/drawing/2014/main" id="{476219CB-5708-4290-AA74-329DA0FEE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613150"/>
                <a:ext cx="84137" cy="57150"/>
              </a:xfrm>
              <a:custGeom>
                <a:avLst/>
                <a:gdLst>
                  <a:gd name="T0" fmla="*/ 15 w 38"/>
                  <a:gd name="T1" fmla="*/ 19 h 26"/>
                  <a:gd name="T2" fmla="*/ 38 w 38"/>
                  <a:gd name="T3" fmla="*/ 14 h 26"/>
                  <a:gd name="T4" fmla="*/ 8 w 38"/>
                  <a:gd name="T5" fmla="*/ 2 h 26"/>
                  <a:gd name="T6" fmla="*/ 2 w 38"/>
                  <a:gd name="T7" fmla="*/ 2 h 26"/>
                  <a:gd name="T8" fmla="*/ 0 w 38"/>
                  <a:gd name="T9" fmla="*/ 23 h 26"/>
                  <a:gd name="T10" fmla="*/ 1 w 38"/>
                  <a:gd name="T11" fmla="*/ 24 h 26"/>
                  <a:gd name="T12" fmla="*/ 15 w 38"/>
                  <a:gd name="T13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6">
                    <a:moveTo>
                      <a:pt x="15" y="19"/>
                    </a:moveTo>
                    <a:cubicBezTo>
                      <a:pt x="24" y="16"/>
                      <a:pt x="38" y="21"/>
                      <a:pt x="38" y="14"/>
                    </a:cubicBezTo>
                    <a:cubicBezTo>
                      <a:pt x="38" y="7"/>
                      <a:pt x="14" y="0"/>
                      <a:pt x="8" y="2"/>
                    </a:cubicBezTo>
                    <a:cubicBezTo>
                      <a:pt x="7" y="2"/>
                      <a:pt x="5" y="2"/>
                      <a:pt x="2" y="2"/>
                    </a:cubicBezTo>
                    <a:cubicBezTo>
                      <a:pt x="1" y="7"/>
                      <a:pt x="1" y="16"/>
                      <a:pt x="0" y="23"/>
                    </a:cubicBezTo>
                    <a:cubicBezTo>
                      <a:pt x="0" y="24"/>
                      <a:pt x="1" y="24"/>
                      <a:pt x="1" y="24"/>
                    </a:cubicBezTo>
                    <a:cubicBezTo>
                      <a:pt x="5" y="26"/>
                      <a:pt x="6" y="22"/>
                      <a:pt x="15" y="1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29" name="Freeform 107">
                <a:extLst>
                  <a:ext uri="{FF2B5EF4-FFF2-40B4-BE49-F238E27FC236}">
                    <a16:creationId xmlns:a16="http://schemas.microsoft.com/office/drawing/2014/main" id="{18B797F1-3438-4F97-9B85-DEE50A7501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125" y="3738563"/>
                <a:ext cx="104775" cy="109538"/>
              </a:xfrm>
              <a:custGeom>
                <a:avLst/>
                <a:gdLst>
                  <a:gd name="T0" fmla="*/ 26 w 48"/>
                  <a:gd name="T1" fmla="*/ 47 h 50"/>
                  <a:gd name="T2" fmla="*/ 37 w 48"/>
                  <a:gd name="T3" fmla="*/ 49 h 50"/>
                  <a:gd name="T4" fmla="*/ 43 w 48"/>
                  <a:gd name="T5" fmla="*/ 49 h 50"/>
                  <a:gd name="T6" fmla="*/ 41 w 48"/>
                  <a:gd name="T7" fmla="*/ 47 h 50"/>
                  <a:gd name="T8" fmla="*/ 44 w 48"/>
                  <a:gd name="T9" fmla="*/ 32 h 50"/>
                  <a:gd name="T10" fmla="*/ 46 w 48"/>
                  <a:gd name="T11" fmla="*/ 13 h 50"/>
                  <a:gd name="T12" fmla="*/ 48 w 48"/>
                  <a:gd name="T13" fmla="*/ 1 h 50"/>
                  <a:gd name="T14" fmla="*/ 48 w 48"/>
                  <a:gd name="T15" fmla="*/ 0 h 50"/>
                  <a:gd name="T16" fmla="*/ 35 w 48"/>
                  <a:gd name="T17" fmla="*/ 6 h 50"/>
                  <a:gd name="T18" fmla="*/ 24 w 48"/>
                  <a:gd name="T19" fmla="*/ 8 h 50"/>
                  <a:gd name="T20" fmla="*/ 12 w 48"/>
                  <a:gd name="T21" fmla="*/ 13 h 50"/>
                  <a:gd name="T22" fmla="*/ 8 w 48"/>
                  <a:gd name="T23" fmla="*/ 20 h 50"/>
                  <a:gd name="T24" fmla="*/ 5 w 48"/>
                  <a:gd name="T25" fmla="*/ 23 h 50"/>
                  <a:gd name="T26" fmla="*/ 1 w 48"/>
                  <a:gd name="T27" fmla="*/ 24 h 50"/>
                  <a:gd name="T28" fmla="*/ 2 w 48"/>
                  <a:gd name="T29" fmla="*/ 29 h 50"/>
                  <a:gd name="T30" fmla="*/ 16 w 48"/>
                  <a:gd name="T31" fmla="*/ 42 h 50"/>
                  <a:gd name="T32" fmla="*/ 20 w 48"/>
                  <a:gd name="T33" fmla="*/ 46 h 50"/>
                  <a:gd name="T34" fmla="*/ 26 w 48"/>
                  <a:gd name="T35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8" h="50">
                    <a:moveTo>
                      <a:pt x="26" y="47"/>
                    </a:moveTo>
                    <a:cubicBezTo>
                      <a:pt x="29" y="48"/>
                      <a:pt x="35" y="47"/>
                      <a:pt x="37" y="49"/>
                    </a:cubicBezTo>
                    <a:cubicBezTo>
                      <a:pt x="39" y="50"/>
                      <a:pt x="41" y="50"/>
                      <a:pt x="43" y="49"/>
                    </a:cubicBezTo>
                    <a:cubicBezTo>
                      <a:pt x="42" y="48"/>
                      <a:pt x="42" y="47"/>
                      <a:pt x="41" y="47"/>
                    </a:cubicBezTo>
                    <a:cubicBezTo>
                      <a:pt x="40" y="44"/>
                      <a:pt x="43" y="37"/>
                      <a:pt x="44" y="32"/>
                    </a:cubicBezTo>
                    <a:cubicBezTo>
                      <a:pt x="46" y="28"/>
                      <a:pt x="43" y="16"/>
                      <a:pt x="46" y="13"/>
                    </a:cubicBezTo>
                    <a:cubicBezTo>
                      <a:pt x="48" y="10"/>
                      <a:pt x="47" y="8"/>
                      <a:pt x="48" y="1"/>
                    </a:cubicBezTo>
                    <a:cubicBezTo>
                      <a:pt x="48" y="1"/>
                      <a:pt x="48" y="1"/>
                      <a:pt x="48" y="0"/>
                    </a:cubicBezTo>
                    <a:cubicBezTo>
                      <a:pt x="43" y="0"/>
                      <a:pt x="37" y="5"/>
                      <a:pt x="35" y="6"/>
                    </a:cubicBezTo>
                    <a:cubicBezTo>
                      <a:pt x="33" y="6"/>
                      <a:pt x="25" y="4"/>
                      <a:pt x="24" y="8"/>
                    </a:cubicBezTo>
                    <a:cubicBezTo>
                      <a:pt x="23" y="12"/>
                      <a:pt x="18" y="13"/>
                      <a:pt x="12" y="13"/>
                    </a:cubicBezTo>
                    <a:cubicBezTo>
                      <a:pt x="5" y="14"/>
                      <a:pt x="9" y="19"/>
                      <a:pt x="8" y="20"/>
                    </a:cubicBezTo>
                    <a:cubicBezTo>
                      <a:pt x="8" y="21"/>
                      <a:pt x="5" y="23"/>
                      <a:pt x="5" y="23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26"/>
                      <a:pt x="0" y="28"/>
                      <a:pt x="2" y="29"/>
                    </a:cubicBezTo>
                    <a:cubicBezTo>
                      <a:pt x="6" y="31"/>
                      <a:pt x="12" y="40"/>
                      <a:pt x="16" y="42"/>
                    </a:cubicBezTo>
                    <a:cubicBezTo>
                      <a:pt x="18" y="43"/>
                      <a:pt x="19" y="45"/>
                      <a:pt x="20" y="46"/>
                    </a:cubicBezTo>
                    <a:cubicBezTo>
                      <a:pt x="22" y="46"/>
                      <a:pt x="25" y="46"/>
                      <a:pt x="26" y="4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0" name="Freeform 108">
                <a:extLst>
                  <a:ext uri="{FF2B5EF4-FFF2-40B4-BE49-F238E27FC236}">
                    <a16:creationId xmlns:a16="http://schemas.microsoft.com/office/drawing/2014/main" id="{83DF3FD0-562C-473A-9DE4-19AB5AA13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8088" y="3986213"/>
                <a:ext cx="985837" cy="1008063"/>
              </a:xfrm>
              <a:custGeom>
                <a:avLst/>
                <a:gdLst>
                  <a:gd name="T0" fmla="*/ 252 w 449"/>
                  <a:gd name="T1" fmla="*/ 426 h 459"/>
                  <a:gd name="T2" fmla="*/ 259 w 449"/>
                  <a:gd name="T3" fmla="*/ 428 h 459"/>
                  <a:gd name="T4" fmla="*/ 288 w 449"/>
                  <a:gd name="T5" fmla="*/ 378 h 459"/>
                  <a:gd name="T6" fmla="*/ 306 w 449"/>
                  <a:gd name="T7" fmla="*/ 342 h 459"/>
                  <a:gd name="T8" fmla="*/ 336 w 449"/>
                  <a:gd name="T9" fmla="*/ 325 h 459"/>
                  <a:gd name="T10" fmla="*/ 371 w 449"/>
                  <a:gd name="T11" fmla="*/ 316 h 459"/>
                  <a:gd name="T12" fmla="*/ 385 w 449"/>
                  <a:gd name="T13" fmla="*/ 289 h 459"/>
                  <a:gd name="T14" fmla="*/ 397 w 449"/>
                  <a:gd name="T15" fmla="*/ 263 h 459"/>
                  <a:gd name="T16" fmla="*/ 401 w 449"/>
                  <a:gd name="T17" fmla="*/ 211 h 459"/>
                  <a:gd name="T18" fmla="*/ 409 w 449"/>
                  <a:gd name="T19" fmla="*/ 205 h 459"/>
                  <a:gd name="T20" fmla="*/ 444 w 449"/>
                  <a:gd name="T21" fmla="*/ 157 h 459"/>
                  <a:gd name="T22" fmla="*/ 405 w 449"/>
                  <a:gd name="T23" fmla="*/ 103 h 459"/>
                  <a:gd name="T24" fmla="*/ 335 w 449"/>
                  <a:gd name="T25" fmla="*/ 95 h 459"/>
                  <a:gd name="T26" fmla="*/ 295 w 449"/>
                  <a:gd name="T27" fmla="*/ 73 h 459"/>
                  <a:gd name="T28" fmla="*/ 291 w 449"/>
                  <a:gd name="T29" fmla="*/ 66 h 459"/>
                  <a:gd name="T30" fmla="*/ 264 w 449"/>
                  <a:gd name="T31" fmla="*/ 60 h 459"/>
                  <a:gd name="T32" fmla="*/ 258 w 449"/>
                  <a:gd name="T33" fmla="*/ 12 h 459"/>
                  <a:gd name="T34" fmla="*/ 221 w 449"/>
                  <a:gd name="T35" fmla="*/ 32 h 459"/>
                  <a:gd name="T36" fmla="*/ 190 w 449"/>
                  <a:gd name="T37" fmla="*/ 38 h 459"/>
                  <a:gd name="T38" fmla="*/ 165 w 449"/>
                  <a:gd name="T39" fmla="*/ 39 h 459"/>
                  <a:gd name="T40" fmla="*/ 157 w 449"/>
                  <a:gd name="T41" fmla="*/ 1 h 459"/>
                  <a:gd name="T42" fmla="*/ 128 w 449"/>
                  <a:gd name="T43" fmla="*/ 17 h 459"/>
                  <a:gd name="T44" fmla="*/ 106 w 449"/>
                  <a:gd name="T45" fmla="*/ 14 h 459"/>
                  <a:gd name="T46" fmla="*/ 120 w 449"/>
                  <a:gd name="T47" fmla="*/ 31 h 459"/>
                  <a:gd name="T48" fmla="*/ 104 w 449"/>
                  <a:gd name="T49" fmla="*/ 46 h 459"/>
                  <a:gd name="T50" fmla="*/ 84 w 449"/>
                  <a:gd name="T51" fmla="*/ 48 h 459"/>
                  <a:gd name="T52" fmla="*/ 47 w 449"/>
                  <a:gd name="T53" fmla="*/ 41 h 459"/>
                  <a:gd name="T54" fmla="*/ 45 w 449"/>
                  <a:gd name="T55" fmla="*/ 58 h 459"/>
                  <a:gd name="T56" fmla="*/ 45 w 449"/>
                  <a:gd name="T57" fmla="*/ 107 h 459"/>
                  <a:gd name="T58" fmla="*/ 12 w 449"/>
                  <a:gd name="T59" fmla="*/ 120 h 459"/>
                  <a:gd name="T60" fmla="*/ 2 w 449"/>
                  <a:gd name="T61" fmla="*/ 144 h 459"/>
                  <a:gd name="T62" fmla="*/ 15 w 449"/>
                  <a:gd name="T63" fmla="*/ 167 h 459"/>
                  <a:gd name="T64" fmla="*/ 38 w 449"/>
                  <a:gd name="T65" fmla="*/ 171 h 459"/>
                  <a:gd name="T66" fmla="*/ 65 w 449"/>
                  <a:gd name="T67" fmla="*/ 184 h 459"/>
                  <a:gd name="T68" fmla="*/ 99 w 449"/>
                  <a:gd name="T69" fmla="*/ 173 h 459"/>
                  <a:gd name="T70" fmla="*/ 124 w 449"/>
                  <a:gd name="T71" fmla="*/ 205 h 459"/>
                  <a:gd name="T72" fmla="*/ 150 w 449"/>
                  <a:gd name="T73" fmla="*/ 216 h 459"/>
                  <a:gd name="T74" fmla="*/ 157 w 449"/>
                  <a:gd name="T75" fmla="*/ 242 h 459"/>
                  <a:gd name="T76" fmla="*/ 186 w 449"/>
                  <a:gd name="T77" fmla="*/ 264 h 459"/>
                  <a:gd name="T78" fmla="*/ 181 w 449"/>
                  <a:gd name="T79" fmla="*/ 292 h 459"/>
                  <a:gd name="T80" fmla="*/ 199 w 449"/>
                  <a:gd name="T81" fmla="*/ 316 h 459"/>
                  <a:gd name="T82" fmla="*/ 222 w 449"/>
                  <a:gd name="T83" fmla="*/ 336 h 459"/>
                  <a:gd name="T84" fmla="*/ 230 w 449"/>
                  <a:gd name="T85" fmla="*/ 374 h 459"/>
                  <a:gd name="T86" fmla="*/ 187 w 449"/>
                  <a:gd name="T87" fmla="*/ 414 h 459"/>
                  <a:gd name="T88" fmla="*/ 205 w 449"/>
                  <a:gd name="T89" fmla="*/ 425 h 459"/>
                  <a:gd name="T90" fmla="*/ 231 w 449"/>
                  <a:gd name="T91" fmla="*/ 442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9" h="459">
                    <a:moveTo>
                      <a:pt x="238" y="454"/>
                    </a:moveTo>
                    <a:cubicBezTo>
                      <a:pt x="245" y="449"/>
                      <a:pt x="243" y="446"/>
                      <a:pt x="246" y="440"/>
                    </a:cubicBezTo>
                    <a:cubicBezTo>
                      <a:pt x="250" y="434"/>
                      <a:pt x="247" y="431"/>
                      <a:pt x="252" y="426"/>
                    </a:cubicBezTo>
                    <a:cubicBezTo>
                      <a:pt x="258" y="421"/>
                      <a:pt x="251" y="417"/>
                      <a:pt x="258" y="414"/>
                    </a:cubicBezTo>
                    <a:cubicBezTo>
                      <a:pt x="265" y="411"/>
                      <a:pt x="264" y="417"/>
                      <a:pt x="259" y="424"/>
                    </a:cubicBezTo>
                    <a:cubicBezTo>
                      <a:pt x="253" y="432"/>
                      <a:pt x="252" y="434"/>
                      <a:pt x="259" y="428"/>
                    </a:cubicBezTo>
                    <a:cubicBezTo>
                      <a:pt x="267" y="423"/>
                      <a:pt x="270" y="415"/>
                      <a:pt x="274" y="406"/>
                    </a:cubicBezTo>
                    <a:cubicBezTo>
                      <a:pt x="278" y="397"/>
                      <a:pt x="281" y="395"/>
                      <a:pt x="285" y="394"/>
                    </a:cubicBezTo>
                    <a:cubicBezTo>
                      <a:pt x="289" y="394"/>
                      <a:pt x="289" y="384"/>
                      <a:pt x="288" y="378"/>
                    </a:cubicBezTo>
                    <a:cubicBezTo>
                      <a:pt x="288" y="371"/>
                      <a:pt x="286" y="365"/>
                      <a:pt x="289" y="361"/>
                    </a:cubicBezTo>
                    <a:cubicBezTo>
                      <a:pt x="291" y="357"/>
                      <a:pt x="289" y="353"/>
                      <a:pt x="292" y="353"/>
                    </a:cubicBezTo>
                    <a:cubicBezTo>
                      <a:pt x="296" y="353"/>
                      <a:pt x="301" y="348"/>
                      <a:pt x="306" y="342"/>
                    </a:cubicBezTo>
                    <a:cubicBezTo>
                      <a:pt x="312" y="337"/>
                      <a:pt x="315" y="336"/>
                      <a:pt x="321" y="336"/>
                    </a:cubicBezTo>
                    <a:cubicBezTo>
                      <a:pt x="327" y="335"/>
                      <a:pt x="324" y="333"/>
                      <a:pt x="327" y="332"/>
                    </a:cubicBezTo>
                    <a:cubicBezTo>
                      <a:pt x="331" y="331"/>
                      <a:pt x="334" y="328"/>
                      <a:pt x="336" y="325"/>
                    </a:cubicBezTo>
                    <a:cubicBezTo>
                      <a:pt x="339" y="323"/>
                      <a:pt x="349" y="326"/>
                      <a:pt x="355" y="326"/>
                    </a:cubicBezTo>
                    <a:cubicBezTo>
                      <a:pt x="361" y="326"/>
                      <a:pt x="365" y="326"/>
                      <a:pt x="365" y="322"/>
                    </a:cubicBezTo>
                    <a:cubicBezTo>
                      <a:pt x="365" y="319"/>
                      <a:pt x="368" y="316"/>
                      <a:pt x="371" y="316"/>
                    </a:cubicBezTo>
                    <a:cubicBezTo>
                      <a:pt x="375" y="316"/>
                      <a:pt x="376" y="315"/>
                      <a:pt x="376" y="310"/>
                    </a:cubicBezTo>
                    <a:cubicBezTo>
                      <a:pt x="376" y="305"/>
                      <a:pt x="378" y="302"/>
                      <a:pt x="381" y="299"/>
                    </a:cubicBezTo>
                    <a:cubicBezTo>
                      <a:pt x="384" y="297"/>
                      <a:pt x="384" y="292"/>
                      <a:pt x="385" y="289"/>
                    </a:cubicBezTo>
                    <a:cubicBezTo>
                      <a:pt x="386" y="286"/>
                      <a:pt x="389" y="288"/>
                      <a:pt x="389" y="283"/>
                    </a:cubicBezTo>
                    <a:cubicBezTo>
                      <a:pt x="389" y="278"/>
                      <a:pt x="391" y="273"/>
                      <a:pt x="391" y="269"/>
                    </a:cubicBezTo>
                    <a:cubicBezTo>
                      <a:pt x="391" y="265"/>
                      <a:pt x="395" y="266"/>
                      <a:pt x="397" y="263"/>
                    </a:cubicBezTo>
                    <a:cubicBezTo>
                      <a:pt x="399" y="260"/>
                      <a:pt x="395" y="257"/>
                      <a:pt x="398" y="249"/>
                    </a:cubicBezTo>
                    <a:cubicBezTo>
                      <a:pt x="401" y="241"/>
                      <a:pt x="398" y="234"/>
                      <a:pt x="398" y="227"/>
                    </a:cubicBezTo>
                    <a:cubicBezTo>
                      <a:pt x="398" y="220"/>
                      <a:pt x="398" y="213"/>
                      <a:pt x="401" y="211"/>
                    </a:cubicBezTo>
                    <a:cubicBezTo>
                      <a:pt x="403" y="208"/>
                      <a:pt x="402" y="207"/>
                      <a:pt x="400" y="206"/>
                    </a:cubicBezTo>
                    <a:cubicBezTo>
                      <a:pt x="398" y="205"/>
                      <a:pt x="400" y="202"/>
                      <a:pt x="402" y="203"/>
                    </a:cubicBezTo>
                    <a:cubicBezTo>
                      <a:pt x="404" y="203"/>
                      <a:pt x="406" y="207"/>
                      <a:pt x="409" y="205"/>
                    </a:cubicBezTo>
                    <a:cubicBezTo>
                      <a:pt x="412" y="203"/>
                      <a:pt x="415" y="195"/>
                      <a:pt x="418" y="188"/>
                    </a:cubicBezTo>
                    <a:cubicBezTo>
                      <a:pt x="421" y="181"/>
                      <a:pt x="425" y="181"/>
                      <a:pt x="429" y="179"/>
                    </a:cubicBezTo>
                    <a:cubicBezTo>
                      <a:pt x="432" y="178"/>
                      <a:pt x="440" y="169"/>
                      <a:pt x="444" y="157"/>
                    </a:cubicBezTo>
                    <a:cubicBezTo>
                      <a:pt x="449" y="145"/>
                      <a:pt x="444" y="133"/>
                      <a:pt x="442" y="124"/>
                    </a:cubicBezTo>
                    <a:cubicBezTo>
                      <a:pt x="440" y="116"/>
                      <a:pt x="437" y="118"/>
                      <a:pt x="432" y="118"/>
                    </a:cubicBezTo>
                    <a:cubicBezTo>
                      <a:pt x="427" y="118"/>
                      <a:pt x="418" y="117"/>
                      <a:pt x="405" y="103"/>
                    </a:cubicBezTo>
                    <a:cubicBezTo>
                      <a:pt x="393" y="90"/>
                      <a:pt x="381" y="91"/>
                      <a:pt x="372" y="93"/>
                    </a:cubicBezTo>
                    <a:cubicBezTo>
                      <a:pt x="364" y="95"/>
                      <a:pt x="356" y="89"/>
                      <a:pt x="350" y="88"/>
                    </a:cubicBezTo>
                    <a:cubicBezTo>
                      <a:pt x="345" y="87"/>
                      <a:pt x="339" y="94"/>
                      <a:pt x="335" y="95"/>
                    </a:cubicBezTo>
                    <a:cubicBezTo>
                      <a:pt x="331" y="97"/>
                      <a:pt x="337" y="89"/>
                      <a:pt x="338" y="84"/>
                    </a:cubicBezTo>
                    <a:cubicBezTo>
                      <a:pt x="338" y="80"/>
                      <a:pt x="323" y="73"/>
                      <a:pt x="311" y="68"/>
                    </a:cubicBezTo>
                    <a:cubicBezTo>
                      <a:pt x="300" y="64"/>
                      <a:pt x="295" y="66"/>
                      <a:pt x="295" y="73"/>
                    </a:cubicBezTo>
                    <a:cubicBezTo>
                      <a:pt x="295" y="81"/>
                      <a:pt x="290" y="71"/>
                      <a:pt x="287" y="79"/>
                    </a:cubicBezTo>
                    <a:cubicBezTo>
                      <a:pt x="283" y="87"/>
                      <a:pt x="277" y="82"/>
                      <a:pt x="281" y="79"/>
                    </a:cubicBezTo>
                    <a:cubicBezTo>
                      <a:pt x="285" y="77"/>
                      <a:pt x="289" y="71"/>
                      <a:pt x="291" y="66"/>
                    </a:cubicBezTo>
                    <a:cubicBezTo>
                      <a:pt x="292" y="61"/>
                      <a:pt x="274" y="58"/>
                      <a:pt x="268" y="60"/>
                    </a:cubicBezTo>
                    <a:cubicBezTo>
                      <a:pt x="262" y="63"/>
                      <a:pt x="266" y="72"/>
                      <a:pt x="261" y="69"/>
                    </a:cubicBezTo>
                    <a:cubicBezTo>
                      <a:pt x="256" y="66"/>
                      <a:pt x="260" y="59"/>
                      <a:pt x="264" y="60"/>
                    </a:cubicBezTo>
                    <a:cubicBezTo>
                      <a:pt x="268" y="60"/>
                      <a:pt x="272" y="52"/>
                      <a:pt x="275" y="46"/>
                    </a:cubicBezTo>
                    <a:cubicBezTo>
                      <a:pt x="278" y="40"/>
                      <a:pt x="270" y="39"/>
                      <a:pt x="266" y="34"/>
                    </a:cubicBezTo>
                    <a:cubicBezTo>
                      <a:pt x="261" y="29"/>
                      <a:pt x="262" y="14"/>
                      <a:pt x="258" y="12"/>
                    </a:cubicBezTo>
                    <a:cubicBezTo>
                      <a:pt x="253" y="17"/>
                      <a:pt x="246" y="24"/>
                      <a:pt x="244" y="30"/>
                    </a:cubicBezTo>
                    <a:cubicBezTo>
                      <a:pt x="242" y="37"/>
                      <a:pt x="239" y="33"/>
                      <a:pt x="232" y="35"/>
                    </a:cubicBezTo>
                    <a:cubicBezTo>
                      <a:pt x="226" y="37"/>
                      <a:pt x="223" y="34"/>
                      <a:pt x="221" y="32"/>
                    </a:cubicBezTo>
                    <a:cubicBezTo>
                      <a:pt x="219" y="29"/>
                      <a:pt x="213" y="32"/>
                      <a:pt x="209" y="31"/>
                    </a:cubicBezTo>
                    <a:cubicBezTo>
                      <a:pt x="204" y="31"/>
                      <a:pt x="207" y="37"/>
                      <a:pt x="204" y="38"/>
                    </a:cubicBezTo>
                    <a:cubicBezTo>
                      <a:pt x="201" y="40"/>
                      <a:pt x="193" y="35"/>
                      <a:pt x="190" y="38"/>
                    </a:cubicBezTo>
                    <a:cubicBezTo>
                      <a:pt x="188" y="41"/>
                      <a:pt x="186" y="38"/>
                      <a:pt x="185" y="41"/>
                    </a:cubicBezTo>
                    <a:cubicBezTo>
                      <a:pt x="183" y="44"/>
                      <a:pt x="179" y="42"/>
                      <a:pt x="177" y="44"/>
                    </a:cubicBezTo>
                    <a:cubicBezTo>
                      <a:pt x="176" y="45"/>
                      <a:pt x="171" y="46"/>
                      <a:pt x="165" y="39"/>
                    </a:cubicBezTo>
                    <a:cubicBezTo>
                      <a:pt x="159" y="33"/>
                      <a:pt x="160" y="22"/>
                      <a:pt x="163" y="19"/>
                    </a:cubicBezTo>
                    <a:cubicBezTo>
                      <a:pt x="165" y="17"/>
                      <a:pt x="165" y="12"/>
                      <a:pt x="162" y="10"/>
                    </a:cubicBezTo>
                    <a:cubicBezTo>
                      <a:pt x="158" y="8"/>
                      <a:pt x="162" y="1"/>
                      <a:pt x="157" y="1"/>
                    </a:cubicBezTo>
                    <a:cubicBezTo>
                      <a:pt x="152" y="0"/>
                      <a:pt x="153" y="6"/>
                      <a:pt x="150" y="7"/>
                    </a:cubicBezTo>
                    <a:cubicBezTo>
                      <a:pt x="147" y="8"/>
                      <a:pt x="139" y="13"/>
                      <a:pt x="136" y="12"/>
                    </a:cubicBezTo>
                    <a:cubicBezTo>
                      <a:pt x="132" y="12"/>
                      <a:pt x="128" y="13"/>
                      <a:pt x="128" y="17"/>
                    </a:cubicBezTo>
                    <a:cubicBezTo>
                      <a:pt x="128" y="21"/>
                      <a:pt x="124" y="19"/>
                      <a:pt x="124" y="16"/>
                    </a:cubicBezTo>
                    <a:cubicBezTo>
                      <a:pt x="123" y="13"/>
                      <a:pt x="116" y="15"/>
                      <a:pt x="114" y="13"/>
                    </a:cubicBezTo>
                    <a:cubicBezTo>
                      <a:pt x="112" y="11"/>
                      <a:pt x="102" y="12"/>
                      <a:pt x="106" y="14"/>
                    </a:cubicBezTo>
                    <a:cubicBezTo>
                      <a:pt x="111" y="17"/>
                      <a:pt x="111" y="19"/>
                      <a:pt x="111" y="23"/>
                    </a:cubicBezTo>
                    <a:cubicBezTo>
                      <a:pt x="111" y="27"/>
                      <a:pt x="114" y="26"/>
                      <a:pt x="114" y="30"/>
                    </a:cubicBezTo>
                    <a:cubicBezTo>
                      <a:pt x="114" y="34"/>
                      <a:pt x="117" y="31"/>
                      <a:pt x="120" y="31"/>
                    </a:cubicBezTo>
                    <a:cubicBezTo>
                      <a:pt x="122" y="31"/>
                      <a:pt x="122" y="35"/>
                      <a:pt x="118" y="36"/>
                    </a:cubicBezTo>
                    <a:cubicBezTo>
                      <a:pt x="115" y="37"/>
                      <a:pt x="113" y="39"/>
                      <a:pt x="112" y="42"/>
                    </a:cubicBezTo>
                    <a:cubicBezTo>
                      <a:pt x="111" y="46"/>
                      <a:pt x="107" y="43"/>
                      <a:pt x="104" y="46"/>
                    </a:cubicBezTo>
                    <a:cubicBezTo>
                      <a:pt x="101" y="49"/>
                      <a:pt x="99" y="51"/>
                      <a:pt x="97" y="50"/>
                    </a:cubicBezTo>
                    <a:cubicBezTo>
                      <a:pt x="95" y="49"/>
                      <a:pt x="93" y="50"/>
                      <a:pt x="91" y="51"/>
                    </a:cubicBezTo>
                    <a:cubicBezTo>
                      <a:pt x="88" y="52"/>
                      <a:pt x="87" y="51"/>
                      <a:pt x="84" y="48"/>
                    </a:cubicBezTo>
                    <a:cubicBezTo>
                      <a:pt x="81" y="46"/>
                      <a:pt x="80" y="41"/>
                      <a:pt x="75" y="37"/>
                    </a:cubicBezTo>
                    <a:cubicBezTo>
                      <a:pt x="72" y="38"/>
                      <a:pt x="67" y="40"/>
                      <a:pt x="64" y="40"/>
                    </a:cubicBezTo>
                    <a:cubicBezTo>
                      <a:pt x="60" y="40"/>
                      <a:pt x="48" y="39"/>
                      <a:pt x="47" y="41"/>
                    </a:cubicBezTo>
                    <a:cubicBezTo>
                      <a:pt x="46" y="44"/>
                      <a:pt x="48" y="47"/>
                      <a:pt x="50" y="48"/>
                    </a:cubicBezTo>
                    <a:cubicBezTo>
                      <a:pt x="52" y="48"/>
                      <a:pt x="56" y="49"/>
                      <a:pt x="52" y="52"/>
                    </a:cubicBezTo>
                    <a:cubicBezTo>
                      <a:pt x="48" y="55"/>
                      <a:pt x="45" y="51"/>
                      <a:pt x="45" y="58"/>
                    </a:cubicBezTo>
                    <a:cubicBezTo>
                      <a:pt x="45" y="65"/>
                      <a:pt x="54" y="70"/>
                      <a:pt x="52" y="77"/>
                    </a:cubicBezTo>
                    <a:cubicBezTo>
                      <a:pt x="51" y="80"/>
                      <a:pt x="50" y="89"/>
                      <a:pt x="50" y="92"/>
                    </a:cubicBezTo>
                    <a:cubicBezTo>
                      <a:pt x="50" y="95"/>
                      <a:pt x="48" y="107"/>
                      <a:pt x="45" y="107"/>
                    </a:cubicBezTo>
                    <a:cubicBezTo>
                      <a:pt x="42" y="108"/>
                      <a:pt x="40" y="105"/>
                      <a:pt x="36" y="108"/>
                    </a:cubicBezTo>
                    <a:cubicBezTo>
                      <a:pt x="32" y="111"/>
                      <a:pt x="27" y="109"/>
                      <a:pt x="22" y="113"/>
                    </a:cubicBezTo>
                    <a:cubicBezTo>
                      <a:pt x="17" y="117"/>
                      <a:pt x="12" y="115"/>
                      <a:pt x="12" y="120"/>
                    </a:cubicBezTo>
                    <a:cubicBezTo>
                      <a:pt x="12" y="124"/>
                      <a:pt x="7" y="126"/>
                      <a:pt x="8" y="130"/>
                    </a:cubicBezTo>
                    <a:cubicBezTo>
                      <a:pt x="9" y="134"/>
                      <a:pt x="6" y="133"/>
                      <a:pt x="3" y="136"/>
                    </a:cubicBezTo>
                    <a:cubicBezTo>
                      <a:pt x="0" y="139"/>
                      <a:pt x="4" y="141"/>
                      <a:pt x="2" y="144"/>
                    </a:cubicBezTo>
                    <a:cubicBezTo>
                      <a:pt x="0" y="146"/>
                      <a:pt x="2" y="150"/>
                      <a:pt x="5" y="153"/>
                    </a:cubicBezTo>
                    <a:cubicBezTo>
                      <a:pt x="7" y="157"/>
                      <a:pt x="10" y="160"/>
                      <a:pt x="9" y="163"/>
                    </a:cubicBezTo>
                    <a:cubicBezTo>
                      <a:pt x="9" y="166"/>
                      <a:pt x="12" y="168"/>
                      <a:pt x="15" y="167"/>
                    </a:cubicBezTo>
                    <a:cubicBezTo>
                      <a:pt x="18" y="167"/>
                      <a:pt x="16" y="174"/>
                      <a:pt x="21" y="174"/>
                    </a:cubicBezTo>
                    <a:cubicBezTo>
                      <a:pt x="26" y="174"/>
                      <a:pt x="32" y="175"/>
                      <a:pt x="33" y="172"/>
                    </a:cubicBezTo>
                    <a:cubicBezTo>
                      <a:pt x="34" y="169"/>
                      <a:pt x="38" y="167"/>
                      <a:pt x="38" y="171"/>
                    </a:cubicBezTo>
                    <a:cubicBezTo>
                      <a:pt x="38" y="175"/>
                      <a:pt x="37" y="187"/>
                      <a:pt x="41" y="186"/>
                    </a:cubicBezTo>
                    <a:cubicBezTo>
                      <a:pt x="44" y="184"/>
                      <a:pt x="52" y="185"/>
                      <a:pt x="55" y="186"/>
                    </a:cubicBezTo>
                    <a:cubicBezTo>
                      <a:pt x="59" y="187"/>
                      <a:pt x="63" y="186"/>
                      <a:pt x="65" y="184"/>
                    </a:cubicBezTo>
                    <a:cubicBezTo>
                      <a:pt x="67" y="181"/>
                      <a:pt x="70" y="181"/>
                      <a:pt x="75" y="179"/>
                    </a:cubicBezTo>
                    <a:cubicBezTo>
                      <a:pt x="79" y="176"/>
                      <a:pt x="84" y="173"/>
                      <a:pt x="88" y="173"/>
                    </a:cubicBezTo>
                    <a:cubicBezTo>
                      <a:pt x="92" y="173"/>
                      <a:pt x="100" y="170"/>
                      <a:pt x="99" y="173"/>
                    </a:cubicBezTo>
                    <a:cubicBezTo>
                      <a:pt x="98" y="177"/>
                      <a:pt x="97" y="189"/>
                      <a:pt x="102" y="195"/>
                    </a:cubicBezTo>
                    <a:cubicBezTo>
                      <a:pt x="108" y="202"/>
                      <a:pt x="111" y="204"/>
                      <a:pt x="116" y="203"/>
                    </a:cubicBezTo>
                    <a:cubicBezTo>
                      <a:pt x="121" y="203"/>
                      <a:pt x="120" y="205"/>
                      <a:pt x="124" y="205"/>
                    </a:cubicBezTo>
                    <a:cubicBezTo>
                      <a:pt x="127" y="205"/>
                      <a:pt x="125" y="209"/>
                      <a:pt x="128" y="209"/>
                    </a:cubicBezTo>
                    <a:cubicBezTo>
                      <a:pt x="132" y="209"/>
                      <a:pt x="138" y="210"/>
                      <a:pt x="138" y="213"/>
                    </a:cubicBezTo>
                    <a:cubicBezTo>
                      <a:pt x="138" y="217"/>
                      <a:pt x="148" y="214"/>
                      <a:pt x="150" y="216"/>
                    </a:cubicBezTo>
                    <a:cubicBezTo>
                      <a:pt x="152" y="218"/>
                      <a:pt x="155" y="220"/>
                      <a:pt x="154" y="224"/>
                    </a:cubicBezTo>
                    <a:cubicBezTo>
                      <a:pt x="154" y="228"/>
                      <a:pt x="159" y="231"/>
                      <a:pt x="156" y="232"/>
                    </a:cubicBezTo>
                    <a:cubicBezTo>
                      <a:pt x="153" y="234"/>
                      <a:pt x="157" y="237"/>
                      <a:pt x="157" y="242"/>
                    </a:cubicBezTo>
                    <a:cubicBezTo>
                      <a:pt x="158" y="246"/>
                      <a:pt x="162" y="248"/>
                      <a:pt x="170" y="247"/>
                    </a:cubicBezTo>
                    <a:cubicBezTo>
                      <a:pt x="177" y="247"/>
                      <a:pt x="179" y="248"/>
                      <a:pt x="179" y="253"/>
                    </a:cubicBezTo>
                    <a:cubicBezTo>
                      <a:pt x="179" y="258"/>
                      <a:pt x="184" y="259"/>
                      <a:pt x="186" y="264"/>
                    </a:cubicBezTo>
                    <a:cubicBezTo>
                      <a:pt x="187" y="269"/>
                      <a:pt x="184" y="275"/>
                      <a:pt x="184" y="279"/>
                    </a:cubicBezTo>
                    <a:cubicBezTo>
                      <a:pt x="185" y="282"/>
                      <a:pt x="183" y="285"/>
                      <a:pt x="181" y="286"/>
                    </a:cubicBezTo>
                    <a:cubicBezTo>
                      <a:pt x="183" y="290"/>
                      <a:pt x="184" y="291"/>
                      <a:pt x="181" y="292"/>
                    </a:cubicBezTo>
                    <a:cubicBezTo>
                      <a:pt x="178" y="294"/>
                      <a:pt x="185" y="299"/>
                      <a:pt x="183" y="306"/>
                    </a:cubicBezTo>
                    <a:cubicBezTo>
                      <a:pt x="182" y="314"/>
                      <a:pt x="181" y="315"/>
                      <a:pt x="189" y="315"/>
                    </a:cubicBezTo>
                    <a:cubicBezTo>
                      <a:pt x="197" y="316"/>
                      <a:pt x="196" y="318"/>
                      <a:pt x="199" y="316"/>
                    </a:cubicBezTo>
                    <a:cubicBezTo>
                      <a:pt x="202" y="315"/>
                      <a:pt x="206" y="322"/>
                      <a:pt x="207" y="326"/>
                    </a:cubicBezTo>
                    <a:cubicBezTo>
                      <a:pt x="208" y="329"/>
                      <a:pt x="211" y="338"/>
                      <a:pt x="212" y="338"/>
                    </a:cubicBezTo>
                    <a:cubicBezTo>
                      <a:pt x="213" y="338"/>
                      <a:pt x="217" y="334"/>
                      <a:pt x="222" y="336"/>
                    </a:cubicBezTo>
                    <a:cubicBezTo>
                      <a:pt x="225" y="338"/>
                      <a:pt x="221" y="351"/>
                      <a:pt x="220" y="356"/>
                    </a:cubicBezTo>
                    <a:cubicBezTo>
                      <a:pt x="223" y="356"/>
                      <a:pt x="227" y="356"/>
                      <a:pt x="228" y="357"/>
                    </a:cubicBezTo>
                    <a:cubicBezTo>
                      <a:pt x="230" y="358"/>
                      <a:pt x="231" y="372"/>
                      <a:pt x="230" y="374"/>
                    </a:cubicBezTo>
                    <a:cubicBezTo>
                      <a:pt x="229" y="377"/>
                      <a:pt x="221" y="379"/>
                      <a:pt x="216" y="382"/>
                    </a:cubicBezTo>
                    <a:cubicBezTo>
                      <a:pt x="212" y="385"/>
                      <a:pt x="202" y="394"/>
                      <a:pt x="197" y="402"/>
                    </a:cubicBezTo>
                    <a:cubicBezTo>
                      <a:pt x="194" y="407"/>
                      <a:pt x="190" y="411"/>
                      <a:pt x="187" y="414"/>
                    </a:cubicBezTo>
                    <a:cubicBezTo>
                      <a:pt x="188" y="414"/>
                      <a:pt x="189" y="414"/>
                      <a:pt x="190" y="414"/>
                    </a:cubicBezTo>
                    <a:cubicBezTo>
                      <a:pt x="192" y="413"/>
                      <a:pt x="196" y="413"/>
                      <a:pt x="200" y="417"/>
                    </a:cubicBezTo>
                    <a:cubicBezTo>
                      <a:pt x="204" y="422"/>
                      <a:pt x="203" y="426"/>
                      <a:pt x="205" y="425"/>
                    </a:cubicBezTo>
                    <a:cubicBezTo>
                      <a:pt x="206" y="425"/>
                      <a:pt x="208" y="419"/>
                      <a:pt x="211" y="424"/>
                    </a:cubicBezTo>
                    <a:cubicBezTo>
                      <a:pt x="214" y="428"/>
                      <a:pt x="222" y="431"/>
                      <a:pt x="224" y="433"/>
                    </a:cubicBezTo>
                    <a:cubicBezTo>
                      <a:pt x="226" y="435"/>
                      <a:pt x="231" y="437"/>
                      <a:pt x="231" y="442"/>
                    </a:cubicBezTo>
                    <a:cubicBezTo>
                      <a:pt x="231" y="446"/>
                      <a:pt x="230" y="453"/>
                      <a:pt x="233" y="459"/>
                    </a:cubicBezTo>
                    <a:cubicBezTo>
                      <a:pt x="234" y="457"/>
                      <a:pt x="236" y="455"/>
                      <a:pt x="238" y="45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1" name="Freeform 109">
                <a:extLst>
                  <a:ext uri="{FF2B5EF4-FFF2-40B4-BE49-F238E27FC236}">
                    <a16:creationId xmlns:a16="http://schemas.microsoft.com/office/drawing/2014/main" id="{EC4D932D-1360-4E31-BA8A-53394EAE7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3850" y="4892675"/>
                <a:ext cx="125412" cy="134938"/>
              </a:xfrm>
              <a:custGeom>
                <a:avLst/>
                <a:gdLst>
                  <a:gd name="T0" fmla="*/ 55 w 57"/>
                  <a:gd name="T1" fmla="*/ 29 h 61"/>
                  <a:gd name="T2" fmla="*/ 48 w 57"/>
                  <a:gd name="T3" fmla="*/ 20 h 61"/>
                  <a:gd name="T4" fmla="*/ 35 w 57"/>
                  <a:gd name="T5" fmla="*/ 11 h 61"/>
                  <a:gd name="T6" fmla="*/ 29 w 57"/>
                  <a:gd name="T7" fmla="*/ 12 h 61"/>
                  <a:gd name="T8" fmla="*/ 24 w 57"/>
                  <a:gd name="T9" fmla="*/ 4 h 61"/>
                  <a:gd name="T10" fmla="*/ 14 w 57"/>
                  <a:gd name="T11" fmla="*/ 1 h 61"/>
                  <a:gd name="T12" fmla="*/ 11 w 57"/>
                  <a:gd name="T13" fmla="*/ 1 h 61"/>
                  <a:gd name="T14" fmla="*/ 7 w 57"/>
                  <a:gd name="T15" fmla="*/ 7 h 61"/>
                  <a:gd name="T16" fmla="*/ 3 w 57"/>
                  <a:gd name="T17" fmla="*/ 27 h 61"/>
                  <a:gd name="T18" fmla="*/ 0 w 57"/>
                  <a:gd name="T19" fmla="*/ 41 h 61"/>
                  <a:gd name="T20" fmla="*/ 4 w 57"/>
                  <a:gd name="T21" fmla="*/ 48 h 61"/>
                  <a:gd name="T22" fmla="*/ 3 w 57"/>
                  <a:gd name="T23" fmla="*/ 53 h 61"/>
                  <a:gd name="T24" fmla="*/ 7 w 57"/>
                  <a:gd name="T25" fmla="*/ 55 h 61"/>
                  <a:gd name="T26" fmla="*/ 22 w 57"/>
                  <a:gd name="T27" fmla="*/ 59 h 61"/>
                  <a:gd name="T28" fmla="*/ 31 w 57"/>
                  <a:gd name="T29" fmla="*/ 59 h 61"/>
                  <a:gd name="T30" fmla="*/ 48 w 57"/>
                  <a:gd name="T31" fmla="*/ 57 h 61"/>
                  <a:gd name="T32" fmla="*/ 57 w 57"/>
                  <a:gd name="T33" fmla="*/ 46 h 61"/>
                  <a:gd name="T34" fmla="*/ 55 w 57"/>
                  <a:gd name="T35" fmla="*/ 2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61">
                    <a:moveTo>
                      <a:pt x="55" y="29"/>
                    </a:moveTo>
                    <a:cubicBezTo>
                      <a:pt x="55" y="24"/>
                      <a:pt x="50" y="22"/>
                      <a:pt x="48" y="20"/>
                    </a:cubicBezTo>
                    <a:cubicBezTo>
                      <a:pt x="46" y="18"/>
                      <a:pt x="38" y="15"/>
                      <a:pt x="35" y="11"/>
                    </a:cubicBezTo>
                    <a:cubicBezTo>
                      <a:pt x="32" y="6"/>
                      <a:pt x="30" y="12"/>
                      <a:pt x="29" y="12"/>
                    </a:cubicBezTo>
                    <a:cubicBezTo>
                      <a:pt x="27" y="13"/>
                      <a:pt x="28" y="9"/>
                      <a:pt x="24" y="4"/>
                    </a:cubicBezTo>
                    <a:cubicBezTo>
                      <a:pt x="20" y="0"/>
                      <a:pt x="16" y="0"/>
                      <a:pt x="14" y="1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9" y="3"/>
                      <a:pt x="7" y="6"/>
                      <a:pt x="7" y="7"/>
                    </a:cubicBezTo>
                    <a:cubicBezTo>
                      <a:pt x="7" y="12"/>
                      <a:pt x="4" y="18"/>
                      <a:pt x="3" y="27"/>
                    </a:cubicBezTo>
                    <a:cubicBezTo>
                      <a:pt x="3" y="36"/>
                      <a:pt x="1" y="34"/>
                      <a:pt x="0" y="41"/>
                    </a:cubicBezTo>
                    <a:cubicBezTo>
                      <a:pt x="0" y="49"/>
                      <a:pt x="3" y="47"/>
                      <a:pt x="4" y="48"/>
                    </a:cubicBezTo>
                    <a:cubicBezTo>
                      <a:pt x="4" y="49"/>
                      <a:pt x="4" y="51"/>
                      <a:pt x="3" y="53"/>
                    </a:cubicBezTo>
                    <a:cubicBezTo>
                      <a:pt x="4" y="54"/>
                      <a:pt x="5" y="55"/>
                      <a:pt x="7" y="55"/>
                    </a:cubicBezTo>
                    <a:cubicBezTo>
                      <a:pt x="12" y="55"/>
                      <a:pt x="16" y="56"/>
                      <a:pt x="22" y="59"/>
                    </a:cubicBezTo>
                    <a:cubicBezTo>
                      <a:pt x="27" y="61"/>
                      <a:pt x="25" y="58"/>
                      <a:pt x="31" y="59"/>
                    </a:cubicBezTo>
                    <a:cubicBezTo>
                      <a:pt x="36" y="60"/>
                      <a:pt x="42" y="60"/>
                      <a:pt x="48" y="57"/>
                    </a:cubicBezTo>
                    <a:cubicBezTo>
                      <a:pt x="52" y="54"/>
                      <a:pt x="54" y="50"/>
                      <a:pt x="57" y="46"/>
                    </a:cubicBezTo>
                    <a:cubicBezTo>
                      <a:pt x="54" y="40"/>
                      <a:pt x="55" y="33"/>
                      <a:pt x="55" y="2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2" name="Freeform 110">
                <a:extLst>
                  <a:ext uri="{FF2B5EF4-FFF2-40B4-BE49-F238E27FC236}">
                    <a16:creationId xmlns:a16="http://schemas.microsoft.com/office/drawing/2014/main" id="{C745F50E-4FA4-4063-BFD9-661E9976D0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2850" y="4667250"/>
                <a:ext cx="503237" cy="989013"/>
              </a:xfrm>
              <a:custGeom>
                <a:avLst/>
                <a:gdLst>
                  <a:gd name="T0" fmla="*/ 65 w 229"/>
                  <a:gd name="T1" fmla="*/ 427 h 451"/>
                  <a:gd name="T2" fmla="*/ 61 w 229"/>
                  <a:gd name="T3" fmla="*/ 417 h 451"/>
                  <a:gd name="T4" fmla="*/ 57 w 229"/>
                  <a:gd name="T5" fmla="*/ 448 h 451"/>
                  <a:gd name="T6" fmla="*/ 81 w 229"/>
                  <a:gd name="T7" fmla="*/ 449 h 451"/>
                  <a:gd name="T8" fmla="*/ 87 w 229"/>
                  <a:gd name="T9" fmla="*/ 442 h 451"/>
                  <a:gd name="T10" fmla="*/ 218 w 229"/>
                  <a:gd name="T11" fmla="*/ 46 h 451"/>
                  <a:gd name="T12" fmla="*/ 213 w 229"/>
                  <a:gd name="T13" fmla="*/ 64 h 451"/>
                  <a:gd name="T14" fmla="*/ 194 w 229"/>
                  <a:gd name="T15" fmla="*/ 71 h 451"/>
                  <a:gd name="T16" fmla="*/ 173 w 229"/>
                  <a:gd name="T17" fmla="*/ 67 h 451"/>
                  <a:gd name="T18" fmla="*/ 185 w 229"/>
                  <a:gd name="T19" fmla="*/ 45 h 451"/>
                  <a:gd name="T20" fmla="*/ 152 w 229"/>
                  <a:gd name="T21" fmla="*/ 28 h 451"/>
                  <a:gd name="T22" fmla="*/ 124 w 229"/>
                  <a:gd name="T23" fmla="*/ 4 h 451"/>
                  <a:gd name="T24" fmla="*/ 106 w 229"/>
                  <a:gd name="T25" fmla="*/ 11 h 451"/>
                  <a:gd name="T26" fmla="*/ 83 w 229"/>
                  <a:gd name="T27" fmla="*/ 6 h 451"/>
                  <a:gd name="T28" fmla="*/ 72 w 229"/>
                  <a:gd name="T29" fmla="*/ 26 h 451"/>
                  <a:gd name="T30" fmla="*/ 59 w 229"/>
                  <a:gd name="T31" fmla="*/ 44 h 451"/>
                  <a:gd name="T32" fmla="*/ 60 w 229"/>
                  <a:gd name="T33" fmla="*/ 63 h 451"/>
                  <a:gd name="T34" fmla="*/ 50 w 229"/>
                  <a:gd name="T35" fmla="*/ 78 h 451"/>
                  <a:gd name="T36" fmla="*/ 42 w 229"/>
                  <a:gd name="T37" fmla="*/ 95 h 451"/>
                  <a:gd name="T38" fmla="*/ 37 w 229"/>
                  <a:gd name="T39" fmla="*/ 115 h 451"/>
                  <a:gd name="T40" fmla="*/ 41 w 229"/>
                  <a:gd name="T41" fmla="*/ 138 h 451"/>
                  <a:gd name="T42" fmla="*/ 40 w 229"/>
                  <a:gd name="T43" fmla="*/ 158 h 451"/>
                  <a:gd name="T44" fmla="*/ 37 w 229"/>
                  <a:gd name="T45" fmla="*/ 180 h 451"/>
                  <a:gd name="T46" fmla="*/ 29 w 229"/>
                  <a:gd name="T47" fmla="*/ 206 h 451"/>
                  <a:gd name="T48" fmla="*/ 25 w 229"/>
                  <a:gd name="T49" fmla="*/ 217 h 451"/>
                  <a:gd name="T50" fmla="*/ 22 w 229"/>
                  <a:gd name="T51" fmla="*/ 232 h 451"/>
                  <a:gd name="T52" fmla="*/ 21 w 229"/>
                  <a:gd name="T53" fmla="*/ 248 h 451"/>
                  <a:gd name="T54" fmla="*/ 18 w 229"/>
                  <a:gd name="T55" fmla="*/ 272 h 451"/>
                  <a:gd name="T56" fmla="*/ 21 w 229"/>
                  <a:gd name="T57" fmla="*/ 285 h 451"/>
                  <a:gd name="T58" fmla="*/ 26 w 229"/>
                  <a:gd name="T59" fmla="*/ 296 h 451"/>
                  <a:gd name="T60" fmla="*/ 24 w 229"/>
                  <a:gd name="T61" fmla="*/ 306 h 451"/>
                  <a:gd name="T62" fmla="*/ 22 w 229"/>
                  <a:gd name="T63" fmla="*/ 323 h 451"/>
                  <a:gd name="T64" fmla="*/ 13 w 229"/>
                  <a:gd name="T65" fmla="*/ 339 h 451"/>
                  <a:gd name="T66" fmla="*/ 9 w 229"/>
                  <a:gd name="T67" fmla="*/ 355 h 451"/>
                  <a:gd name="T68" fmla="*/ 3 w 229"/>
                  <a:gd name="T69" fmla="*/ 373 h 451"/>
                  <a:gd name="T70" fmla="*/ 16 w 229"/>
                  <a:gd name="T71" fmla="*/ 384 h 451"/>
                  <a:gd name="T72" fmla="*/ 22 w 229"/>
                  <a:gd name="T73" fmla="*/ 402 h 451"/>
                  <a:gd name="T74" fmla="*/ 48 w 229"/>
                  <a:gd name="T75" fmla="*/ 405 h 451"/>
                  <a:gd name="T76" fmla="*/ 53 w 229"/>
                  <a:gd name="T77" fmla="*/ 396 h 451"/>
                  <a:gd name="T78" fmla="*/ 54 w 229"/>
                  <a:gd name="T79" fmla="*/ 377 h 451"/>
                  <a:gd name="T80" fmla="*/ 67 w 229"/>
                  <a:gd name="T81" fmla="*/ 364 h 451"/>
                  <a:gd name="T82" fmla="*/ 88 w 229"/>
                  <a:gd name="T83" fmla="*/ 341 h 451"/>
                  <a:gd name="T84" fmla="*/ 79 w 229"/>
                  <a:gd name="T85" fmla="*/ 327 h 451"/>
                  <a:gd name="T86" fmla="*/ 89 w 229"/>
                  <a:gd name="T87" fmla="*/ 299 h 451"/>
                  <a:gd name="T88" fmla="*/ 95 w 229"/>
                  <a:gd name="T89" fmla="*/ 285 h 451"/>
                  <a:gd name="T90" fmla="*/ 103 w 229"/>
                  <a:gd name="T91" fmla="*/ 270 h 451"/>
                  <a:gd name="T92" fmla="*/ 109 w 229"/>
                  <a:gd name="T93" fmla="*/ 269 h 451"/>
                  <a:gd name="T94" fmla="*/ 106 w 229"/>
                  <a:gd name="T95" fmla="*/ 262 h 451"/>
                  <a:gd name="T96" fmla="*/ 98 w 229"/>
                  <a:gd name="T97" fmla="*/ 251 h 451"/>
                  <a:gd name="T98" fmla="*/ 116 w 229"/>
                  <a:gd name="T99" fmla="*/ 245 h 451"/>
                  <a:gd name="T100" fmla="*/ 130 w 229"/>
                  <a:gd name="T101" fmla="*/ 228 h 451"/>
                  <a:gd name="T102" fmla="*/ 133 w 229"/>
                  <a:gd name="T103" fmla="*/ 215 h 451"/>
                  <a:gd name="T104" fmla="*/ 184 w 229"/>
                  <a:gd name="T105" fmla="*/ 203 h 451"/>
                  <a:gd name="T106" fmla="*/ 189 w 229"/>
                  <a:gd name="T107" fmla="*/ 181 h 451"/>
                  <a:gd name="T108" fmla="*/ 181 w 229"/>
                  <a:gd name="T109" fmla="*/ 164 h 451"/>
                  <a:gd name="T110" fmla="*/ 177 w 229"/>
                  <a:gd name="T111" fmla="*/ 156 h 451"/>
                  <a:gd name="T112" fmla="*/ 174 w 229"/>
                  <a:gd name="T113" fmla="*/ 144 h 451"/>
                  <a:gd name="T114" fmla="*/ 181 w 229"/>
                  <a:gd name="T115" fmla="*/ 110 h 451"/>
                  <a:gd name="T116" fmla="*/ 214 w 229"/>
                  <a:gd name="T117" fmla="*/ 72 h 451"/>
                  <a:gd name="T118" fmla="*/ 226 w 229"/>
                  <a:gd name="T119" fmla="*/ 47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9" h="451">
                    <a:moveTo>
                      <a:pt x="87" y="442"/>
                    </a:moveTo>
                    <a:cubicBezTo>
                      <a:pt x="81" y="441"/>
                      <a:pt x="69" y="430"/>
                      <a:pt x="65" y="427"/>
                    </a:cubicBezTo>
                    <a:cubicBezTo>
                      <a:pt x="61" y="424"/>
                      <a:pt x="64" y="421"/>
                      <a:pt x="60" y="422"/>
                    </a:cubicBezTo>
                    <a:cubicBezTo>
                      <a:pt x="55" y="422"/>
                      <a:pt x="58" y="418"/>
                      <a:pt x="61" y="417"/>
                    </a:cubicBezTo>
                    <a:cubicBezTo>
                      <a:pt x="63" y="416"/>
                      <a:pt x="60" y="411"/>
                      <a:pt x="57" y="411"/>
                    </a:cubicBezTo>
                    <a:cubicBezTo>
                      <a:pt x="56" y="418"/>
                      <a:pt x="55" y="448"/>
                      <a:pt x="57" y="448"/>
                    </a:cubicBezTo>
                    <a:cubicBezTo>
                      <a:pt x="59" y="448"/>
                      <a:pt x="72" y="446"/>
                      <a:pt x="76" y="449"/>
                    </a:cubicBezTo>
                    <a:cubicBezTo>
                      <a:pt x="77" y="449"/>
                      <a:pt x="79" y="451"/>
                      <a:pt x="81" y="449"/>
                    </a:cubicBezTo>
                    <a:cubicBezTo>
                      <a:pt x="83" y="446"/>
                      <a:pt x="91" y="448"/>
                      <a:pt x="95" y="445"/>
                    </a:cubicBezTo>
                    <a:cubicBezTo>
                      <a:pt x="99" y="443"/>
                      <a:pt x="94" y="442"/>
                      <a:pt x="87" y="442"/>
                    </a:cubicBezTo>
                    <a:close/>
                    <a:moveTo>
                      <a:pt x="226" y="47"/>
                    </a:moveTo>
                    <a:cubicBezTo>
                      <a:pt x="225" y="46"/>
                      <a:pt x="221" y="46"/>
                      <a:pt x="218" y="46"/>
                    </a:cubicBezTo>
                    <a:cubicBezTo>
                      <a:pt x="218" y="47"/>
                      <a:pt x="218" y="47"/>
                      <a:pt x="218" y="48"/>
                    </a:cubicBezTo>
                    <a:cubicBezTo>
                      <a:pt x="219" y="52"/>
                      <a:pt x="216" y="65"/>
                      <a:pt x="213" y="64"/>
                    </a:cubicBezTo>
                    <a:cubicBezTo>
                      <a:pt x="209" y="64"/>
                      <a:pt x="207" y="69"/>
                      <a:pt x="204" y="69"/>
                    </a:cubicBezTo>
                    <a:cubicBezTo>
                      <a:pt x="201" y="68"/>
                      <a:pt x="198" y="73"/>
                      <a:pt x="194" y="71"/>
                    </a:cubicBezTo>
                    <a:cubicBezTo>
                      <a:pt x="191" y="69"/>
                      <a:pt x="186" y="71"/>
                      <a:pt x="183" y="70"/>
                    </a:cubicBezTo>
                    <a:cubicBezTo>
                      <a:pt x="181" y="68"/>
                      <a:pt x="173" y="69"/>
                      <a:pt x="173" y="67"/>
                    </a:cubicBezTo>
                    <a:cubicBezTo>
                      <a:pt x="173" y="65"/>
                      <a:pt x="177" y="66"/>
                      <a:pt x="177" y="60"/>
                    </a:cubicBezTo>
                    <a:cubicBezTo>
                      <a:pt x="177" y="54"/>
                      <a:pt x="187" y="47"/>
                      <a:pt x="185" y="45"/>
                    </a:cubicBezTo>
                    <a:cubicBezTo>
                      <a:pt x="184" y="42"/>
                      <a:pt x="167" y="37"/>
                      <a:pt x="164" y="34"/>
                    </a:cubicBezTo>
                    <a:cubicBezTo>
                      <a:pt x="162" y="31"/>
                      <a:pt x="159" y="28"/>
                      <a:pt x="152" y="28"/>
                    </a:cubicBezTo>
                    <a:cubicBezTo>
                      <a:pt x="145" y="27"/>
                      <a:pt x="145" y="24"/>
                      <a:pt x="139" y="20"/>
                    </a:cubicBezTo>
                    <a:cubicBezTo>
                      <a:pt x="134" y="17"/>
                      <a:pt x="126" y="8"/>
                      <a:pt x="124" y="4"/>
                    </a:cubicBezTo>
                    <a:cubicBezTo>
                      <a:pt x="120" y="3"/>
                      <a:pt x="114" y="3"/>
                      <a:pt x="113" y="4"/>
                    </a:cubicBezTo>
                    <a:cubicBezTo>
                      <a:pt x="111" y="6"/>
                      <a:pt x="108" y="15"/>
                      <a:pt x="106" y="11"/>
                    </a:cubicBezTo>
                    <a:cubicBezTo>
                      <a:pt x="104" y="6"/>
                      <a:pt x="98" y="6"/>
                      <a:pt x="93" y="5"/>
                    </a:cubicBezTo>
                    <a:cubicBezTo>
                      <a:pt x="88" y="5"/>
                      <a:pt x="88" y="0"/>
                      <a:pt x="83" y="6"/>
                    </a:cubicBezTo>
                    <a:cubicBezTo>
                      <a:pt x="80" y="8"/>
                      <a:pt x="77" y="11"/>
                      <a:pt x="75" y="12"/>
                    </a:cubicBezTo>
                    <a:cubicBezTo>
                      <a:pt x="74" y="18"/>
                      <a:pt x="73" y="24"/>
                      <a:pt x="72" y="26"/>
                    </a:cubicBezTo>
                    <a:cubicBezTo>
                      <a:pt x="71" y="28"/>
                      <a:pt x="60" y="33"/>
                      <a:pt x="59" y="36"/>
                    </a:cubicBezTo>
                    <a:cubicBezTo>
                      <a:pt x="59" y="38"/>
                      <a:pt x="61" y="42"/>
                      <a:pt x="59" y="44"/>
                    </a:cubicBezTo>
                    <a:cubicBezTo>
                      <a:pt x="57" y="46"/>
                      <a:pt x="63" y="54"/>
                      <a:pt x="60" y="56"/>
                    </a:cubicBezTo>
                    <a:cubicBezTo>
                      <a:pt x="56" y="58"/>
                      <a:pt x="62" y="61"/>
                      <a:pt x="60" y="63"/>
                    </a:cubicBezTo>
                    <a:cubicBezTo>
                      <a:pt x="58" y="66"/>
                      <a:pt x="53" y="67"/>
                      <a:pt x="53" y="69"/>
                    </a:cubicBezTo>
                    <a:cubicBezTo>
                      <a:pt x="53" y="71"/>
                      <a:pt x="53" y="77"/>
                      <a:pt x="50" y="78"/>
                    </a:cubicBezTo>
                    <a:cubicBezTo>
                      <a:pt x="47" y="80"/>
                      <a:pt x="45" y="85"/>
                      <a:pt x="45" y="89"/>
                    </a:cubicBezTo>
                    <a:cubicBezTo>
                      <a:pt x="45" y="92"/>
                      <a:pt x="40" y="90"/>
                      <a:pt x="42" y="95"/>
                    </a:cubicBezTo>
                    <a:cubicBezTo>
                      <a:pt x="44" y="99"/>
                      <a:pt x="46" y="105"/>
                      <a:pt x="42" y="106"/>
                    </a:cubicBezTo>
                    <a:cubicBezTo>
                      <a:pt x="38" y="107"/>
                      <a:pt x="39" y="115"/>
                      <a:pt x="37" y="115"/>
                    </a:cubicBezTo>
                    <a:cubicBezTo>
                      <a:pt x="35" y="115"/>
                      <a:pt x="34" y="123"/>
                      <a:pt x="37" y="127"/>
                    </a:cubicBezTo>
                    <a:cubicBezTo>
                      <a:pt x="40" y="131"/>
                      <a:pt x="41" y="135"/>
                      <a:pt x="41" y="138"/>
                    </a:cubicBezTo>
                    <a:cubicBezTo>
                      <a:pt x="41" y="142"/>
                      <a:pt x="45" y="144"/>
                      <a:pt x="44" y="148"/>
                    </a:cubicBezTo>
                    <a:cubicBezTo>
                      <a:pt x="42" y="152"/>
                      <a:pt x="43" y="156"/>
                      <a:pt x="40" y="158"/>
                    </a:cubicBezTo>
                    <a:cubicBezTo>
                      <a:pt x="38" y="159"/>
                      <a:pt x="40" y="164"/>
                      <a:pt x="37" y="166"/>
                    </a:cubicBezTo>
                    <a:cubicBezTo>
                      <a:pt x="34" y="167"/>
                      <a:pt x="39" y="178"/>
                      <a:pt x="37" y="180"/>
                    </a:cubicBezTo>
                    <a:cubicBezTo>
                      <a:pt x="35" y="182"/>
                      <a:pt x="29" y="184"/>
                      <a:pt x="29" y="191"/>
                    </a:cubicBezTo>
                    <a:cubicBezTo>
                      <a:pt x="29" y="199"/>
                      <a:pt x="30" y="203"/>
                      <a:pt x="29" y="206"/>
                    </a:cubicBezTo>
                    <a:cubicBezTo>
                      <a:pt x="28" y="209"/>
                      <a:pt x="32" y="208"/>
                      <a:pt x="32" y="212"/>
                    </a:cubicBezTo>
                    <a:cubicBezTo>
                      <a:pt x="31" y="217"/>
                      <a:pt x="26" y="214"/>
                      <a:pt x="25" y="217"/>
                    </a:cubicBezTo>
                    <a:cubicBezTo>
                      <a:pt x="25" y="220"/>
                      <a:pt x="27" y="225"/>
                      <a:pt x="25" y="225"/>
                    </a:cubicBezTo>
                    <a:cubicBezTo>
                      <a:pt x="23" y="226"/>
                      <a:pt x="22" y="228"/>
                      <a:pt x="22" y="232"/>
                    </a:cubicBezTo>
                    <a:cubicBezTo>
                      <a:pt x="22" y="237"/>
                      <a:pt x="19" y="238"/>
                      <a:pt x="18" y="240"/>
                    </a:cubicBezTo>
                    <a:cubicBezTo>
                      <a:pt x="18" y="243"/>
                      <a:pt x="21" y="245"/>
                      <a:pt x="21" y="248"/>
                    </a:cubicBezTo>
                    <a:cubicBezTo>
                      <a:pt x="21" y="251"/>
                      <a:pt x="23" y="260"/>
                      <a:pt x="20" y="260"/>
                    </a:cubicBezTo>
                    <a:cubicBezTo>
                      <a:pt x="18" y="260"/>
                      <a:pt x="16" y="271"/>
                      <a:pt x="18" y="272"/>
                    </a:cubicBezTo>
                    <a:cubicBezTo>
                      <a:pt x="21" y="273"/>
                      <a:pt x="21" y="276"/>
                      <a:pt x="19" y="278"/>
                    </a:cubicBezTo>
                    <a:cubicBezTo>
                      <a:pt x="18" y="280"/>
                      <a:pt x="24" y="282"/>
                      <a:pt x="21" y="285"/>
                    </a:cubicBezTo>
                    <a:cubicBezTo>
                      <a:pt x="18" y="288"/>
                      <a:pt x="21" y="292"/>
                      <a:pt x="25" y="291"/>
                    </a:cubicBezTo>
                    <a:cubicBezTo>
                      <a:pt x="28" y="290"/>
                      <a:pt x="30" y="296"/>
                      <a:pt x="26" y="296"/>
                    </a:cubicBezTo>
                    <a:cubicBezTo>
                      <a:pt x="23" y="296"/>
                      <a:pt x="19" y="296"/>
                      <a:pt x="22" y="298"/>
                    </a:cubicBezTo>
                    <a:cubicBezTo>
                      <a:pt x="25" y="301"/>
                      <a:pt x="28" y="304"/>
                      <a:pt x="24" y="306"/>
                    </a:cubicBezTo>
                    <a:cubicBezTo>
                      <a:pt x="19" y="307"/>
                      <a:pt x="23" y="311"/>
                      <a:pt x="22" y="315"/>
                    </a:cubicBezTo>
                    <a:cubicBezTo>
                      <a:pt x="21" y="319"/>
                      <a:pt x="25" y="322"/>
                      <a:pt x="22" y="323"/>
                    </a:cubicBezTo>
                    <a:cubicBezTo>
                      <a:pt x="18" y="324"/>
                      <a:pt x="23" y="331"/>
                      <a:pt x="18" y="331"/>
                    </a:cubicBezTo>
                    <a:cubicBezTo>
                      <a:pt x="13" y="332"/>
                      <a:pt x="16" y="336"/>
                      <a:pt x="13" y="339"/>
                    </a:cubicBezTo>
                    <a:cubicBezTo>
                      <a:pt x="10" y="341"/>
                      <a:pt x="17" y="345"/>
                      <a:pt x="14" y="347"/>
                    </a:cubicBezTo>
                    <a:cubicBezTo>
                      <a:pt x="10" y="350"/>
                      <a:pt x="13" y="355"/>
                      <a:pt x="9" y="355"/>
                    </a:cubicBezTo>
                    <a:cubicBezTo>
                      <a:pt x="5" y="355"/>
                      <a:pt x="3" y="360"/>
                      <a:pt x="3" y="363"/>
                    </a:cubicBezTo>
                    <a:cubicBezTo>
                      <a:pt x="3" y="365"/>
                      <a:pt x="0" y="370"/>
                      <a:pt x="3" y="373"/>
                    </a:cubicBezTo>
                    <a:cubicBezTo>
                      <a:pt x="6" y="377"/>
                      <a:pt x="3" y="379"/>
                      <a:pt x="5" y="381"/>
                    </a:cubicBezTo>
                    <a:cubicBezTo>
                      <a:pt x="8" y="382"/>
                      <a:pt x="17" y="380"/>
                      <a:pt x="16" y="384"/>
                    </a:cubicBezTo>
                    <a:cubicBezTo>
                      <a:pt x="14" y="388"/>
                      <a:pt x="15" y="397"/>
                      <a:pt x="16" y="397"/>
                    </a:cubicBezTo>
                    <a:cubicBezTo>
                      <a:pt x="18" y="397"/>
                      <a:pt x="19" y="402"/>
                      <a:pt x="22" y="402"/>
                    </a:cubicBezTo>
                    <a:cubicBezTo>
                      <a:pt x="25" y="401"/>
                      <a:pt x="37" y="400"/>
                      <a:pt x="42" y="401"/>
                    </a:cubicBezTo>
                    <a:cubicBezTo>
                      <a:pt x="44" y="402"/>
                      <a:pt x="46" y="403"/>
                      <a:pt x="48" y="405"/>
                    </a:cubicBezTo>
                    <a:cubicBezTo>
                      <a:pt x="51" y="403"/>
                      <a:pt x="57" y="408"/>
                      <a:pt x="59" y="406"/>
                    </a:cubicBezTo>
                    <a:cubicBezTo>
                      <a:pt x="60" y="404"/>
                      <a:pt x="52" y="398"/>
                      <a:pt x="53" y="396"/>
                    </a:cubicBezTo>
                    <a:cubicBezTo>
                      <a:pt x="53" y="393"/>
                      <a:pt x="51" y="390"/>
                      <a:pt x="51" y="387"/>
                    </a:cubicBezTo>
                    <a:cubicBezTo>
                      <a:pt x="51" y="385"/>
                      <a:pt x="50" y="379"/>
                      <a:pt x="54" y="377"/>
                    </a:cubicBezTo>
                    <a:cubicBezTo>
                      <a:pt x="57" y="374"/>
                      <a:pt x="57" y="372"/>
                      <a:pt x="60" y="372"/>
                    </a:cubicBezTo>
                    <a:cubicBezTo>
                      <a:pt x="62" y="373"/>
                      <a:pt x="66" y="370"/>
                      <a:pt x="67" y="364"/>
                    </a:cubicBezTo>
                    <a:cubicBezTo>
                      <a:pt x="67" y="358"/>
                      <a:pt x="70" y="356"/>
                      <a:pt x="75" y="352"/>
                    </a:cubicBezTo>
                    <a:cubicBezTo>
                      <a:pt x="80" y="347"/>
                      <a:pt x="89" y="343"/>
                      <a:pt x="88" y="341"/>
                    </a:cubicBezTo>
                    <a:cubicBezTo>
                      <a:pt x="87" y="339"/>
                      <a:pt x="90" y="332"/>
                      <a:pt x="90" y="330"/>
                    </a:cubicBezTo>
                    <a:cubicBezTo>
                      <a:pt x="90" y="327"/>
                      <a:pt x="81" y="328"/>
                      <a:pt x="79" y="327"/>
                    </a:cubicBezTo>
                    <a:cubicBezTo>
                      <a:pt x="76" y="326"/>
                      <a:pt x="66" y="319"/>
                      <a:pt x="71" y="309"/>
                    </a:cubicBezTo>
                    <a:cubicBezTo>
                      <a:pt x="76" y="300"/>
                      <a:pt x="86" y="299"/>
                      <a:pt x="89" y="299"/>
                    </a:cubicBezTo>
                    <a:cubicBezTo>
                      <a:pt x="92" y="299"/>
                      <a:pt x="90" y="294"/>
                      <a:pt x="92" y="293"/>
                    </a:cubicBezTo>
                    <a:cubicBezTo>
                      <a:pt x="95" y="291"/>
                      <a:pt x="95" y="289"/>
                      <a:pt x="95" y="285"/>
                    </a:cubicBezTo>
                    <a:cubicBezTo>
                      <a:pt x="95" y="281"/>
                      <a:pt x="95" y="274"/>
                      <a:pt x="100" y="274"/>
                    </a:cubicBezTo>
                    <a:cubicBezTo>
                      <a:pt x="104" y="273"/>
                      <a:pt x="105" y="271"/>
                      <a:pt x="103" y="270"/>
                    </a:cubicBezTo>
                    <a:cubicBezTo>
                      <a:pt x="100" y="269"/>
                      <a:pt x="99" y="266"/>
                      <a:pt x="103" y="265"/>
                    </a:cubicBezTo>
                    <a:cubicBezTo>
                      <a:pt x="108" y="265"/>
                      <a:pt x="106" y="269"/>
                      <a:pt x="109" y="269"/>
                    </a:cubicBezTo>
                    <a:cubicBezTo>
                      <a:pt x="113" y="269"/>
                      <a:pt x="118" y="264"/>
                      <a:pt x="114" y="260"/>
                    </a:cubicBezTo>
                    <a:cubicBezTo>
                      <a:pt x="110" y="257"/>
                      <a:pt x="108" y="262"/>
                      <a:pt x="106" y="262"/>
                    </a:cubicBezTo>
                    <a:cubicBezTo>
                      <a:pt x="104" y="263"/>
                      <a:pt x="102" y="259"/>
                      <a:pt x="100" y="259"/>
                    </a:cubicBezTo>
                    <a:cubicBezTo>
                      <a:pt x="98" y="259"/>
                      <a:pt x="99" y="253"/>
                      <a:pt x="98" y="251"/>
                    </a:cubicBezTo>
                    <a:cubicBezTo>
                      <a:pt x="97" y="249"/>
                      <a:pt x="96" y="243"/>
                      <a:pt x="98" y="240"/>
                    </a:cubicBezTo>
                    <a:cubicBezTo>
                      <a:pt x="100" y="238"/>
                      <a:pt x="108" y="245"/>
                      <a:pt x="116" y="245"/>
                    </a:cubicBezTo>
                    <a:cubicBezTo>
                      <a:pt x="123" y="246"/>
                      <a:pt x="129" y="241"/>
                      <a:pt x="129" y="239"/>
                    </a:cubicBezTo>
                    <a:cubicBezTo>
                      <a:pt x="129" y="236"/>
                      <a:pt x="125" y="231"/>
                      <a:pt x="130" y="228"/>
                    </a:cubicBezTo>
                    <a:cubicBezTo>
                      <a:pt x="134" y="225"/>
                      <a:pt x="130" y="224"/>
                      <a:pt x="129" y="220"/>
                    </a:cubicBezTo>
                    <a:cubicBezTo>
                      <a:pt x="128" y="216"/>
                      <a:pt x="131" y="213"/>
                      <a:pt x="133" y="215"/>
                    </a:cubicBezTo>
                    <a:cubicBezTo>
                      <a:pt x="135" y="217"/>
                      <a:pt x="150" y="216"/>
                      <a:pt x="162" y="214"/>
                    </a:cubicBezTo>
                    <a:cubicBezTo>
                      <a:pt x="174" y="211"/>
                      <a:pt x="183" y="207"/>
                      <a:pt x="184" y="203"/>
                    </a:cubicBezTo>
                    <a:cubicBezTo>
                      <a:pt x="184" y="200"/>
                      <a:pt x="192" y="191"/>
                      <a:pt x="194" y="188"/>
                    </a:cubicBezTo>
                    <a:cubicBezTo>
                      <a:pt x="196" y="185"/>
                      <a:pt x="194" y="182"/>
                      <a:pt x="189" y="181"/>
                    </a:cubicBezTo>
                    <a:cubicBezTo>
                      <a:pt x="184" y="180"/>
                      <a:pt x="184" y="174"/>
                      <a:pt x="187" y="171"/>
                    </a:cubicBezTo>
                    <a:cubicBezTo>
                      <a:pt x="190" y="168"/>
                      <a:pt x="186" y="165"/>
                      <a:pt x="181" y="164"/>
                    </a:cubicBezTo>
                    <a:cubicBezTo>
                      <a:pt x="176" y="164"/>
                      <a:pt x="169" y="161"/>
                      <a:pt x="173" y="157"/>
                    </a:cubicBezTo>
                    <a:cubicBezTo>
                      <a:pt x="175" y="155"/>
                      <a:pt x="176" y="155"/>
                      <a:pt x="177" y="156"/>
                    </a:cubicBezTo>
                    <a:cubicBezTo>
                      <a:pt x="178" y="154"/>
                      <a:pt x="178" y="152"/>
                      <a:pt x="178" y="151"/>
                    </a:cubicBezTo>
                    <a:cubicBezTo>
                      <a:pt x="177" y="150"/>
                      <a:pt x="174" y="152"/>
                      <a:pt x="174" y="144"/>
                    </a:cubicBezTo>
                    <a:cubicBezTo>
                      <a:pt x="175" y="137"/>
                      <a:pt x="177" y="139"/>
                      <a:pt x="177" y="130"/>
                    </a:cubicBezTo>
                    <a:cubicBezTo>
                      <a:pt x="178" y="121"/>
                      <a:pt x="181" y="115"/>
                      <a:pt x="181" y="110"/>
                    </a:cubicBezTo>
                    <a:cubicBezTo>
                      <a:pt x="181" y="106"/>
                      <a:pt x="190" y="100"/>
                      <a:pt x="195" y="92"/>
                    </a:cubicBezTo>
                    <a:cubicBezTo>
                      <a:pt x="200" y="84"/>
                      <a:pt x="210" y="75"/>
                      <a:pt x="214" y="72"/>
                    </a:cubicBezTo>
                    <a:cubicBezTo>
                      <a:pt x="219" y="69"/>
                      <a:pt x="227" y="67"/>
                      <a:pt x="228" y="64"/>
                    </a:cubicBezTo>
                    <a:cubicBezTo>
                      <a:pt x="229" y="62"/>
                      <a:pt x="228" y="48"/>
                      <a:pt x="226" y="4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3" name="Freeform 111">
                <a:extLst>
                  <a:ext uri="{FF2B5EF4-FFF2-40B4-BE49-F238E27FC236}">
                    <a16:creationId xmlns:a16="http://schemas.microsoft.com/office/drawing/2014/main" id="{B67BC5C2-4A8E-4EAE-BDA3-3BC7818A1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0463" y="4557713"/>
                <a:ext cx="219075" cy="1116013"/>
              </a:xfrm>
              <a:custGeom>
                <a:avLst/>
                <a:gdLst>
                  <a:gd name="T0" fmla="*/ 40 w 100"/>
                  <a:gd name="T1" fmla="*/ 434 h 509"/>
                  <a:gd name="T2" fmla="*/ 27 w 100"/>
                  <a:gd name="T3" fmla="*/ 413 h 509"/>
                  <a:gd name="T4" fmla="*/ 37 w 100"/>
                  <a:gd name="T5" fmla="*/ 389 h 509"/>
                  <a:gd name="T6" fmla="*/ 46 w 100"/>
                  <a:gd name="T7" fmla="*/ 365 h 509"/>
                  <a:gd name="T8" fmla="*/ 50 w 100"/>
                  <a:gd name="T9" fmla="*/ 346 h 509"/>
                  <a:gd name="T10" fmla="*/ 43 w 100"/>
                  <a:gd name="T11" fmla="*/ 328 h 509"/>
                  <a:gd name="T12" fmla="*/ 45 w 100"/>
                  <a:gd name="T13" fmla="*/ 298 h 509"/>
                  <a:gd name="T14" fmla="*/ 49 w 100"/>
                  <a:gd name="T15" fmla="*/ 275 h 509"/>
                  <a:gd name="T16" fmla="*/ 53 w 100"/>
                  <a:gd name="T17" fmla="*/ 256 h 509"/>
                  <a:gd name="T18" fmla="*/ 61 w 100"/>
                  <a:gd name="T19" fmla="*/ 216 h 509"/>
                  <a:gd name="T20" fmla="*/ 65 w 100"/>
                  <a:gd name="T21" fmla="*/ 188 h 509"/>
                  <a:gd name="T22" fmla="*/ 66 w 100"/>
                  <a:gd name="T23" fmla="*/ 156 h 509"/>
                  <a:gd name="T24" fmla="*/ 74 w 100"/>
                  <a:gd name="T25" fmla="*/ 128 h 509"/>
                  <a:gd name="T26" fmla="*/ 84 w 100"/>
                  <a:gd name="T27" fmla="*/ 106 h 509"/>
                  <a:gd name="T28" fmla="*/ 96 w 100"/>
                  <a:gd name="T29" fmla="*/ 76 h 509"/>
                  <a:gd name="T30" fmla="*/ 89 w 100"/>
                  <a:gd name="T31" fmla="*/ 52 h 509"/>
                  <a:gd name="T32" fmla="*/ 83 w 100"/>
                  <a:gd name="T33" fmla="*/ 25 h 509"/>
                  <a:gd name="T34" fmla="*/ 71 w 100"/>
                  <a:gd name="T35" fmla="*/ 1 h 509"/>
                  <a:gd name="T36" fmla="*/ 64 w 100"/>
                  <a:gd name="T37" fmla="*/ 22 h 509"/>
                  <a:gd name="T38" fmla="*/ 62 w 100"/>
                  <a:gd name="T39" fmla="*/ 75 h 509"/>
                  <a:gd name="T40" fmla="*/ 52 w 100"/>
                  <a:gd name="T41" fmla="*/ 127 h 509"/>
                  <a:gd name="T42" fmla="*/ 47 w 100"/>
                  <a:gd name="T43" fmla="*/ 163 h 509"/>
                  <a:gd name="T44" fmla="*/ 41 w 100"/>
                  <a:gd name="T45" fmla="*/ 209 h 509"/>
                  <a:gd name="T46" fmla="*/ 25 w 100"/>
                  <a:gd name="T47" fmla="*/ 250 h 509"/>
                  <a:gd name="T48" fmla="*/ 24 w 100"/>
                  <a:gd name="T49" fmla="*/ 286 h 509"/>
                  <a:gd name="T50" fmla="*/ 17 w 100"/>
                  <a:gd name="T51" fmla="*/ 318 h 509"/>
                  <a:gd name="T52" fmla="*/ 31 w 100"/>
                  <a:gd name="T53" fmla="*/ 301 h 509"/>
                  <a:gd name="T54" fmla="*/ 34 w 100"/>
                  <a:gd name="T55" fmla="*/ 320 h 509"/>
                  <a:gd name="T56" fmla="*/ 30 w 100"/>
                  <a:gd name="T57" fmla="*/ 341 h 509"/>
                  <a:gd name="T58" fmla="*/ 24 w 100"/>
                  <a:gd name="T59" fmla="*/ 356 h 509"/>
                  <a:gd name="T60" fmla="*/ 23 w 100"/>
                  <a:gd name="T61" fmla="*/ 353 h 509"/>
                  <a:gd name="T62" fmla="*/ 15 w 100"/>
                  <a:gd name="T63" fmla="*/ 357 h 509"/>
                  <a:gd name="T64" fmla="*/ 2 w 100"/>
                  <a:gd name="T65" fmla="*/ 374 h 509"/>
                  <a:gd name="T66" fmla="*/ 16 w 100"/>
                  <a:gd name="T67" fmla="*/ 375 h 509"/>
                  <a:gd name="T68" fmla="*/ 24 w 100"/>
                  <a:gd name="T69" fmla="*/ 389 h 509"/>
                  <a:gd name="T70" fmla="*/ 10 w 100"/>
                  <a:gd name="T71" fmla="*/ 392 h 509"/>
                  <a:gd name="T72" fmla="*/ 12 w 100"/>
                  <a:gd name="T73" fmla="*/ 400 h 509"/>
                  <a:gd name="T74" fmla="*/ 5 w 100"/>
                  <a:gd name="T75" fmla="*/ 412 h 509"/>
                  <a:gd name="T76" fmla="*/ 14 w 100"/>
                  <a:gd name="T77" fmla="*/ 415 h 509"/>
                  <a:gd name="T78" fmla="*/ 16 w 100"/>
                  <a:gd name="T79" fmla="*/ 427 h 509"/>
                  <a:gd name="T80" fmla="*/ 9 w 100"/>
                  <a:gd name="T81" fmla="*/ 441 h 509"/>
                  <a:gd name="T82" fmla="*/ 23 w 100"/>
                  <a:gd name="T83" fmla="*/ 443 h 509"/>
                  <a:gd name="T84" fmla="*/ 28 w 100"/>
                  <a:gd name="T85" fmla="*/ 448 h 509"/>
                  <a:gd name="T86" fmla="*/ 22 w 100"/>
                  <a:gd name="T87" fmla="*/ 461 h 509"/>
                  <a:gd name="T88" fmla="*/ 40 w 100"/>
                  <a:gd name="T89" fmla="*/ 461 h 509"/>
                  <a:gd name="T90" fmla="*/ 27 w 100"/>
                  <a:gd name="T91" fmla="*/ 471 h 509"/>
                  <a:gd name="T92" fmla="*/ 42 w 100"/>
                  <a:gd name="T93" fmla="*/ 469 h 509"/>
                  <a:gd name="T94" fmla="*/ 25 w 100"/>
                  <a:gd name="T95" fmla="*/ 481 h 509"/>
                  <a:gd name="T96" fmla="*/ 40 w 100"/>
                  <a:gd name="T97" fmla="*/ 482 h 509"/>
                  <a:gd name="T98" fmla="*/ 64 w 100"/>
                  <a:gd name="T99" fmla="*/ 460 h 509"/>
                  <a:gd name="T100" fmla="*/ 71 w 100"/>
                  <a:gd name="T101" fmla="*/ 473 h 509"/>
                  <a:gd name="T102" fmla="*/ 60 w 100"/>
                  <a:gd name="T103" fmla="*/ 476 h 509"/>
                  <a:gd name="T104" fmla="*/ 49 w 100"/>
                  <a:gd name="T105" fmla="*/ 486 h 509"/>
                  <a:gd name="T106" fmla="*/ 58 w 100"/>
                  <a:gd name="T107" fmla="*/ 502 h 509"/>
                  <a:gd name="T108" fmla="*/ 74 w 100"/>
                  <a:gd name="T109" fmla="*/ 500 h 509"/>
                  <a:gd name="T110" fmla="*/ 90 w 100"/>
                  <a:gd name="T111" fmla="*/ 501 h 509"/>
                  <a:gd name="T112" fmla="*/ 81 w 100"/>
                  <a:gd name="T113" fmla="*/ 498 h 509"/>
                  <a:gd name="T114" fmla="*/ 71 w 100"/>
                  <a:gd name="T115" fmla="*/ 456 h 509"/>
                  <a:gd name="T116" fmla="*/ 46 w 100"/>
                  <a:gd name="T117" fmla="*/ 452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09">
                    <a:moveTo>
                      <a:pt x="46" y="452"/>
                    </a:moveTo>
                    <a:cubicBezTo>
                      <a:pt x="43" y="452"/>
                      <a:pt x="42" y="447"/>
                      <a:pt x="40" y="447"/>
                    </a:cubicBezTo>
                    <a:cubicBezTo>
                      <a:pt x="39" y="447"/>
                      <a:pt x="38" y="438"/>
                      <a:pt x="40" y="434"/>
                    </a:cubicBezTo>
                    <a:cubicBezTo>
                      <a:pt x="41" y="430"/>
                      <a:pt x="32" y="432"/>
                      <a:pt x="29" y="431"/>
                    </a:cubicBezTo>
                    <a:cubicBezTo>
                      <a:pt x="27" y="429"/>
                      <a:pt x="30" y="427"/>
                      <a:pt x="27" y="423"/>
                    </a:cubicBezTo>
                    <a:cubicBezTo>
                      <a:pt x="24" y="420"/>
                      <a:pt x="27" y="415"/>
                      <a:pt x="27" y="413"/>
                    </a:cubicBezTo>
                    <a:cubicBezTo>
                      <a:pt x="27" y="410"/>
                      <a:pt x="29" y="405"/>
                      <a:pt x="33" y="405"/>
                    </a:cubicBezTo>
                    <a:cubicBezTo>
                      <a:pt x="37" y="405"/>
                      <a:pt x="34" y="400"/>
                      <a:pt x="38" y="397"/>
                    </a:cubicBezTo>
                    <a:cubicBezTo>
                      <a:pt x="41" y="395"/>
                      <a:pt x="34" y="391"/>
                      <a:pt x="37" y="389"/>
                    </a:cubicBezTo>
                    <a:cubicBezTo>
                      <a:pt x="40" y="386"/>
                      <a:pt x="37" y="382"/>
                      <a:pt x="42" y="381"/>
                    </a:cubicBezTo>
                    <a:cubicBezTo>
                      <a:pt x="47" y="381"/>
                      <a:pt x="42" y="374"/>
                      <a:pt x="46" y="373"/>
                    </a:cubicBezTo>
                    <a:cubicBezTo>
                      <a:pt x="49" y="372"/>
                      <a:pt x="45" y="369"/>
                      <a:pt x="46" y="365"/>
                    </a:cubicBezTo>
                    <a:cubicBezTo>
                      <a:pt x="47" y="361"/>
                      <a:pt x="43" y="357"/>
                      <a:pt x="48" y="356"/>
                    </a:cubicBezTo>
                    <a:cubicBezTo>
                      <a:pt x="52" y="354"/>
                      <a:pt x="49" y="351"/>
                      <a:pt x="46" y="348"/>
                    </a:cubicBezTo>
                    <a:cubicBezTo>
                      <a:pt x="43" y="346"/>
                      <a:pt x="47" y="346"/>
                      <a:pt x="50" y="346"/>
                    </a:cubicBezTo>
                    <a:cubicBezTo>
                      <a:pt x="54" y="346"/>
                      <a:pt x="52" y="340"/>
                      <a:pt x="49" y="341"/>
                    </a:cubicBezTo>
                    <a:cubicBezTo>
                      <a:pt x="45" y="342"/>
                      <a:pt x="42" y="338"/>
                      <a:pt x="45" y="335"/>
                    </a:cubicBezTo>
                    <a:cubicBezTo>
                      <a:pt x="48" y="332"/>
                      <a:pt x="42" y="330"/>
                      <a:pt x="43" y="328"/>
                    </a:cubicBezTo>
                    <a:cubicBezTo>
                      <a:pt x="45" y="326"/>
                      <a:pt x="45" y="323"/>
                      <a:pt x="42" y="322"/>
                    </a:cubicBezTo>
                    <a:cubicBezTo>
                      <a:pt x="40" y="321"/>
                      <a:pt x="42" y="310"/>
                      <a:pt x="44" y="310"/>
                    </a:cubicBezTo>
                    <a:cubicBezTo>
                      <a:pt x="47" y="310"/>
                      <a:pt x="45" y="301"/>
                      <a:pt x="45" y="298"/>
                    </a:cubicBezTo>
                    <a:cubicBezTo>
                      <a:pt x="45" y="295"/>
                      <a:pt x="42" y="293"/>
                      <a:pt x="42" y="290"/>
                    </a:cubicBezTo>
                    <a:cubicBezTo>
                      <a:pt x="43" y="288"/>
                      <a:pt x="46" y="287"/>
                      <a:pt x="46" y="282"/>
                    </a:cubicBezTo>
                    <a:cubicBezTo>
                      <a:pt x="46" y="278"/>
                      <a:pt x="47" y="276"/>
                      <a:pt x="49" y="275"/>
                    </a:cubicBezTo>
                    <a:cubicBezTo>
                      <a:pt x="51" y="275"/>
                      <a:pt x="49" y="270"/>
                      <a:pt x="49" y="267"/>
                    </a:cubicBezTo>
                    <a:cubicBezTo>
                      <a:pt x="50" y="264"/>
                      <a:pt x="55" y="267"/>
                      <a:pt x="56" y="262"/>
                    </a:cubicBezTo>
                    <a:cubicBezTo>
                      <a:pt x="56" y="258"/>
                      <a:pt x="52" y="259"/>
                      <a:pt x="53" y="256"/>
                    </a:cubicBezTo>
                    <a:cubicBezTo>
                      <a:pt x="54" y="253"/>
                      <a:pt x="53" y="249"/>
                      <a:pt x="53" y="241"/>
                    </a:cubicBezTo>
                    <a:cubicBezTo>
                      <a:pt x="53" y="234"/>
                      <a:pt x="59" y="232"/>
                      <a:pt x="61" y="230"/>
                    </a:cubicBezTo>
                    <a:cubicBezTo>
                      <a:pt x="63" y="228"/>
                      <a:pt x="58" y="217"/>
                      <a:pt x="61" y="216"/>
                    </a:cubicBezTo>
                    <a:cubicBezTo>
                      <a:pt x="64" y="214"/>
                      <a:pt x="62" y="209"/>
                      <a:pt x="64" y="208"/>
                    </a:cubicBezTo>
                    <a:cubicBezTo>
                      <a:pt x="67" y="206"/>
                      <a:pt x="66" y="202"/>
                      <a:pt x="68" y="198"/>
                    </a:cubicBezTo>
                    <a:cubicBezTo>
                      <a:pt x="69" y="194"/>
                      <a:pt x="65" y="192"/>
                      <a:pt x="65" y="188"/>
                    </a:cubicBezTo>
                    <a:cubicBezTo>
                      <a:pt x="65" y="185"/>
                      <a:pt x="64" y="181"/>
                      <a:pt x="61" y="177"/>
                    </a:cubicBezTo>
                    <a:cubicBezTo>
                      <a:pt x="58" y="173"/>
                      <a:pt x="59" y="165"/>
                      <a:pt x="61" y="165"/>
                    </a:cubicBezTo>
                    <a:cubicBezTo>
                      <a:pt x="63" y="165"/>
                      <a:pt x="62" y="157"/>
                      <a:pt x="66" y="156"/>
                    </a:cubicBezTo>
                    <a:cubicBezTo>
                      <a:pt x="70" y="155"/>
                      <a:pt x="68" y="149"/>
                      <a:pt x="66" y="145"/>
                    </a:cubicBezTo>
                    <a:cubicBezTo>
                      <a:pt x="64" y="140"/>
                      <a:pt x="69" y="142"/>
                      <a:pt x="69" y="139"/>
                    </a:cubicBezTo>
                    <a:cubicBezTo>
                      <a:pt x="69" y="135"/>
                      <a:pt x="71" y="130"/>
                      <a:pt x="74" y="128"/>
                    </a:cubicBezTo>
                    <a:cubicBezTo>
                      <a:pt x="77" y="127"/>
                      <a:pt x="77" y="121"/>
                      <a:pt x="77" y="119"/>
                    </a:cubicBezTo>
                    <a:cubicBezTo>
                      <a:pt x="77" y="117"/>
                      <a:pt x="82" y="116"/>
                      <a:pt x="84" y="113"/>
                    </a:cubicBezTo>
                    <a:cubicBezTo>
                      <a:pt x="86" y="111"/>
                      <a:pt x="80" y="108"/>
                      <a:pt x="84" y="106"/>
                    </a:cubicBezTo>
                    <a:cubicBezTo>
                      <a:pt x="87" y="104"/>
                      <a:pt x="81" y="96"/>
                      <a:pt x="83" y="94"/>
                    </a:cubicBezTo>
                    <a:cubicBezTo>
                      <a:pt x="85" y="92"/>
                      <a:pt x="83" y="88"/>
                      <a:pt x="83" y="86"/>
                    </a:cubicBezTo>
                    <a:cubicBezTo>
                      <a:pt x="84" y="83"/>
                      <a:pt x="95" y="78"/>
                      <a:pt x="96" y="76"/>
                    </a:cubicBezTo>
                    <a:cubicBezTo>
                      <a:pt x="97" y="74"/>
                      <a:pt x="98" y="68"/>
                      <a:pt x="99" y="62"/>
                    </a:cubicBezTo>
                    <a:cubicBezTo>
                      <a:pt x="95" y="65"/>
                      <a:pt x="92" y="66"/>
                      <a:pt x="92" y="65"/>
                    </a:cubicBezTo>
                    <a:cubicBezTo>
                      <a:pt x="91" y="62"/>
                      <a:pt x="92" y="55"/>
                      <a:pt x="89" y="52"/>
                    </a:cubicBezTo>
                    <a:cubicBezTo>
                      <a:pt x="86" y="49"/>
                      <a:pt x="88" y="43"/>
                      <a:pt x="85" y="42"/>
                    </a:cubicBezTo>
                    <a:cubicBezTo>
                      <a:pt x="82" y="41"/>
                      <a:pt x="78" y="35"/>
                      <a:pt x="81" y="33"/>
                    </a:cubicBezTo>
                    <a:cubicBezTo>
                      <a:pt x="84" y="31"/>
                      <a:pt x="81" y="27"/>
                      <a:pt x="83" y="25"/>
                    </a:cubicBezTo>
                    <a:cubicBezTo>
                      <a:pt x="86" y="23"/>
                      <a:pt x="82" y="22"/>
                      <a:pt x="79" y="18"/>
                    </a:cubicBezTo>
                    <a:cubicBezTo>
                      <a:pt x="75" y="14"/>
                      <a:pt x="80" y="9"/>
                      <a:pt x="76" y="6"/>
                    </a:cubicBezTo>
                    <a:cubicBezTo>
                      <a:pt x="72" y="3"/>
                      <a:pt x="72" y="0"/>
                      <a:pt x="71" y="1"/>
                    </a:cubicBezTo>
                    <a:cubicBezTo>
                      <a:pt x="70" y="3"/>
                      <a:pt x="70" y="9"/>
                      <a:pt x="66" y="10"/>
                    </a:cubicBezTo>
                    <a:cubicBezTo>
                      <a:pt x="66" y="11"/>
                      <a:pt x="65" y="11"/>
                      <a:pt x="64" y="12"/>
                    </a:cubicBezTo>
                    <a:cubicBezTo>
                      <a:pt x="64" y="15"/>
                      <a:pt x="63" y="19"/>
                      <a:pt x="64" y="22"/>
                    </a:cubicBezTo>
                    <a:cubicBezTo>
                      <a:pt x="65" y="26"/>
                      <a:pt x="66" y="44"/>
                      <a:pt x="65" y="51"/>
                    </a:cubicBezTo>
                    <a:cubicBezTo>
                      <a:pt x="63" y="58"/>
                      <a:pt x="62" y="64"/>
                      <a:pt x="60" y="68"/>
                    </a:cubicBezTo>
                    <a:cubicBezTo>
                      <a:pt x="59" y="72"/>
                      <a:pt x="64" y="73"/>
                      <a:pt x="62" y="75"/>
                    </a:cubicBezTo>
                    <a:cubicBezTo>
                      <a:pt x="60" y="77"/>
                      <a:pt x="60" y="82"/>
                      <a:pt x="60" y="90"/>
                    </a:cubicBezTo>
                    <a:cubicBezTo>
                      <a:pt x="60" y="98"/>
                      <a:pt x="56" y="111"/>
                      <a:pt x="55" y="115"/>
                    </a:cubicBezTo>
                    <a:cubicBezTo>
                      <a:pt x="55" y="120"/>
                      <a:pt x="52" y="122"/>
                      <a:pt x="52" y="127"/>
                    </a:cubicBezTo>
                    <a:cubicBezTo>
                      <a:pt x="53" y="132"/>
                      <a:pt x="50" y="135"/>
                      <a:pt x="47" y="137"/>
                    </a:cubicBezTo>
                    <a:cubicBezTo>
                      <a:pt x="45" y="139"/>
                      <a:pt x="52" y="146"/>
                      <a:pt x="52" y="150"/>
                    </a:cubicBezTo>
                    <a:cubicBezTo>
                      <a:pt x="51" y="154"/>
                      <a:pt x="46" y="156"/>
                      <a:pt x="47" y="163"/>
                    </a:cubicBezTo>
                    <a:cubicBezTo>
                      <a:pt x="49" y="171"/>
                      <a:pt x="47" y="185"/>
                      <a:pt x="47" y="187"/>
                    </a:cubicBezTo>
                    <a:cubicBezTo>
                      <a:pt x="47" y="190"/>
                      <a:pt x="44" y="190"/>
                      <a:pt x="45" y="195"/>
                    </a:cubicBezTo>
                    <a:cubicBezTo>
                      <a:pt x="46" y="200"/>
                      <a:pt x="42" y="202"/>
                      <a:pt x="41" y="209"/>
                    </a:cubicBezTo>
                    <a:cubicBezTo>
                      <a:pt x="40" y="217"/>
                      <a:pt x="34" y="227"/>
                      <a:pt x="32" y="233"/>
                    </a:cubicBezTo>
                    <a:cubicBezTo>
                      <a:pt x="30" y="239"/>
                      <a:pt x="30" y="242"/>
                      <a:pt x="27" y="242"/>
                    </a:cubicBezTo>
                    <a:cubicBezTo>
                      <a:pt x="24" y="242"/>
                      <a:pt x="23" y="245"/>
                      <a:pt x="25" y="250"/>
                    </a:cubicBezTo>
                    <a:cubicBezTo>
                      <a:pt x="28" y="255"/>
                      <a:pt x="24" y="260"/>
                      <a:pt x="27" y="265"/>
                    </a:cubicBezTo>
                    <a:cubicBezTo>
                      <a:pt x="30" y="270"/>
                      <a:pt x="29" y="271"/>
                      <a:pt x="27" y="276"/>
                    </a:cubicBezTo>
                    <a:cubicBezTo>
                      <a:pt x="26" y="281"/>
                      <a:pt x="24" y="281"/>
                      <a:pt x="24" y="286"/>
                    </a:cubicBezTo>
                    <a:cubicBezTo>
                      <a:pt x="24" y="290"/>
                      <a:pt x="20" y="294"/>
                      <a:pt x="22" y="299"/>
                    </a:cubicBezTo>
                    <a:cubicBezTo>
                      <a:pt x="24" y="304"/>
                      <a:pt x="24" y="306"/>
                      <a:pt x="21" y="306"/>
                    </a:cubicBezTo>
                    <a:cubicBezTo>
                      <a:pt x="19" y="306"/>
                      <a:pt x="18" y="310"/>
                      <a:pt x="17" y="318"/>
                    </a:cubicBezTo>
                    <a:cubicBezTo>
                      <a:pt x="16" y="326"/>
                      <a:pt x="16" y="326"/>
                      <a:pt x="22" y="325"/>
                    </a:cubicBezTo>
                    <a:cubicBezTo>
                      <a:pt x="28" y="325"/>
                      <a:pt x="23" y="305"/>
                      <a:pt x="27" y="305"/>
                    </a:cubicBezTo>
                    <a:cubicBezTo>
                      <a:pt x="31" y="305"/>
                      <a:pt x="27" y="302"/>
                      <a:pt x="31" y="301"/>
                    </a:cubicBezTo>
                    <a:cubicBezTo>
                      <a:pt x="35" y="300"/>
                      <a:pt x="32" y="304"/>
                      <a:pt x="34" y="305"/>
                    </a:cubicBezTo>
                    <a:cubicBezTo>
                      <a:pt x="37" y="306"/>
                      <a:pt x="38" y="308"/>
                      <a:pt x="35" y="310"/>
                    </a:cubicBezTo>
                    <a:cubicBezTo>
                      <a:pt x="31" y="312"/>
                      <a:pt x="36" y="317"/>
                      <a:pt x="34" y="320"/>
                    </a:cubicBezTo>
                    <a:cubicBezTo>
                      <a:pt x="32" y="322"/>
                      <a:pt x="30" y="325"/>
                      <a:pt x="31" y="329"/>
                    </a:cubicBezTo>
                    <a:cubicBezTo>
                      <a:pt x="33" y="332"/>
                      <a:pt x="29" y="332"/>
                      <a:pt x="29" y="336"/>
                    </a:cubicBezTo>
                    <a:cubicBezTo>
                      <a:pt x="29" y="340"/>
                      <a:pt x="31" y="340"/>
                      <a:pt x="30" y="341"/>
                    </a:cubicBezTo>
                    <a:cubicBezTo>
                      <a:pt x="28" y="342"/>
                      <a:pt x="32" y="346"/>
                      <a:pt x="29" y="346"/>
                    </a:cubicBezTo>
                    <a:cubicBezTo>
                      <a:pt x="27" y="347"/>
                      <a:pt x="28" y="350"/>
                      <a:pt x="30" y="353"/>
                    </a:cubicBezTo>
                    <a:cubicBezTo>
                      <a:pt x="31" y="356"/>
                      <a:pt x="27" y="354"/>
                      <a:pt x="24" y="356"/>
                    </a:cubicBezTo>
                    <a:cubicBezTo>
                      <a:pt x="22" y="358"/>
                      <a:pt x="27" y="361"/>
                      <a:pt x="25" y="364"/>
                    </a:cubicBezTo>
                    <a:cubicBezTo>
                      <a:pt x="24" y="366"/>
                      <a:pt x="20" y="362"/>
                      <a:pt x="18" y="361"/>
                    </a:cubicBezTo>
                    <a:cubicBezTo>
                      <a:pt x="16" y="359"/>
                      <a:pt x="21" y="356"/>
                      <a:pt x="23" y="353"/>
                    </a:cubicBezTo>
                    <a:cubicBezTo>
                      <a:pt x="25" y="350"/>
                      <a:pt x="21" y="343"/>
                      <a:pt x="17" y="345"/>
                    </a:cubicBezTo>
                    <a:cubicBezTo>
                      <a:pt x="13" y="346"/>
                      <a:pt x="21" y="351"/>
                      <a:pt x="21" y="354"/>
                    </a:cubicBezTo>
                    <a:cubicBezTo>
                      <a:pt x="21" y="357"/>
                      <a:pt x="14" y="353"/>
                      <a:pt x="15" y="357"/>
                    </a:cubicBezTo>
                    <a:cubicBezTo>
                      <a:pt x="15" y="360"/>
                      <a:pt x="10" y="359"/>
                      <a:pt x="8" y="361"/>
                    </a:cubicBezTo>
                    <a:cubicBezTo>
                      <a:pt x="6" y="364"/>
                      <a:pt x="11" y="366"/>
                      <a:pt x="9" y="367"/>
                    </a:cubicBezTo>
                    <a:cubicBezTo>
                      <a:pt x="6" y="368"/>
                      <a:pt x="2" y="371"/>
                      <a:pt x="2" y="374"/>
                    </a:cubicBezTo>
                    <a:cubicBezTo>
                      <a:pt x="1" y="376"/>
                      <a:pt x="4" y="377"/>
                      <a:pt x="4" y="374"/>
                    </a:cubicBezTo>
                    <a:cubicBezTo>
                      <a:pt x="4" y="372"/>
                      <a:pt x="8" y="371"/>
                      <a:pt x="10" y="374"/>
                    </a:cubicBezTo>
                    <a:cubicBezTo>
                      <a:pt x="11" y="377"/>
                      <a:pt x="13" y="374"/>
                      <a:pt x="16" y="375"/>
                    </a:cubicBezTo>
                    <a:cubicBezTo>
                      <a:pt x="20" y="376"/>
                      <a:pt x="19" y="381"/>
                      <a:pt x="17" y="381"/>
                    </a:cubicBezTo>
                    <a:cubicBezTo>
                      <a:pt x="15" y="380"/>
                      <a:pt x="13" y="384"/>
                      <a:pt x="14" y="388"/>
                    </a:cubicBezTo>
                    <a:cubicBezTo>
                      <a:pt x="14" y="391"/>
                      <a:pt x="21" y="388"/>
                      <a:pt x="24" y="389"/>
                    </a:cubicBezTo>
                    <a:cubicBezTo>
                      <a:pt x="27" y="390"/>
                      <a:pt x="26" y="395"/>
                      <a:pt x="24" y="393"/>
                    </a:cubicBezTo>
                    <a:cubicBezTo>
                      <a:pt x="23" y="391"/>
                      <a:pt x="19" y="388"/>
                      <a:pt x="17" y="391"/>
                    </a:cubicBezTo>
                    <a:cubicBezTo>
                      <a:pt x="15" y="394"/>
                      <a:pt x="12" y="393"/>
                      <a:pt x="10" y="392"/>
                    </a:cubicBezTo>
                    <a:cubicBezTo>
                      <a:pt x="8" y="391"/>
                      <a:pt x="0" y="396"/>
                      <a:pt x="3" y="398"/>
                    </a:cubicBezTo>
                    <a:cubicBezTo>
                      <a:pt x="5" y="400"/>
                      <a:pt x="5" y="403"/>
                      <a:pt x="7" y="403"/>
                    </a:cubicBezTo>
                    <a:cubicBezTo>
                      <a:pt x="9" y="403"/>
                      <a:pt x="11" y="402"/>
                      <a:pt x="12" y="400"/>
                    </a:cubicBezTo>
                    <a:cubicBezTo>
                      <a:pt x="13" y="398"/>
                      <a:pt x="17" y="396"/>
                      <a:pt x="17" y="400"/>
                    </a:cubicBezTo>
                    <a:cubicBezTo>
                      <a:pt x="17" y="405"/>
                      <a:pt x="12" y="402"/>
                      <a:pt x="11" y="405"/>
                    </a:cubicBezTo>
                    <a:cubicBezTo>
                      <a:pt x="10" y="407"/>
                      <a:pt x="8" y="409"/>
                      <a:pt x="5" y="412"/>
                    </a:cubicBezTo>
                    <a:cubicBezTo>
                      <a:pt x="2" y="414"/>
                      <a:pt x="5" y="418"/>
                      <a:pt x="8" y="416"/>
                    </a:cubicBezTo>
                    <a:cubicBezTo>
                      <a:pt x="10" y="415"/>
                      <a:pt x="7" y="419"/>
                      <a:pt x="11" y="420"/>
                    </a:cubicBezTo>
                    <a:cubicBezTo>
                      <a:pt x="14" y="420"/>
                      <a:pt x="15" y="418"/>
                      <a:pt x="14" y="415"/>
                    </a:cubicBezTo>
                    <a:cubicBezTo>
                      <a:pt x="13" y="413"/>
                      <a:pt x="16" y="407"/>
                      <a:pt x="19" y="410"/>
                    </a:cubicBezTo>
                    <a:cubicBezTo>
                      <a:pt x="22" y="413"/>
                      <a:pt x="17" y="416"/>
                      <a:pt x="17" y="418"/>
                    </a:cubicBezTo>
                    <a:cubicBezTo>
                      <a:pt x="17" y="421"/>
                      <a:pt x="16" y="424"/>
                      <a:pt x="16" y="427"/>
                    </a:cubicBezTo>
                    <a:cubicBezTo>
                      <a:pt x="16" y="429"/>
                      <a:pt x="12" y="428"/>
                      <a:pt x="13" y="431"/>
                    </a:cubicBezTo>
                    <a:cubicBezTo>
                      <a:pt x="13" y="434"/>
                      <a:pt x="6" y="432"/>
                      <a:pt x="9" y="434"/>
                    </a:cubicBezTo>
                    <a:cubicBezTo>
                      <a:pt x="12" y="436"/>
                      <a:pt x="7" y="439"/>
                      <a:pt x="9" y="441"/>
                    </a:cubicBezTo>
                    <a:cubicBezTo>
                      <a:pt x="10" y="443"/>
                      <a:pt x="12" y="438"/>
                      <a:pt x="15" y="439"/>
                    </a:cubicBezTo>
                    <a:cubicBezTo>
                      <a:pt x="17" y="440"/>
                      <a:pt x="17" y="441"/>
                      <a:pt x="20" y="439"/>
                    </a:cubicBezTo>
                    <a:cubicBezTo>
                      <a:pt x="24" y="438"/>
                      <a:pt x="26" y="442"/>
                      <a:pt x="23" y="443"/>
                    </a:cubicBezTo>
                    <a:cubicBezTo>
                      <a:pt x="19" y="444"/>
                      <a:pt x="16" y="448"/>
                      <a:pt x="17" y="448"/>
                    </a:cubicBezTo>
                    <a:cubicBezTo>
                      <a:pt x="19" y="449"/>
                      <a:pt x="23" y="446"/>
                      <a:pt x="24" y="449"/>
                    </a:cubicBezTo>
                    <a:cubicBezTo>
                      <a:pt x="25" y="452"/>
                      <a:pt x="28" y="451"/>
                      <a:pt x="28" y="448"/>
                    </a:cubicBezTo>
                    <a:cubicBezTo>
                      <a:pt x="28" y="444"/>
                      <a:pt x="34" y="447"/>
                      <a:pt x="35" y="450"/>
                    </a:cubicBezTo>
                    <a:cubicBezTo>
                      <a:pt x="36" y="453"/>
                      <a:pt x="29" y="455"/>
                      <a:pt x="25" y="454"/>
                    </a:cubicBezTo>
                    <a:cubicBezTo>
                      <a:pt x="21" y="453"/>
                      <a:pt x="19" y="458"/>
                      <a:pt x="22" y="461"/>
                    </a:cubicBezTo>
                    <a:cubicBezTo>
                      <a:pt x="24" y="464"/>
                      <a:pt x="27" y="461"/>
                      <a:pt x="30" y="458"/>
                    </a:cubicBezTo>
                    <a:cubicBezTo>
                      <a:pt x="33" y="455"/>
                      <a:pt x="46" y="456"/>
                      <a:pt x="47" y="459"/>
                    </a:cubicBezTo>
                    <a:cubicBezTo>
                      <a:pt x="48" y="462"/>
                      <a:pt x="41" y="460"/>
                      <a:pt x="40" y="461"/>
                    </a:cubicBezTo>
                    <a:cubicBezTo>
                      <a:pt x="40" y="463"/>
                      <a:pt x="34" y="465"/>
                      <a:pt x="33" y="463"/>
                    </a:cubicBezTo>
                    <a:cubicBezTo>
                      <a:pt x="33" y="461"/>
                      <a:pt x="27" y="463"/>
                      <a:pt x="27" y="467"/>
                    </a:cubicBezTo>
                    <a:cubicBezTo>
                      <a:pt x="27" y="470"/>
                      <a:pt x="23" y="470"/>
                      <a:pt x="27" y="471"/>
                    </a:cubicBezTo>
                    <a:cubicBezTo>
                      <a:pt x="32" y="472"/>
                      <a:pt x="31" y="466"/>
                      <a:pt x="38" y="467"/>
                    </a:cubicBezTo>
                    <a:cubicBezTo>
                      <a:pt x="45" y="467"/>
                      <a:pt x="48" y="460"/>
                      <a:pt x="50" y="464"/>
                    </a:cubicBezTo>
                    <a:cubicBezTo>
                      <a:pt x="52" y="468"/>
                      <a:pt x="45" y="472"/>
                      <a:pt x="42" y="469"/>
                    </a:cubicBezTo>
                    <a:cubicBezTo>
                      <a:pt x="39" y="467"/>
                      <a:pt x="36" y="471"/>
                      <a:pt x="36" y="475"/>
                    </a:cubicBezTo>
                    <a:cubicBezTo>
                      <a:pt x="36" y="478"/>
                      <a:pt x="28" y="474"/>
                      <a:pt x="24" y="473"/>
                    </a:cubicBezTo>
                    <a:cubicBezTo>
                      <a:pt x="20" y="473"/>
                      <a:pt x="22" y="477"/>
                      <a:pt x="25" y="481"/>
                    </a:cubicBezTo>
                    <a:cubicBezTo>
                      <a:pt x="29" y="484"/>
                      <a:pt x="31" y="480"/>
                      <a:pt x="35" y="483"/>
                    </a:cubicBezTo>
                    <a:cubicBezTo>
                      <a:pt x="39" y="486"/>
                      <a:pt x="39" y="489"/>
                      <a:pt x="42" y="486"/>
                    </a:cubicBezTo>
                    <a:cubicBezTo>
                      <a:pt x="45" y="483"/>
                      <a:pt x="42" y="483"/>
                      <a:pt x="40" y="482"/>
                    </a:cubicBezTo>
                    <a:cubicBezTo>
                      <a:pt x="38" y="481"/>
                      <a:pt x="40" y="477"/>
                      <a:pt x="45" y="479"/>
                    </a:cubicBezTo>
                    <a:cubicBezTo>
                      <a:pt x="50" y="481"/>
                      <a:pt x="55" y="477"/>
                      <a:pt x="54" y="471"/>
                    </a:cubicBezTo>
                    <a:cubicBezTo>
                      <a:pt x="52" y="465"/>
                      <a:pt x="58" y="462"/>
                      <a:pt x="64" y="460"/>
                    </a:cubicBezTo>
                    <a:cubicBezTo>
                      <a:pt x="69" y="458"/>
                      <a:pt x="66" y="464"/>
                      <a:pt x="62" y="466"/>
                    </a:cubicBezTo>
                    <a:cubicBezTo>
                      <a:pt x="58" y="467"/>
                      <a:pt x="57" y="469"/>
                      <a:pt x="60" y="472"/>
                    </a:cubicBezTo>
                    <a:cubicBezTo>
                      <a:pt x="64" y="476"/>
                      <a:pt x="68" y="470"/>
                      <a:pt x="71" y="473"/>
                    </a:cubicBezTo>
                    <a:cubicBezTo>
                      <a:pt x="73" y="475"/>
                      <a:pt x="66" y="475"/>
                      <a:pt x="64" y="478"/>
                    </a:cubicBezTo>
                    <a:cubicBezTo>
                      <a:pt x="63" y="480"/>
                      <a:pt x="69" y="484"/>
                      <a:pt x="65" y="486"/>
                    </a:cubicBezTo>
                    <a:cubicBezTo>
                      <a:pt x="61" y="488"/>
                      <a:pt x="63" y="477"/>
                      <a:pt x="60" y="476"/>
                    </a:cubicBezTo>
                    <a:cubicBezTo>
                      <a:pt x="58" y="475"/>
                      <a:pt x="55" y="478"/>
                      <a:pt x="58" y="483"/>
                    </a:cubicBezTo>
                    <a:cubicBezTo>
                      <a:pt x="60" y="489"/>
                      <a:pt x="55" y="484"/>
                      <a:pt x="52" y="481"/>
                    </a:cubicBezTo>
                    <a:cubicBezTo>
                      <a:pt x="50" y="479"/>
                      <a:pt x="46" y="483"/>
                      <a:pt x="49" y="486"/>
                    </a:cubicBezTo>
                    <a:cubicBezTo>
                      <a:pt x="52" y="489"/>
                      <a:pt x="44" y="485"/>
                      <a:pt x="44" y="490"/>
                    </a:cubicBezTo>
                    <a:cubicBezTo>
                      <a:pt x="44" y="495"/>
                      <a:pt x="47" y="491"/>
                      <a:pt x="52" y="492"/>
                    </a:cubicBezTo>
                    <a:cubicBezTo>
                      <a:pt x="56" y="493"/>
                      <a:pt x="54" y="499"/>
                      <a:pt x="58" y="502"/>
                    </a:cubicBezTo>
                    <a:cubicBezTo>
                      <a:pt x="61" y="504"/>
                      <a:pt x="58" y="494"/>
                      <a:pt x="62" y="493"/>
                    </a:cubicBezTo>
                    <a:cubicBezTo>
                      <a:pt x="65" y="492"/>
                      <a:pt x="62" y="501"/>
                      <a:pt x="70" y="504"/>
                    </a:cubicBezTo>
                    <a:cubicBezTo>
                      <a:pt x="77" y="506"/>
                      <a:pt x="70" y="502"/>
                      <a:pt x="74" y="500"/>
                    </a:cubicBezTo>
                    <a:cubicBezTo>
                      <a:pt x="77" y="497"/>
                      <a:pt x="82" y="507"/>
                      <a:pt x="85" y="508"/>
                    </a:cubicBezTo>
                    <a:cubicBezTo>
                      <a:pt x="89" y="509"/>
                      <a:pt x="87" y="504"/>
                      <a:pt x="84" y="501"/>
                    </a:cubicBezTo>
                    <a:cubicBezTo>
                      <a:pt x="81" y="498"/>
                      <a:pt x="87" y="499"/>
                      <a:pt x="90" y="501"/>
                    </a:cubicBezTo>
                    <a:cubicBezTo>
                      <a:pt x="94" y="502"/>
                      <a:pt x="97" y="502"/>
                      <a:pt x="98" y="500"/>
                    </a:cubicBezTo>
                    <a:cubicBezTo>
                      <a:pt x="98" y="499"/>
                      <a:pt x="99" y="499"/>
                      <a:pt x="100" y="499"/>
                    </a:cubicBezTo>
                    <a:cubicBezTo>
                      <a:pt x="96" y="496"/>
                      <a:pt x="83" y="498"/>
                      <a:pt x="81" y="498"/>
                    </a:cubicBezTo>
                    <a:cubicBezTo>
                      <a:pt x="79" y="498"/>
                      <a:pt x="80" y="468"/>
                      <a:pt x="81" y="461"/>
                    </a:cubicBezTo>
                    <a:cubicBezTo>
                      <a:pt x="80" y="461"/>
                      <a:pt x="80" y="461"/>
                      <a:pt x="80" y="461"/>
                    </a:cubicBezTo>
                    <a:cubicBezTo>
                      <a:pt x="77" y="461"/>
                      <a:pt x="69" y="461"/>
                      <a:pt x="71" y="456"/>
                    </a:cubicBezTo>
                    <a:cubicBezTo>
                      <a:pt x="71" y="456"/>
                      <a:pt x="71" y="455"/>
                      <a:pt x="72" y="455"/>
                    </a:cubicBezTo>
                    <a:cubicBezTo>
                      <a:pt x="70" y="453"/>
                      <a:pt x="68" y="452"/>
                      <a:pt x="66" y="451"/>
                    </a:cubicBezTo>
                    <a:cubicBezTo>
                      <a:pt x="61" y="450"/>
                      <a:pt x="49" y="451"/>
                      <a:pt x="46" y="45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4" name="Freeform 112">
                <a:extLst>
                  <a:ext uri="{FF2B5EF4-FFF2-40B4-BE49-F238E27FC236}">
                    <a16:creationId xmlns:a16="http://schemas.microsoft.com/office/drawing/2014/main" id="{419F7EBD-004D-4215-8988-508E9447B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4313" y="4605338"/>
                <a:ext cx="220662" cy="222250"/>
              </a:xfrm>
              <a:custGeom>
                <a:avLst/>
                <a:gdLst>
                  <a:gd name="T0" fmla="*/ 96 w 100"/>
                  <a:gd name="T1" fmla="*/ 54 h 101"/>
                  <a:gd name="T2" fmla="*/ 86 w 100"/>
                  <a:gd name="T3" fmla="*/ 56 h 101"/>
                  <a:gd name="T4" fmla="*/ 81 w 100"/>
                  <a:gd name="T5" fmla="*/ 44 h 101"/>
                  <a:gd name="T6" fmla="*/ 73 w 100"/>
                  <a:gd name="T7" fmla="*/ 34 h 101"/>
                  <a:gd name="T8" fmla="*/ 63 w 100"/>
                  <a:gd name="T9" fmla="*/ 33 h 101"/>
                  <a:gd name="T10" fmla="*/ 57 w 100"/>
                  <a:gd name="T11" fmla="*/ 24 h 101"/>
                  <a:gd name="T12" fmla="*/ 55 w 100"/>
                  <a:gd name="T13" fmla="*/ 10 h 101"/>
                  <a:gd name="T14" fmla="*/ 55 w 100"/>
                  <a:gd name="T15" fmla="*/ 4 h 101"/>
                  <a:gd name="T16" fmla="*/ 53 w 100"/>
                  <a:gd name="T17" fmla="*/ 5 h 101"/>
                  <a:gd name="T18" fmla="*/ 42 w 100"/>
                  <a:gd name="T19" fmla="*/ 0 h 101"/>
                  <a:gd name="T20" fmla="*/ 29 w 100"/>
                  <a:gd name="T21" fmla="*/ 2 h 101"/>
                  <a:gd name="T22" fmla="*/ 16 w 100"/>
                  <a:gd name="T23" fmla="*/ 4 h 101"/>
                  <a:gd name="T24" fmla="*/ 7 w 100"/>
                  <a:gd name="T25" fmla="*/ 15 h 101"/>
                  <a:gd name="T26" fmla="*/ 4 w 100"/>
                  <a:gd name="T27" fmla="*/ 32 h 101"/>
                  <a:gd name="T28" fmla="*/ 0 w 100"/>
                  <a:gd name="T29" fmla="*/ 32 h 101"/>
                  <a:gd name="T30" fmla="*/ 15 w 100"/>
                  <a:gd name="T31" fmla="*/ 48 h 101"/>
                  <a:gd name="T32" fmla="*/ 28 w 100"/>
                  <a:gd name="T33" fmla="*/ 56 h 101"/>
                  <a:gd name="T34" fmla="*/ 40 w 100"/>
                  <a:gd name="T35" fmla="*/ 62 h 101"/>
                  <a:gd name="T36" fmla="*/ 61 w 100"/>
                  <a:gd name="T37" fmla="*/ 73 h 101"/>
                  <a:gd name="T38" fmla="*/ 53 w 100"/>
                  <a:gd name="T39" fmla="*/ 88 h 101"/>
                  <a:gd name="T40" fmla="*/ 49 w 100"/>
                  <a:gd name="T41" fmla="*/ 95 h 101"/>
                  <a:gd name="T42" fmla="*/ 59 w 100"/>
                  <a:gd name="T43" fmla="*/ 98 h 101"/>
                  <a:gd name="T44" fmla="*/ 70 w 100"/>
                  <a:gd name="T45" fmla="*/ 99 h 101"/>
                  <a:gd name="T46" fmla="*/ 80 w 100"/>
                  <a:gd name="T47" fmla="*/ 97 h 101"/>
                  <a:gd name="T48" fmla="*/ 89 w 100"/>
                  <a:gd name="T49" fmla="*/ 92 h 101"/>
                  <a:gd name="T50" fmla="*/ 94 w 100"/>
                  <a:gd name="T51" fmla="*/ 76 h 101"/>
                  <a:gd name="T52" fmla="*/ 96 w 100"/>
                  <a:gd name="T53" fmla="*/ 5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101">
                    <a:moveTo>
                      <a:pt x="96" y="54"/>
                    </a:moveTo>
                    <a:cubicBezTo>
                      <a:pt x="91" y="52"/>
                      <a:pt x="87" y="56"/>
                      <a:pt x="86" y="56"/>
                    </a:cubicBezTo>
                    <a:cubicBezTo>
                      <a:pt x="85" y="56"/>
                      <a:pt x="82" y="47"/>
                      <a:pt x="81" y="44"/>
                    </a:cubicBezTo>
                    <a:cubicBezTo>
                      <a:pt x="80" y="40"/>
                      <a:pt x="76" y="33"/>
                      <a:pt x="73" y="34"/>
                    </a:cubicBezTo>
                    <a:cubicBezTo>
                      <a:pt x="70" y="36"/>
                      <a:pt x="71" y="34"/>
                      <a:pt x="63" y="33"/>
                    </a:cubicBezTo>
                    <a:cubicBezTo>
                      <a:pt x="55" y="33"/>
                      <a:pt x="56" y="32"/>
                      <a:pt x="57" y="24"/>
                    </a:cubicBezTo>
                    <a:cubicBezTo>
                      <a:pt x="59" y="17"/>
                      <a:pt x="52" y="12"/>
                      <a:pt x="55" y="10"/>
                    </a:cubicBezTo>
                    <a:cubicBezTo>
                      <a:pt x="58" y="9"/>
                      <a:pt x="57" y="8"/>
                      <a:pt x="55" y="4"/>
                    </a:cubicBezTo>
                    <a:cubicBezTo>
                      <a:pt x="54" y="5"/>
                      <a:pt x="53" y="5"/>
                      <a:pt x="53" y="5"/>
                    </a:cubicBezTo>
                    <a:cubicBezTo>
                      <a:pt x="50" y="5"/>
                      <a:pt x="47" y="0"/>
                      <a:pt x="42" y="0"/>
                    </a:cubicBezTo>
                    <a:cubicBezTo>
                      <a:pt x="38" y="0"/>
                      <a:pt x="33" y="0"/>
                      <a:pt x="29" y="2"/>
                    </a:cubicBezTo>
                    <a:cubicBezTo>
                      <a:pt x="26" y="3"/>
                      <a:pt x="20" y="1"/>
                      <a:pt x="16" y="4"/>
                    </a:cubicBezTo>
                    <a:cubicBezTo>
                      <a:pt x="12" y="7"/>
                      <a:pt x="7" y="12"/>
                      <a:pt x="7" y="15"/>
                    </a:cubicBezTo>
                    <a:cubicBezTo>
                      <a:pt x="7" y="17"/>
                      <a:pt x="6" y="31"/>
                      <a:pt x="4" y="32"/>
                    </a:cubicBezTo>
                    <a:cubicBezTo>
                      <a:pt x="3" y="32"/>
                      <a:pt x="1" y="32"/>
                      <a:pt x="0" y="32"/>
                    </a:cubicBezTo>
                    <a:cubicBezTo>
                      <a:pt x="2" y="36"/>
                      <a:pt x="10" y="45"/>
                      <a:pt x="15" y="48"/>
                    </a:cubicBezTo>
                    <a:cubicBezTo>
                      <a:pt x="21" y="52"/>
                      <a:pt x="21" y="55"/>
                      <a:pt x="28" y="56"/>
                    </a:cubicBezTo>
                    <a:cubicBezTo>
                      <a:pt x="35" y="56"/>
                      <a:pt x="38" y="59"/>
                      <a:pt x="40" y="62"/>
                    </a:cubicBezTo>
                    <a:cubicBezTo>
                      <a:pt x="43" y="65"/>
                      <a:pt x="60" y="70"/>
                      <a:pt x="61" y="73"/>
                    </a:cubicBezTo>
                    <a:cubicBezTo>
                      <a:pt x="63" y="75"/>
                      <a:pt x="53" y="82"/>
                      <a:pt x="53" y="88"/>
                    </a:cubicBezTo>
                    <a:cubicBezTo>
                      <a:pt x="53" y="94"/>
                      <a:pt x="49" y="93"/>
                      <a:pt x="49" y="95"/>
                    </a:cubicBezTo>
                    <a:cubicBezTo>
                      <a:pt x="49" y="97"/>
                      <a:pt x="57" y="96"/>
                      <a:pt x="59" y="98"/>
                    </a:cubicBezTo>
                    <a:cubicBezTo>
                      <a:pt x="62" y="99"/>
                      <a:pt x="67" y="97"/>
                      <a:pt x="70" y="99"/>
                    </a:cubicBezTo>
                    <a:cubicBezTo>
                      <a:pt x="74" y="101"/>
                      <a:pt x="77" y="96"/>
                      <a:pt x="80" y="97"/>
                    </a:cubicBezTo>
                    <a:cubicBezTo>
                      <a:pt x="83" y="97"/>
                      <a:pt x="85" y="92"/>
                      <a:pt x="89" y="92"/>
                    </a:cubicBezTo>
                    <a:cubicBezTo>
                      <a:pt x="92" y="93"/>
                      <a:pt x="95" y="80"/>
                      <a:pt x="94" y="76"/>
                    </a:cubicBezTo>
                    <a:cubicBezTo>
                      <a:pt x="94" y="71"/>
                      <a:pt x="100" y="56"/>
                      <a:pt x="96" y="5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5" name="Freeform 113">
                <a:extLst>
                  <a:ext uri="{FF2B5EF4-FFF2-40B4-BE49-F238E27FC236}">
                    <a16:creationId xmlns:a16="http://schemas.microsoft.com/office/drawing/2014/main" id="{F0F08A0C-F26A-4435-B281-1D1CBC2CC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9638" y="3840163"/>
                <a:ext cx="80962" cy="66675"/>
              </a:xfrm>
              <a:custGeom>
                <a:avLst/>
                <a:gdLst>
                  <a:gd name="T0" fmla="*/ 35 w 37"/>
                  <a:gd name="T1" fmla="*/ 24 h 31"/>
                  <a:gd name="T2" fmla="*/ 37 w 37"/>
                  <a:gd name="T3" fmla="*/ 17 h 31"/>
                  <a:gd name="T4" fmla="*/ 26 w 37"/>
                  <a:gd name="T5" fmla="*/ 3 h 31"/>
                  <a:gd name="T6" fmla="*/ 20 w 37"/>
                  <a:gd name="T7" fmla="*/ 3 h 31"/>
                  <a:gd name="T8" fmla="*/ 9 w 37"/>
                  <a:gd name="T9" fmla="*/ 1 h 31"/>
                  <a:gd name="T10" fmla="*/ 3 w 37"/>
                  <a:gd name="T11" fmla="*/ 0 h 31"/>
                  <a:gd name="T12" fmla="*/ 2 w 37"/>
                  <a:gd name="T13" fmla="*/ 5 h 31"/>
                  <a:gd name="T14" fmla="*/ 5 w 37"/>
                  <a:gd name="T15" fmla="*/ 15 h 31"/>
                  <a:gd name="T16" fmla="*/ 12 w 37"/>
                  <a:gd name="T17" fmla="*/ 13 h 31"/>
                  <a:gd name="T18" fmla="*/ 17 w 37"/>
                  <a:gd name="T19" fmla="*/ 18 h 31"/>
                  <a:gd name="T20" fmla="*/ 25 w 37"/>
                  <a:gd name="T21" fmla="*/ 25 h 31"/>
                  <a:gd name="T22" fmla="*/ 31 w 37"/>
                  <a:gd name="T23" fmla="*/ 30 h 31"/>
                  <a:gd name="T24" fmla="*/ 34 w 37"/>
                  <a:gd name="T25" fmla="*/ 31 h 31"/>
                  <a:gd name="T26" fmla="*/ 35 w 37"/>
                  <a:gd name="T27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1">
                    <a:moveTo>
                      <a:pt x="35" y="24"/>
                    </a:moveTo>
                    <a:cubicBezTo>
                      <a:pt x="35" y="23"/>
                      <a:pt x="35" y="20"/>
                      <a:pt x="37" y="17"/>
                    </a:cubicBezTo>
                    <a:cubicBezTo>
                      <a:pt x="33" y="13"/>
                      <a:pt x="28" y="7"/>
                      <a:pt x="26" y="3"/>
                    </a:cubicBezTo>
                    <a:cubicBezTo>
                      <a:pt x="24" y="4"/>
                      <a:pt x="22" y="4"/>
                      <a:pt x="20" y="3"/>
                    </a:cubicBezTo>
                    <a:cubicBezTo>
                      <a:pt x="18" y="1"/>
                      <a:pt x="12" y="2"/>
                      <a:pt x="9" y="1"/>
                    </a:cubicBezTo>
                    <a:cubicBezTo>
                      <a:pt x="8" y="0"/>
                      <a:pt x="5" y="0"/>
                      <a:pt x="3" y="0"/>
                    </a:cubicBezTo>
                    <a:cubicBezTo>
                      <a:pt x="4" y="2"/>
                      <a:pt x="3" y="4"/>
                      <a:pt x="2" y="5"/>
                    </a:cubicBezTo>
                    <a:cubicBezTo>
                      <a:pt x="0" y="6"/>
                      <a:pt x="0" y="12"/>
                      <a:pt x="5" y="15"/>
                    </a:cubicBezTo>
                    <a:cubicBezTo>
                      <a:pt x="11" y="17"/>
                      <a:pt x="9" y="13"/>
                      <a:pt x="12" y="13"/>
                    </a:cubicBezTo>
                    <a:cubicBezTo>
                      <a:pt x="14" y="13"/>
                      <a:pt x="14" y="18"/>
                      <a:pt x="17" y="18"/>
                    </a:cubicBezTo>
                    <a:cubicBezTo>
                      <a:pt x="19" y="18"/>
                      <a:pt x="25" y="21"/>
                      <a:pt x="25" y="25"/>
                    </a:cubicBezTo>
                    <a:cubicBezTo>
                      <a:pt x="24" y="29"/>
                      <a:pt x="27" y="30"/>
                      <a:pt x="31" y="30"/>
                    </a:cubicBezTo>
                    <a:cubicBezTo>
                      <a:pt x="32" y="30"/>
                      <a:pt x="33" y="30"/>
                      <a:pt x="34" y="31"/>
                    </a:cubicBezTo>
                    <a:cubicBezTo>
                      <a:pt x="35" y="28"/>
                      <a:pt x="36" y="26"/>
                      <a:pt x="35" y="2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6" name="Freeform 114">
                <a:extLst>
                  <a:ext uri="{FF2B5EF4-FFF2-40B4-BE49-F238E27FC236}">
                    <a16:creationId xmlns:a16="http://schemas.microsoft.com/office/drawing/2014/main" id="{085E8E9F-7DCD-4692-908F-00625DFA0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250" y="3871913"/>
                <a:ext cx="144462" cy="71438"/>
              </a:xfrm>
              <a:custGeom>
                <a:avLst/>
                <a:gdLst>
                  <a:gd name="T0" fmla="*/ 59 w 66"/>
                  <a:gd name="T1" fmla="*/ 9 h 32"/>
                  <a:gd name="T2" fmla="*/ 43 w 66"/>
                  <a:gd name="T3" fmla="*/ 2 h 32"/>
                  <a:gd name="T4" fmla="*/ 27 w 66"/>
                  <a:gd name="T5" fmla="*/ 8 h 32"/>
                  <a:gd name="T6" fmla="*/ 9 w 66"/>
                  <a:gd name="T7" fmla="*/ 7 h 32"/>
                  <a:gd name="T8" fmla="*/ 3 w 66"/>
                  <a:gd name="T9" fmla="*/ 2 h 32"/>
                  <a:gd name="T10" fmla="*/ 1 w 66"/>
                  <a:gd name="T11" fmla="*/ 9 h 32"/>
                  <a:gd name="T12" fmla="*/ 0 w 66"/>
                  <a:gd name="T13" fmla="*/ 16 h 32"/>
                  <a:gd name="T14" fmla="*/ 14 w 66"/>
                  <a:gd name="T15" fmla="*/ 22 h 32"/>
                  <a:gd name="T16" fmla="*/ 23 w 66"/>
                  <a:gd name="T17" fmla="*/ 28 h 32"/>
                  <a:gd name="T18" fmla="*/ 31 w 66"/>
                  <a:gd name="T19" fmla="*/ 25 h 32"/>
                  <a:gd name="T20" fmla="*/ 28 w 66"/>
                  <a:gd name="T21" fmla="*/ 19 h 32"/>
                  <a:gd name="T22" fmla="*/ 34 w 66"/>
                  <a:gd name="T23" fmla="*/ 14 h 32"/>
                  <a:gd name="T24" fmla="*/ 47 w 66"/>
                  <a:gd name="T25" fmla="*/ 10 h 32"/>
                  <a:gd name="T26" fmla="*/ 50 w 66"/>
                  <a:gd name="T27" fmla="*/ 17 h 32"/>
                  <a:gd name="T28" fmla="*/ 56 w 66"/>
                  <a:gd name="T29" fmla="*/ 29 h 32"/>
                  <a:gd name="T30" fmla="*/ 64 w 66"/>
                  <a:gd name="T31" fmla="*/ 22 h 32"/>
                  <a:gd name="T32" fmla="*/ 66 w 66"/>
                  <a:gd name="T33" fmla="*/ 18 h 32"/>
                  <a:gd name="T34" fmla="*/ 59 w 66"/>
                  <a:gd name="T35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32">
                    <a:moveTo>
                      <a:pt x="59" y="9"/>
                    </a:moveTo>
                    <a:cubicBezTo>
                      <a:pt x="55" y="3"/>
                      <a:pt x="47" y="4"/>
                      <a:pt x="43" y="2"/>
                    </a:cubicBezTo>
                    <a:cubicBezTo>
                      <a:pt x="38" y="0"/>
                      <a:pt x="33" y="3"/>
                      <a:pt x="27" y="8"/>
                    </a:cubicBezTo>
                    <a:cubicBezTo>
                      <a:pt x="21" y="13"/>
                      <a:pt x="14" y="10"/>
                      <a:pt x="9" y="7"/>
                    </a:cubicBezTo>
                    <a:cubicBezTo>
                      <a:pt x="7" y="7"/>
                      <a:pt x="5" y="5"/>
                      <a:pt x="3" y="2"/>
                    </a:cubicBezTo>
                    <a:cubicBezTo>
                      <a:pt x="1" y="5"/>
                      <a:pt x="1" y="8"/>
                      <a:pt x="1" y="9"/>
                    </a:cubicBezTo>
                    <a:cubicBezTo>
                      <a:pt x="2" y="11"/>
                      <a:pt x="1" y="13"/>
                      <a:pt x="0" y="16"/>
                    </a:cubicBezTo>
                    <a:cubicBezTo>
                      <a:pt x="5" y="16"/>
                      <a:pt x="11" y="18"/>
                      <a:pt x="14" y="22"/>
                    </a:cubicBezTo>
                    <a:cubicBezTo>
                      <a:pt x="18" y="27"/>
                      <a:pt x="20" y="24"/>
                      <a:pt x="23" y="28"/>
                    </a:cubicBezTo>
                    <a:cubicBezTo>
                      <a:pt x="25" y="32"/>
                      <a:pt x="30" y="28"/>
                      <a:pt x="31" y="25"/>
                    </a:cubicBezTo>
                    <a:cubicBezTo>
                      <a:pt x="33" y="23"/>
                      <a:pt x="29" y="22"/>
                      <a:pt x="28" y="19"/>
                    </a:cubicBezTo>
                    <a:cubicBezTo>
                      <a:pt x="28" y="16"/>
                      <a:pt x="33" y="17"/>
                      <a:pt x="34" y="14"/>
                    </a:cubicBezTo>
                    <a:cubicBezTo>
                      <a:pt x="35" y="10"/>
                      <a:pt x="43" y="8"/>
                      <a:pt x="47" y="10"/>
                    </a:cubicBezTo>
                    <a:cubicBezTo>
                      <a:pt x="50" y="11"/>
                      <a:pt x="53" y="14"/>
                      <a:pt x="50" y="17"/>
                    </a:cubicBezTo>
                    <a:cubicBezTo>
                      <a:pt x="47" y="20"/>
                      <a:pt x="52" y="25"/>
                      <a:pt x="56" y="29"/>
                    </a:cubicBezTo>
                    <a:cubicBezTo>
                      <a:pt x="59" y="26"/>
                      <a:pt x="63" y="23"/>
                      <a:pt x="64" y="22"/>
                    </a:cubicBezTo>
                    <a:cubicBezTo>
                      <a:pt x="65" y="21"/>
                      <a:pt x="65" y="20"/>
                      <a:pt x="66" y="18"/>
                    </a:cubicBezTo>
                    <a:cubicBezTo>
                      <a:pt x="64" y="17"/>
                      <a:pt x="61" y="14"/>
                      <a:pt x="59" y="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7" name="Freeform 115">
                <a:extLst>
                  <a:ext uri="{FF2B5EF4-FFF2-40B4-BE49-F238E27FC236}">
                    <a16:creationId xmlns:a16="http://schemas.microsoft.com/office/drawing/2014/main" id="{F66B9B8A-877B-405A-A1BC-53C172BD6F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675" y="3800475"/>
                <a:ext cx="296862" cy="420688"/>
              </a:xfrm>
              <a:custGeom>
                <a:avLst/>
                <a:gdLst>
                  <a:gd name="T0" fmla="*/ 21 w 135"/>
                  <a:gd name="T1" fmla="*/ 140 h 192"/>
                  <a:gd name="T2" fmla="*/ 29 w 135"/>
                  <a:gd name="T3" fmla="*/ 140 h 192"/>
                  <a:gd name="T4" fmla="*/ 37 w 135"/>
                  <a:gd name="T5" fmla="*/ 147 h 192"/>
                  <a:gd name="T6" fmla="*/ 38 w 135"/>
                  <a:gd name="T7" fmla="*/ 147 h 192"/>
                  <a:gd name="T8" fmla="*/ 47 w 135"/>
                  <a:gd name="T9" fmla="*/ 147 h 192"/>
                  <a:gd name="T10" fmla="*/ 54 w 135"/>
                  <a:gd name="T11" fmla="*/ 156 h 192"/>
                  <a:gd name="T12" fmla="*/ 61 w 135"/>
                  <a:gd name="T13" fmla="*/ 163 h 192"/>
                  <a:gd name="T14" fmla="*/ 65 w 135"/>
                  <a:gd name="T15" fmla="*/ 170 h 192"/>
                  <a:gd name="T16" fmla="*/ 78 w 135"/>
                  <a:gd name="T17" fmla="*/ 172 h 192"/>
                  <a:gd name="T18" fmla="*/ 85 w 135"/>
                  <a:gd name="T19" fmla="*/ 171 h 192"/>
                  <a:gd name="T20" fmla="*/ 93 w 135"/>
                  <a:gd name="T21" fmla="*/ 171 h 192"/>
                  <a:gd name="T22" fmla="*/ 101 w 135"/>
                  <a:gd name="T23" fmla="*/ 178 h 192"/>
                  <a:gd name="T24" fmla="*/ 95 w 135"/>
                  <a:gd name="T25" fmla="*/ 187 h 192"/>
                  <a:gd name="T26" fmla="*/ 102 w 135"/>
                  <a:gd name="T27" fmla="*/ 192 h 192"/>
                  <a:gd name="T28" fmla="*/ 102 w 135"/>
                  <a:gd name="T29" fmla="*/ 192 h 192"/>
                  <a:gd name="T30" fmla="*/ 107 w 135"/>
                  <a:gd name="T31" fmla="*/ 177 h 192"/>
                  <a:gd name="T32" fmla="*/ 109 w 135"/>
                  <a:gd name="T33" fmla="*/ 162 h 192"/>
                  <a:gd name="T34" fmla="*/ 102 w 135"/>
                  <a:gd name="T35" fmla="*/ 143 h 192"/>
                  <a:gd name="T36" fmla="*/ 109 w 135"/>
                  <a:gd name="T37" fmla="*/ 137 h 192"/>
                  <a:gd name="T38" fmla="*/ 107 w 135"/>
                  <a:gd name="T39" fmla="*/ 133 h 192"/>
                  <a:gd name="T40" fmla="*/ 104 w 135"/>
                  <a:gd name="T41" fmla="*/ 126 h 192"/>
                  <a:gd name="T42" fmla="*/ 121 w 135"/>
                  <a:gd name="T43" fmla="*/ 125 h 192"/>
                  <a:gd name="T44" fmla="*/ 134 w 135"/>
                  <a:gd name="T45" fmla="*/ 121 h 192"/>
                  <a:gd name="T46" fmla="*/ 132 w 135"/>
                  <a:gd name="T47" fmla="*/ 115 h 192"/>
                  <a:gd name="T48" fmla="*/ 132 w 135"/>
                  <a:gd name="T49" fmla="*/ 107 h 192"/>
                  <a:gd name="T50" fmla="*/ 128 w 135"/>
                  <a:gd name="T51" fmla="*/ 98 h 192"/>
                  <a:gd name="T52" fmla="*/ 130 w 135"/>
                  <a:gd name="T53" fmla="*/ 77 h 192"/>
                  <a:gd name="T54" fmla="*/ 117 w 135"/>
                  <a:gd name="T55" fmla="*/ 74 h 192"/>
                  <a:gd name="T56" fmla="*/ 101 w 135"/>
                  <a:gd name="T57" fmla="*/ 67 h 192"/>
                  <a:gd name="T58" fmla="*/ 82 w 135"/>
                  <a:gd name="T59" fmla="*/ 65 h 192"/>
                  <a:gd name="T60" fmla="*/ 75 w 135"/>
                  <a:gd name="T61" fmla="*/ 50 h 192"/>
                  <a:gd name="T62" fmla="*/ 70 w 135"/>
                  <a:gd name="T63" fmla="*/ 43 h 192"/>
                  <a:gd name="T64" fmla="*/ 65 w 135"/>
                  <a:gd name="T65" fmla="*/ 41 h 192"/>
                  <a:gd name="T66" fmla="*/ 66 w 135"/>
                  <a:gd name="T67" fmla="*/ 35 h 192"/>
                  <a:gd name="T68" fmla="*/ 68 w 135"/>
                  <a:gd name="T69" fmla="*/ 27 h 192"/>
                  <a:gd name="T70" fmla="*/ 78 w 135"/>
                  <a:gd name="T71" fmla="*/ 14 h 192"/>
                  <a:gd name="T72" fmla="*/ 81 w 135"/>
                  <a:gd name="T73" fmla="*/ 12 h 192"/>
                  <a:gd name="T74" fmla="*/ 84 w 135"/>
                  <a:gd name="T75" fmla="*/ 10 h 192"/>
                  <a:gd name="T76" fmla="*/ 87 w 135"/>
                  <a:gd name="T77" fmla="*/ 3 h 192"/>
                  <a:gd name="T78" fmla="*/ 74 w 135"/>
                  <a:gd name="T79" fmla="*/ 9 h 192"/>
                  <a:gd name="T80" fmla="*/ 64 w 135"/>
                  <a:gd name="T81" fmla="*/ 15 h 192"/>
                  <a:gd name="T82" fmla="*/ 54 w 135"/>
                  <a:gd name="T83" fmla="*/ 18 h 192"/>
                  <a:gd name="T84" fmla="*/ 49 w 135"/>
                  <a:gd name="T85" fmla="*/ 17 h 192"/>
                  <a:gd name="T86" fmla="*/ 38 w 135"/>
                  <a:gd name="T87" fmla="*/ 27 h 192"/>
                  <a:gd name="T88" fmla="*/ 34 w 135"/>
                  <a:gd name="T89" fmla="*/ 38 h 192"/>
                  <a:gd name="T90" fmla="*/ 23 w 135"/>
                  <a:gd name="T91" fmla="*/ 51 h 192"/>
                  <a:gd name="T92" fmla="*/ 21 w 135"/>
                  <a:gd name="T93" fmla="*/ 51 h 192"/>
                  <a:gd name="T94" fmla="*/ 19 w 135"/>
                  <a:gd name="T95" fmla="*/ 55 h 192"/>
                  <a:gd name="T96" fmla="*/ 11 w 135"/>
                  <a:gd name="T97" fmla="*/ 62 h 192"/>
                  <a:gd name="T98" fmla="*/ 15 w 135"/>
                  <a:gd name="T99" fmla="*/ 66 h 192"/>
                  <a:gd name="T100" fmla="*/ 17 w 135"/>
                  <a:gd name="T101" fmla="*/ 74 h 192"/>
                  <a:gd name="T102" fmla="*/ 17 w 135"/>
                  <a:gd name="T103" fmla="*/ 81 h 192"/>
                  <a:gd name="T104" fmla="*/ 19 w 135"/>
                  <a:gd name="T105" fmla="*/ 98 h 192"/>
                  <a:gd name="T106" fmla="*/ 17 w 135"/>
                  <a:gd name="T107" fmla="*/ 108 h 192"/>
                  <a:gd name="T108" fmla="*/ 8 w 135"/>
                  <a:gd name="T109" fmla="*/ 115 h 192"/>
                  <a:gd name="T110" fmla="*/ 2 w 135"/>
                  <a:gd name="T111" fmla="*/ 123 h 192"/>
                  <a:gd name="T112" fmla="*/ 0 w 135"/>
                  <a:gd name="T113" fmla="*/ 127 h 192"/>
                  <a:gd name="T114" fmla="*/ 14 w 135"/>
                  <a:gd name="T115" fmla="*/ 135 h 192"/>
                  <a:gd name="T116" fmla="*/ 21 w 135"/>
                  <a:gd name="T117" fmla="*/ 14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5" h="192">
                    <a:moveTo>
                      <a:pt x="21" y="140"/>
                    </a:moveTo>
                    <a:cubicBezTo>
                      <a:pt x="24" y="142"/>
                      <a:pt x="28" y="142"/>
                      <a:pt x="29" y="140"/>
                    </a:cubicBezTo>
                    <a:cubicBezTo>
                      <a:pt x="30" y="139"/>
                      <a:pt x="33" y="142"/>
                      <a:pt x="37" y="147"/>
                    </a:cubicBezTo>
                    <a:cubicBezTo>
                      <a:pt x="37" y="147"/>
                      <a:pt x="38" y="147"/>
                      <a:pt x="38" y="147"/>
                    </a:cubicBezTo>
                    <a:cubicBezTo>
                      <a:pt x="41" y="146"/>
                      <a:pt x="46" y="146"/>
                      <a:pt x="47" y="147"/>
                    </a:cubicBezTo>
                    <a:cubicBezTo>
                      <a:pt x="51" y="149"/>
                      <a:pt x="50" y="156"/>
                      <a:pt x="54" y="156"/>
                    </a:cubicBezTo>
                    <a:cubicBezTo>
                      <a:pt x="58" y="157"/>
                      <a:pt x="62" y="161"/>
                      <a:pt x="61" y="163"/>
                    </a:cubicBezTo>
                    <a:cubicBezTo>
                      <a:pt x="61" y="166"/>
                      <a:pt x="66" y="167"/>
                      <a:pt x="65" y="170"/>
                    </a:cubicBezTo>
                    <a:cubicBezTo>
                      <a:pt x="65" y="174"/>
                      <a:pt x="77" y="173"/>
                      <a:pt x="78" y="172"/>
                    </a:cubicBezTo>
                    <a:cubicBezTo>
                      <a:pt x="80" y="171"/>
                      <a:pt x="83" y="170"/>
                      <a:pt x="85" y="171"/>
                    </a:cubicBezTo>
                    <a:cubicBezTo>
                      <a:pt x="87" y="172"/>
                      <a:pt x="91" y="170"/>
                      <a:pt x="93" y="171"/>
                    </a:cubicBezTo>
                    <a:cubicBezTo>
                      <a:pt x="95" y="172"/>
                      <a:pt x="102" y="175"/>
                      <a:pt x="101" y="178"/>
                    </a:cubicBezTo>
                    <a:cubicBezTo>
                      <a:pt x="99" y="180"/>
                      <a:pt x="94" y="185"/>
                      <a:pt x="95" y="187"/>
                    </a:cubicBezTo>
                    <a:cubicBezTo>
                      <a:pt x="96" y="189"/>
                      <a:pt x="100" y="190"/>
                      <a:pt x="102" y="192"/>
                    </a:cubicBezTo>
                    <a:cubicBezTo>
                      <a:pt x="102" y="192"/>
                      <a:pt x="102" y="192"/>
                      <a:pt x="102" y="192"/>
                    </a:cubicBezTo>
                    <a:cubicBezTo>
                      <a:pt x="105" y="192"/>
                      <a:pt x="107" y="180"/>
                      <a:pt x="107" y="177"/>
                    </a:cubicBezTo>
                    <a:cubicBezTo>
                      <a:pt x="107" y="174"/>
                      <a:pt x="108" y="165"/>
                      <a:pt x="109" y="162"/>
                    </a:cubicBezTo>
                    <a:cubicBezTo>
                      <a:pt x="111" y="155"/>
                      <a:pt x="102" y="150"/>
                      <a:pt x="102" y="143"/>
                    </a:cubicBezTo>
                    <a:cubicBezTo>
                      <a:pt x="102" y="136"/>
                      <a:pt x="105" y="140"/>
                      <a:pt x="109" y="137"/>
                    </a:cubicBezTo>
                    <a:cubicBezTo>
                      <a:pt x="113" y="134"/>
                      <a:pt x="109" y="133"/>
                      <a:pt x="107" y="133"/>
                    </a:cubicBezTo>
                    <a:cubicBezTo>
                      <a:pt x="105" y="132"/>
                      <a:pt x="103" y="129"/>
                      <a:pt x="104" y="126"/>
                    </a:cubicBezTo>
                    <a:cubicBezTo>
                      <a:pt x="105" y="124"/>
                      <a:pt x="117" y="125"/>
                      <a:pt x="121" y="125"/>
                    </a:cubicBezTo>
                    <a:cubicBezTo>
                      <a:pt x="125" y="125"/>
                      <a:pt x="134" y="122"/>
                      <a:pt x="134" y="121"/>
                    </a:cubicBezTo>
                    <a:cubicBezTo>
                      <a:pt x="134" y="120"/>
                      <a:pt x="135" y="118"/>
                      <a:pt x="132" y="115"/>
                    </a:cubicBezTo>
                    <a:cubicBezTo>
                      <a:pt x="129" y="113"/>
                      <a:pt x="130" y="109"/>
                      <a:pt x="132" y="107"/>
                    </a:cubicBezTo>
                    <a:cubicBezTo>
                      <a:pt x="135" y="104"/>
                      <a:pt x="131" y="101"/>
                      <a:pt x="128" y="98"/>
                    </a:cubicBezTo>
                    <a:cubicBezTo>
                      <a:pt x="125" y="95"/>
                      <a:pt x="127" y="83"/>
                      <a:pt x="130" y="77"/>
                    </a:cubicBezTo>
                    <a:cubicBezTo>
                      <a:pt x="134" y="72"/>
                      <a:pt x="124" y="73"/>
                      <a:pt x="117" y="74"/>
                    </a:cubicBezTo>
                    <a:cubicBezTo>
                      <a:pt x="111" y="75"/>
                      <a:pt x="106" y="72"/>
                      <a:pt x="101" y="67"/>
                    </a:cubicBezTo>
                    <a:cubicBezTo>
                      <a:pt x="97" y="62"/>
                      <a:pt x="92" y="65"/>
                      <a:pt x="82" y="65"/>
                    </a:cubicBezTo>
                    <a:cubicBezTo>
                      <a:pt x="73" y="66"/>
                      <a:pt x="74" y="55"/>
                      <a:pt x="75" y="50"/>
                    </a:cubicBezTo>
                    <a:cubicBezTo>
                      <a:pt x="75" y="46"/>
                      <a:pt x="70" y="46"/>
                      <a:pt x="70" y="43"/>
                    </a:cubicBezTo>
                    <a:cubicBezTo>
                      <a:pt x="70" y="40"/>
                      <a:pt x="67" y="40"/>
                      <a:pt x="65" y="41"/>
                    </a:cubicBezTo>
                    <a:cubicBezTo>
                      <a:pt x="62" y="41"/>
                      <a:pt x="65" y="38"/>
                      <a:pt x="66" y="35"/>
                    </a:cubicBezTo>
                    <a:cubicBezTo>
                      <a:pt x="68" y="33"/>
                      <a:pt x="68" y="32"/>
                      <a:pt x="68" y="27"/>
                    </a:cubicBezTo>
                    <a:cubicBezTo>
                      <a:pt x="68" y="23"/>
                      <a:pt x="75" y="19"/>
                      <a:pt x="78" y="14"/>
                    </a:cubicBezTo>
                    <a:cubicBezTo>
                      <a:pt x="79" y="13"/>
                      <a:pt x="80" y="13"/>
                      <a:pt x="81" y="12"/>
                    </a:cubicBezTo>
                    <a:cubicBezTo>
                      <a:pt x="82" y="11"/>
                      <a:pt x="83" y="10"/>
                      <a:pt x="84" y="10"/>
                    </a:cubicBezTo>
                    <a:cubicBezTo>
                      <a:pt x="89" y="9"/>
                      <a:pt x="92" y="6"/>
                      <a:pt x="87" y="3"/>
                    </a:cubicBezTo>
                    <a:cubicBezTo>
                      <a:pt x="82" y="0"/>
                      <a:pt x="79" y="8"/>
                      <a:pt x="74" y="9"/>
                    </a:cubicBezTo>
                    <a:cubicBezTo>
                      <a:pt x="69" y="10"/>
                      <a:pt x="68" y="13"/>
                      <a:pt x="64" y="15"/>
                    </a:cubicBezTo>
                    <a:cubicBezTo>
                      <a:pt x="61" y="16"/>
                      <a:pt x="54" y="15"/>
                      <a:pt x="54" y="18"/>
                    </a:cubicBezTo>
                    <a:cubicBezTo>
                      <a:pt x="54" y="21"/>
                      <a:pt x="52" y="18"/>
                      <a:pt x="49" y="17"/>
                    </a:cubicBezTo>
                    <a:cubicBezTo>
                      <a:pt x="46" y="16"/>
                      <a:pt x="38" y="23"/>
                      <a:pt x="38" y="27"/>
                    </a:cubicBezTo>
                    <a:cubicBezTo>
                      <a:pt x="39" y="31"/>
                      <a:pt x="40" y="34"/>
                      <a:pt x="34" y="38"/>
                    </a:cubicBezTo>
                    <a:cubicBezTo>
                      <a:pt x="29" y="41"/>
                      <a:pt x="26" y="48"/>
                      <a:pt x="23" y="51"/>
                    </a:cubicBezTo>
                    <a:cubicBezTo>
                      <a:pt x="22" y="52"/>
                      <a:pt x="22" y="52"/>
                      <a:pt x="21" y="51"/>
                    </a:cubicBezTo>
                    <a:cubicBezTo>
                      <a:pt x="20" y="53"/>
                      <a:pt x="20" y="54"/>
                      <a:pt x="19" y="55"/>
                    </a:cubicBezTo>
                    <a:cubicBezTo>
                      <a:pt x="18" y="56"/>
                      <a:pt x="14" y="59"/>
                      <a:pt x="11" y="62"/>
                    </a:cubicBezTo>
                    <a:cubicBezTo>
                      <a:pt x="13" y="63"/>
                      <a:pt x="14" y="65"/>
                      <a:pt x="15" y="66"/>
                    </a:cubicBezTo>
                    <a:cubicBezTo>
                      <a:pt x="19" y="69"/>
                      <a:pt x="16" y="72"/>
                      <a:pt x="17" y="74"/>
                    </a:cubicBezTo>
                    <a:cubicBezTo>
                      <a:pt x="18" y="76"/>
                      <a:pt x="19" y="79"/>
                      <a:pt x="17" y="81"/>
                    </a:cubicBezTo>
                    <a:cubicBezTo>
                      <a:pt x="15" y="82"/>
                      <a:pt x="17" y="96"/>
                      <a:pt x="19" y="98"/>
                    </a:cubicBezTo>
                    <a:cubicBezTo>
                      <a:pt x="22" y="101"/>
                      <a:pt x="19" y="103"/>
                      <a:pt x="17" y="108"/>
                    </a:cubicBezTo>
                    <a:cubicBezTo>
                      <a:pt x="14" y="113"/>
                      <a:pt x="12" y="115"/>
                      <a:pt x="8" y="115"/>
                    </a:cubicBezTo>
                    <a:cubicBezTo>
                      <a:pt x="3" y="116"/>
                      <a:pt x="3" y="123"/>
                      <a:pt x="2" y="123"/>
                    </a:cubicBezTo>
                    <a:cubicBezTo>
                      <a:pt x="1" y="123"/>
                      <a:pt x="0" y="125"/>
                      <a:pt x="0" y="127"/>
                    </a:cubicBezTo>
                    <a:cubicBezTo>
                      <a:pt x="4" y="131"/>
                      <a:pt x="11" y="135"/>
                      <a:pt x="14" y="135"/>
                    </a:cubicBezTo>
                    <a:cubicBezTo>
                      <a:pt x="16" y="135"/>
                      <a:pt x="17" y="139"/>
                      <a:pt x="21" y="14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8" name="Freeform 116">
                <a:extLst>
                  <a:ext uri="{FF2B5EF4-FFF2-40B4-BE49-F238E27FC236}">
                    <a16:creationId xmlns:a16="http://schemas.microsoft.com/office/drawing/2014/main" id="{DA059D97-804D-4E65-94D5-970564C66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038" y="4359275"/>
                <a:ext cx="303212" cy="344488"/>
              </a:xfrm>
              <a:custGeom>
                <a:avLst/>
                <a:gdLst>
                  <a:gd name="T0" fmla="*/ 137 w 138"/>
                  <a:gd name="T1" fmla="*/ 94 h 157"/>
                  <a:gd name="T2" fmla="*/ 130 w 138"/>
                  <a:gd name="T3" fmla="*/ 83 h 157"/>
                  <a:gd name="T4" fmla="*/ 121 w 138"/>
                  <a:gd name="T5" fmla="*/ 77 h 157"/>
                  <a:gd name="T6" fmla="*/ 108 w 138"/>
                  <a:gd name="T7" fmla="*/ 72 h 157"/>
                  <a:gd name="T8" fmla="*/ 107 w 138"/>
                  <a:gd name="T9" fmla="*/ 62 h 157"/>
                  <a:gd name="T10" fmla="*/ 105 w 138"/>
                  <a:gd name="T11" fmla="*/ 54 h 157"/>
                  <a:gd name="T12" fmla="*/ 101 w 138"/>
                  <a:gd name="T13" fmla="*/ 46 h 157"/>
                  <a:gd name="T14" fmla="*/ 89 w 138"/>
                  <a:gd name="T15" fmla="*/ 43 h 157"/>
                  <a:gd name="T16" fmla="*/ 79 w 138"/>
                  <a:gd name="T17" fmla="*/ 39 h 157"/>
                  <a:gd name="T18" fmla="*/ 75 w 138"/>
                  <a:gd name="T19" fmla="*/ 35 h 157"/>
                  <a:gd name="T20" fmla="*/ 67 w 138"/>
                  <a:gd name="T21" fmla="*/ 33 h 157"/>
                  <a:gd name="T22" fmla="*/ 53 w 138"/>
                  <a:gd name="T23" fmla="*/ 25 h 157"/>
                  <a:gd name="T24" fmla="*/ 50 w 138"/>
                  <a:gd name="T25" fmla="*/ 3 h 157"/>
                  <a:gd name="T26" fmla="*/ 39 w 138"/>
                  <a:gd name="T27" fmla="*/ 3 h 157"/>
                  <a:gd name="T28" fmla="*/ 26 w 138"/>
                  <a:gd name="T29" fmla="*/ 9 h 157"/>
                  <a:gd name="T30" fmla="*/ 16 w 138"/>
                  <a:gd name="T31" fmla="*/ 14 h 157"/>
                  <a:gd name="T32" fmla="*/ 6 w 138"/>
                  <a:gd name="T33" fmla="*/ 16 h 157"/>
                  <a:gd name="T34" fmla="*/ 2 w 138"/>
                  <a:gd name="T35" fmla="*/ 15 h 157"/>
                  <a:gd name="T36" fmla="*/ 10 w 138"/>
                  <a:gd name="T37" fmla="*/ 31 h 157"/>
                  <a:gd name="T38" fmla="*/ 7 w 138"/>
                  <a:gd name="T39" fmla="*/ 37 h 157"/>
                  <a:gd name="T40" fmla="*/ 8 w 138"/>
                  <a:gd name="T41" fmla="*/ 53 h 157"/>
                  <a:gd name="T42" fmla="*/ 6 w 138"/>
                  <a:gd name="T43" fmla="*/ 62 h 157"/>
                  <a:gd name="T44" fmla="*/ 3 w 138"/>
                  <a:gd name="T45" fmla="*/ 72 h 157"/>
                  <a:gd name="T46" fmla="*/ 7 w 138"/>
                  <a:gd name="T47" fmla="*/ 77 h 157"/>
                  <a:gd name="T48" fmla="*/ 1 w 138"/>
                  <a:gd name="T49" fmla="*/ 86 h 157"/>
                  <a:gd name="T50" fmla="*/ 0 w 138"/>
                  <a:gd name="T51" fmla="*/ 91 h 157"/>
                  <a:gd name="T52" fmla="*/ 5 w 138"/>
                  <a:gd name="T53" fmla="*/ 96 h 157"/>
                  <a:gd name="T54" fmla="*/ 8 w 138"/>
                  <a:gd name="T55" fmla="*/ 108 h 157"/>
                  <a:gd name="T56" fmla="*/ 12 w 138"/>
                  <a:gd name="T57" fmla="*/ 115 h 157"/>
                  <a:gd name="T58" fmla="*/ 10 w 138"/>
                  <a:gd name="T59" fmla="*/ 123 h 157"/>
                  <a:gd name="T60" fmla="*/ 14 w 138"/>
                  <a:gd name="T61" fmla="*/ 132 h 157"/>
                  <a:gd name="T62" fmla="*/ 18 w 138"/>
                  <a:gd name="T63" fmla="*/ 142 h 157"/>
                  <a:gd name="T64" fmla="*/ 21 w 138"/>
                  <a:gd name="T65" fmla="*/ 155 h 157"/>
                  <a:gd name="T66" fmla="*/ 36 w 138"/>
                  <a:gd name="T67" fmla="*/ 146 h 157"/>
                  <a:gd name="T68" fmla="*/ 46 w 138"/>
                  <a:gd name="T69" fmla="*/ 145 h 157"/>
                  <a:gd name="T70" fmla="*/ 59 w 138"/>
                  <a:gd name="T71" fmla="*/ 151 h 157"/>
                  <a:gd name="T72" fmla="*/ 66 w 138"/>
                  <a:gd name="T73" fmla="*/ 144 h 157"/>
                  <a:gd name="T74" fmla="*/ 81 w 138"/>
                  <a:gd name="T75" fmla="*/ 144 h 157"/>
                  <a:gd name="T76" fmla="*/ 84 w 138"/>
                  <a:gd name="T77" fmla="*/ 127 h 157"/>
                  <a:gd name="T78" fmla="*/ 93 w 138"/>
                  <a:gd name="T79" fmla="*/ 116 h 157"/>
                  <a:gd name="T80" fmla="*/ 106 w 138"/>
                  <a:gd name="T81" fmla="*/ 114 h 157"/>
                  <a:gd name="T82" fmla="*/ 119 w 138"/>
                  <a:gd name="T83" fmla="*/ 112 h 157"/>
                  <a:gd name="T84" fmla="*/ 130 w 138"/>
                  <a:gd name="T85" fmla="*/ 117 h 157"/>
                  <a:gd name="T86" fmla="*/ 135 w 138"/>
                  <a:gd name="T87" fmla="*/ 109 h 157"/>
                  <a:gd name="T88" fmla="*/ 137 w 138"/>
                  <a:gd name="T89" fmla="*/ 94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8" h="157">
                    <a:moveTo>
                      <a:pt x="137" y="94"/>
                    </a:moveTo>
                    <a:cubicBezTo>
                      <a:pt x="135" y="89"/>
                      <a:pt x="130" y="88"/>
                      <a:pt x="130" y="83"/>
                    </a:cubicBezTo>
                    <a:cubicBezTo>
                      <a:pt x="130" y="78"/>
                      <a:pt x="128" y="77"/>
                      <a:pt x="121" y="77"/>
                    </a:cubicBezTo>
                    <a:cubicBezTo>
                      <a:pt x="113" y="78"/>
                      <a:pt x="109" y="76"/>
                      <a:pt x="108" y="72"/>
                    </a:cubicBezTo>
                    <a:cubicBezTo>
                      <a:pt x="108" y="67"/>
                      <a:pt x="104" y="64"/>
                      <a:pt x="107" y="62"/>
                    </a:cubicBezTo>
                    <a:cubicBezTo>
                      <a:pt x="110" y="61"/>
                      <a:pt x="105" y="58"/>
                      <a:pt x="105" y="54"/>
                    </a:cubicBezTo>
                    <a:cubicBezTo>
                      <a:pt x="106" y="50"/>
                      <a:pt x="103" y="48"/>
                      <a:pt x="101" y="46"/>
                    </a:cubicBezTo>
                    <a:cubicBezTo>
                      <a:pt x="99" y="44"/>
                      <a:pt x="89" y="47"/>
                      <a:pt x="89" y="43"/>
                    </a:cubicBezTo>
                    <a:cubicBezTo>
                      <a:pt x="89" y="40"/>
                      <a:pt x="83" y="39"/>
                      <a:pt x="79" y="39"/>
                    </a:cubicBezTo>
                    <a:cubicBezTo>
                      <a:pt x="76" y="39"/>
                      <a:pt x="78" y="35"/>
                      <a:pt x="75" y="35"/>
                    </a:cubicBezTo>
                    <a:cubicBezTo>
                      <a:pt x="71" y="35"/>
                      <a:pt x="72" y="33"/>
                      <a:pt x="67" y="33"/>
                    </a:cubicBezTo>
                    <a:cubicBezTo>
                      <a:pt x="62" y="34"/>
                      <a:pt x="59" y="32"/>
                      <a:pt x="53" y="25"/>
                    </a:cubicBezTo>
                    <a:cubicBezTo>
                      <a:pt x="48" y="19"/>
                      <a:pt x="49" y="7"/>
                      <a:pt x="50" y="3"/>
                    </a:cubicBezTo>
                    <a:cubicBezTo>
                      <a:pt x="51" y="0"/>
                      <a:pt x="43" y="3"/>
                      <a:pt x="39" y="3"/>
                    </a:cubicBezTo>
                    <a:cubicBezTo>
                      <a:pt x="35" y="3"/>
                      <a:pt x="30" y="6"/>
                      <a:pt x="26" y="9"/>
                    </a:cubicBezTo>
                    <a:cubicBezTo>
                      <a:pt x="21" y="11"/>
                      <a:pt x="18" y="11"/>
                      <a:pt x="16" y="14"/>
                    </a:cubicBezTo>
                    <a:cubicBezTo>
                      <a:pt x="14" y="16"/>
                      <a:pt x="10" y="17"/>
                      <a:pt x="6" y="16"/>
                    </a:cubicBezTo>
                    <a:cubicBezTo>
                      <a:pt x="5" y="16"/>
                      <a:pt x="4" y="15"/>
                      <a:pt x="2" y="15"/>
                    </a:cubicBezTo>
                    <a:cubicBezTo>
                      <a:pt x="4" y="20"/>
                      <a:pt x="9" y="28"/>
                      <a:pt x="10" y="31"/>
                    </a:cubicBezTo>
                    <a:cubicBezTo>
                      <a:pt x="12" y="35"/>
                      <a:pt x="9" y="36"/>
                      <a:pt x="7" y="37"/>
                    </a:cubicBezTo>
                    <a:cubicBezTo>
                      <a:pt x="6" y="38"/>
                      <a:pt x="8" y="50"/>
                      <a:pt x="8" y="53"/>
                    </a:cubicBezTo>
                    <a:cubicBezTo>
                      <a:pt x="9" y="56"/>
                      <a:pt x="4" y="61"/>
                      <a:pt x="6" y="62"/>
                    </a:cubicBezTo>
                    <a:cubicBezTo>
                      <a:pt x="8" y="64"/>
                      <a:pt x="3" y="69"/>
                      <a:pt x="3" y="72"/>
                    </a:cubicBezTo>
                    <a:cubicBezTo>
                      <a:pt x="3" y="75"/>
                      <a:pt x="7" y="75"/>
                      <a:pt x="7" y="77"/>
                    </a:cubicBezTo>
                    <a:cubicBezTo>
                      <a:pt x="7" y="80"/>
                      <a:pt x="4" y="85"/>
                      <a:pt x="1" y="86"/>
                    </a:cubicBezTo>
                    <a:cubicBezTo>
                      <a:pt x="0" y="87"/>
                      <a:pt x="0" y="89"/>
                      <a:pt x="0" y="91"/>
                    </a:cubicBezTo>
                    <a:cubicBezTo>
                      <a:pt x="1" y="91"/>
                      <a:pt x="1" y="94"/>
                      <a:pt x="5" y="96"/>
                    </a:cubicBezTo>
                    <a:cubicBezTo>
                      <a:pt x="9" y="99"/>
                      <a:pt x="4" y="104"/>
                      <a:pt x="8" y="108"/>
                    </a:cubicBezTo>
                    <a:cubicBezTo>
                      <a:pt x="11" y="112"/>
                      <a:pt x="15" y="113"/>
                      <a:pt x="12" y="115"/>
                    </a:cubicBezTo>
                    <a:cubicBezTo>
                      <a:pt x="10" y="117"/>
                      <a:pt x="13" y="121"/>
                      <a:pt x="10" y="123"/>
                    </a:cubicBezTo>
                    <a:cubicBezTo>
                      <a:pt x="7" y="125"/>
                      <a:pt x="11" y="131"/>
                      <a:pt x="14" y="132"/>
                    </a:cubicBezTo>
                    <a:cubicBezTo>
                      <a:pt x="17" y="133"/>
                      <a:pt x="15" y="139"/>
                      <a:pt x="18" y="142"/>
                    </a:cubicBezTo>
                    <a:cubicBezTo>
                      <a:pt x="21" y="145"/>
                      <a:pt x="20" y="152"/>
                      <a:pt x="21" y="155"/>
                    </a:cubicBezTo>
                    <a:cubicBezTo>
                      <a:pt x="22" y="157"/>
                      <a:pt x="31" y="151"/>
                      <a:pt x="36" y="146"/>
                    </a:cubicBezTo>
                    <a:cubicBezTo>
                      <a:pt x="41" y="140"/>
                      <a:pt x="41" y="145"/>
                      <a:pt x="46" y="145"/>
                    </a:cubicBezTo>
                    <a:cubicBezTo>
                      <a:pt x="51" y="146"/>
                      <a:pt x="57" y="146"/>
                      <a:pt x="59" y="151"/>
                    </a:cubicBezTo>
                    <a:cubicBezTo>
                      <a:pt x="61" y="155"/>
                      <a:pt x="64" y="146"/>
                      <a:pt x="66" y="144"/>
                    </a:cubicBezTo>
                    <a:cubicBezTo>
                      <a:pt x="67" y="142"/>
                      <a:pt x="79" y="145"/>
                      <a:pt x="81" y="144"/>
                    </a:cubicBezTo>
                    <a:cubicBezTo>
                      <a:pt x="83" y="143"/>
                      <a:pt x="84" y="129"/>
                      <a:pt x="84" y="127"/>
                    </a:cubicBezTo>
                    <a:cubicBezTo>
                      <a:pt x="84" y="124"/>
                      <a:pt x="89" y="119"/>
                      <a:pt x="93" y="116"/>
                    </a:cubicBezTo>
                    <a:cubicBezTo>
                      <a:pt x="97" y="113"/>
                      <a:pt x="103" y="115"/>
                      <a:pt x="106" y="114"/>
                    </a:cubicBezTo>
                    <a:cubicBezTo>
                      <a:pt x="110" y="112"/>
                      <a:pt x="115" y="112"/>
                      <a:pt x="119" y="112"/>
                    </a:cubicBezTo>
                    <a:cubicBezTo>
                      <a:pt x="124" y="112"/>
                      <a:pt x="127" y="117"/>
                      <a:pt x="130" y="117"/>
                    </a:cubicBezTo>
                    <a:cubicBezTo>
                      <a:pt x="133" y="117"/>
                      <a:pt x="136" y="113"/>
                      <a:pt x="135" y="109"/>
                    </a:cubicBezTo>
                    <a:cubicBezTo>
                      <a:pt x="135" y="105"/>
                      <a:pt x="138" y="99"/>
                      <a:pt x="137" y="9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39" name="Freeform 117">
                <a:extLst>
                  <a:ext uri="{FF2B5EF4-FFF2-40B4-BE49-F238E27FC236}">
                    <a16:creationId xmlns:a16="http://schemas.microsoft.com/office/drawing/2014/main" id="{55378374-D442-40A1-8489-0D442D9BE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2350" y="4121150"/>
                <a:ext cx="319087" cy="461963"/>
              </a:xfrm>
              <a:custGeom>
                <a:avLst/>
                <a:gdLst>
                  <a:gd name="T0" fmla="*/ 134 w 146"/>
                  <a:gd name="T1" fmla="*/ 200 h 211"/>
                  <a:gd name="T2" fmla="*/ 134 w 146"/>
                  <a:gd name="T3" fmla="*/ 200 h 211"/>
                  <a:gd name="T4" fmla="*/ 135 w 146"/>
                  <a:gd name="T5" fmla="*/ 195 h 211"/>
                  <a:gd name="T6" fmla="*/ 141 w 146"/>
                  <a:gd name="T7" fmla="*/ 186 h 211"/>
                  <a:gd name="T8" fmla="*/ 137 w 146"/>
                  <a:gd name="T9" fmla="*/ 181 h 211"/>
                  <a:gd name="T10" fmla="*/ 140 w 146"/>
                  <a:gd name="T11" fmla="*/ 171 h 211"/>
                  <a:gd name="T12" fmla="*/ 142 w 146"/>
                  <a:gd name="T13" fmla="*/ 162 h 211"/>
                  <a:gd name="T14" fmla="*/ 141 w 146"/>
                  <a:gd name="T15" fmla="*/ 146 h 211"/>
                  <a:gd name="T16" fmla="*/ 144 w 146"/>
                  <a:gd name="T17" fmla="*/ 140 h 211"/>
                  <a:gd name="T18" fmla="*/ 136 w 146"/>
                  <a:gd name="T19" fmla="*/ 124 h 211"/>
                  <a:gd name="T20" fmla="*/ 126 w 146"/>
                  <a:gd name="T21" fmla="*/ 125 h 211"/>
                  <a:gd name="T22" fmla="*/ 123 w 146"/>
                  <a:gd name="T23" fmla="*/ 110 h 211"/>
                  <a:gd name="T24" fmla="*/ 118 w 146"/>
                  <a:gd name="T25" fmla="*/ 111 h 211"/>
                  <a:gd name="T26" fmla="*/ 106 w 146"/>
                  <a:gd name="T27" fmla="*/ 113 h 211"/>
                  <a:gd name="T28" fmla="*/ 100 w 146"/>
                  <a:gd name="T29" fmla="*/ 106 h 211"/>
                  <a:gd name="T30" fmla="*/ 94 w 146"/>
                  <a:gd name="T31" fmla="*/ 102 h 211"/>
                  <a:gd name="T32" fmla="*/ 90 w 146"/>
                  <a:gd name="T33" fmla="*/ 92 h 211"/>
                  <a:gd name="T34" fmla="*/ 87 w 146"/>
                  <a:gd name="T35" fmla="*/ 83 h 211"/>
                  <a:gd name="T36" fmla="*/ 88 w 146"/>
                  <a:gd name="T37" fmla="*/ 75 h 211"/>
                  <a:gd name="T38" fmla="*/ 93 w 146"/>
                  <a:gd name="T39" fmla="*/ 69 h 211"/>
                  <a:gd name="T40" fmla="*/ 97 w 146"/>
                  <a:gd name="T41" fmla="*/ 59 h 211"/>
                  <a:gd name="T42" fmla="*/ 107 w 146"/>
                  <a:gd name="T43" fmla="*/ 52 h 211"/>
                  <a:gd name="T44" fmla="*/ 121 w 146"/>
                  <a:gd name="T45" fmla="*/ 47 h 211"/>
                  <a:gd name="T46" fmla="*/ 130 w 146"/>
                  <a:gd name="T47" fmla="*/ 46 h 211"/>
                  <a:gd name="T48" fmla="*/ 123 w 146"/>
                  <a:gd name="T49" fmla="*/ 41 h 211"/>
                  <a:gd name="T50" fmla="*/ 129 w 146"/>
                  <a:gd name="T51" fmla="*/ 32 h 211"/>
                  <a:gd name="T52" fmla="*/ 121 w 146"/>
                  <a:gd name="T53" fmla="*/ 25 h 211"/>
                  <a:gd name="T54" fmla="*/ 113 w 146"/>
                  <a:gd name="T55" fmla="*/ 25 h 211"/>
                  <a:gd name="T56" fmla="*/ 106 w 146"/>
                  <a:gd name="T57" fmla="*/ 26 h 211"/>
                  <a:gd name="T58" fmla="*/ 93 w 146"/>
                  <a:gd name="T59" fmla="*/ 24 h 211"/>
                  <a:gd name="T60" fmla="*/ 89 w 146"/>
                  <a:gd name="T61" fmla="*/ 17 h 211"/>
                  <a:gd name="T62" fmla="*/ 82 w 146"/>
                  <a:gd name="T63" fmla="*/ 10 h 211"/>
                  <a:gd name="T64" fmla="*/ 75 w 146"/>
                  <a:gd name="T65" fmla="*/ 1 h 211"/>
                  <a:gd name="T66" fmla="*/ 66 w 146"/>
                  <a:gd name="T67" fmla="*/ 1 h 211"/>
                  <a:gd name="T68" fmla="*/ 68 w 146"/>
                  <a:gd name="T69" fmla="*/ 9 h 211"/>
                  <a:gd name="T70" fmla="*/ 62 w 146"/>
                  <a:gd name="T71" fmla="*/ 21 h 211"/>
                  <a:gd name="T72" fmla="*/ 40 w 146"/>
                  <a:gd name="T73" fmla="*/ 33 h 211"/>
                  <a:gd name="T74" fmla="*/ 30 w 146"/>
                  <a:gd name="T75" fmla="*/ 51 h 211"/>
                  <a:gd name="T76" fmla="*/ 22 w 146"/>
                  <a:gd name="T77" fmla="*/ 51 h 211"/>
                  <a:gd name="T78" fmla="*/ 13 w 146"/>
                  <a:gd name="T79" fmla="*/ 49 h 211"/>
                  <a:gd name="T80" fmla="*/ 13 w 146"/>
                  <a:gd name="T81" fmla="*/ 43 h 211"/>
                  <a:gd name="T82" fmla="*/ 11 w 146"/>
                  <a:gd name="T83" fmla="*/ 37 h 211"/>
                  <a:gd name="T84" fmla="*/ 2 w 146"/>
                  <a:gd name="T85" fmla="*/ 47 h 211"/>
                  <a:gd name="T86" fmla="*/ 6 w 146"/>
                  <a:gd name="T87" fmla="*/ 63 h 211"/>
                  <a:gd name="T88" fmla="*/ 2 w 146"/>
                  <a:gd name="T89" fmla="*/ 66 h 211"/>
                  <a:gd name="T90" fmla="*/ 15 w 146"/>
                  <a:gd name="T91" fmla="*/ 75 h 211"/>
                  <a:gd name="T92" fmla="*/ 26 w 146"/>
                  <a:gd name="T93" fmla="*/ 91 h 211"/>
                  <a:gd name="T94" fmla="*/ 34 w 146"/>
                  <a:gd name="T95" fmla="*/ 108 h 211"/>
                  <a:gd name="T96" fmla="*/ 51 w 146"/>
                  <a:gd name="T97" fmla="*/ 141 h 211"/>
                  <a:gd name="T98" fmla="*/ 58 w 146"/>
                  <a:gd name="T99" fmla="*/ 156 h 211"/>
                  <a:gd name="T100" fmla="*/ 62 w 146"/>
                  <a:gd name="T101" fmla="*/ 166 h 211"/>
                  <a:gd name="T102" fmla="*/ 80 w 146"/>
                  <a:gd name="T103" fmla="*/ 179 h 211"/>
                  <a:gd name="T104" fmla="*/ 113 w 146"/>
                  <a:gd name="T105" fmla="*/ 199 h 211"/>
                  <a:gd name="T106" fmla="*/ 126 w 146"/>
                  <a:gd name="T107" fmla="*/ 209 h 211"/>
                  <a:gd name="T108" fmla="*/ 127 w 146"/>
                  <a:gd name="T109" fmla="*/ 211 h 211"/>
                  <a:gd name="T110" fmla="*/ 129 w 146"/>
                  <a:gd name="T111" fmla="*/ 209 h 211"/>
                  <a:gd name="T112" fmla="*/ 134 w 146"/>
                  <a:gd name="T113" fmla="*/ 20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6" h="211">
                    <a:moveTo>
                      <a:pt x="134" y="200"/>
                    </a:moveTo>
                    <a:cubicBezTo>
                      <a:pt x="134" y="200"/>
                      <a:pt x="134" y="200"/>
                      <a:pt x="134" y="200"/>
                    </a:cubicBezTo>
                    <a:cubicBezTo>
                      <a:pt x="134" y="198"/>
                      <a:pt x="134" y="196"/>
                      <a:pt x="135" y="195"/>
                    </a:cubicBezTo>
                    <a:cubicBezTo>
                      <a:pt x="138" y="194"/>
                      <a:pt x="141" y="189"/>
                      <a:pt x="141" y="186"/>
                    </a:cubicBezTo>
                    <a:cubicBezTo>
                      <a:pt x="141" y="184"/>
                      <a:pt x="137" y="184"/>
                      <a:pt x="137" y="181"/>
                    </a:cubicBezTo>
                    <a:cubicBezTo>
                      <a:pt x="137" y="178"/>
                      <a:pt x="142" y="173"/>
                      <a:pt x="140" y="171"/>
                    </a:cubicBezTo>
                    <a:cubicBezTo>
                      <a:pt x="138" y="170"/>
                      <a:pt x="143" y="165"/>
                      <a:pt x="142" y="162"/>
                    </a:cubicBezTo>
                    <a:cubicBezTo>
                      <a:pt x="142" y="159"/>
                      <a:pt x="140" y="147"/>
                      <a:pt x="141" y="146"/>
                    </a:cubicBezTo>
                    <a:cubicBezTo>
                      <a:pt x="143" y="145"/>
                      <a:pt x="146" y="144"/>
                      <a:pt x="144" y="140"/>
                    </a:cubicBezTo>
                    <a:cubicBezTo>
                      <a:pt x="143" y="137"/>
                      <a:pt x="138" y="129"/>
                      <a:pt x="136" y="124"/>
                    </a:cubicBezTo>
                    <a:cubicBezTo>
                      <a:pt x="133" y="124"/>
                      <a:pt x="128" y="124"/>
                      <a:pt x="126" y="125"/>
                    </a:cubicBezTo>
                    <a:cubicBezTo>
                      <a:pt x="122" y="126"/>
                      <a:pt x="123" y="114"/>
                      <a:pt x="123" y="110"/>
                    </a:cubicBezTo>
                    <a:cubicBezTo>
                      <a:pt x="123" y="106"/>
                      <a:pt x="119" y="108"/>
                      <a:pt x="118" y="111"/>
                    </a:cubicBezTo>
                    <a:cubicBezTo>
                      <a:pt x="117" y="114"/>
                      <a:pt x="111" y="113"/>
                      <a:pt x="106" y="113"/>
                    </a:cubicBezTo>
                    <a:cubicBezTo>
                      <a:pt x="101" y="113"/>
                      <a:pt x="103" y="106"/>
                      <a:pt x="100" y="106"/>
                    </a:cubicBezTo>
                    <a:cubicBezTo>
                      <a:pt x="97" y="107"/>
                      <a:pt x="94" y="105"/>
                      <a:pt x="94" y="102"/>
                    </a:cubicBezTo>
                    <a:cubicBezTo>
                      <a:pt x="95" y="99"/>
                      <a:pt x="92" y="96"/>
                      <a:pt x="90" y="92"/>
                    </a:cubicBezTo>
                    <a:cubicBezTo>
                      <a:pt x="87" y="89"/>
                      <a:pt x="85" y="85"/>
                      <a:pt x="87" y="83"/>
                    </a:cubicBezTo>
                    <a:cubicBezTo>
                      <a:pt x="89" y="80"/>
                      <a:pt x="85" y="78"/>
                      <a:pt x="88" y="75"/>
                    </a:cubicBezTo>
                    <a:cubicBezTo>
                      <a:pt x="91" y="72"/>
                      <a:pt x="94" y="73"/>
                      <a:pt x="93" y="69"/>
                    </a:cubicBezTo>
                    <a:cubicBezTo>
                      <a:pt x="92" y="65"/>
                      <a:pt x="97" y="63"/>
                      <a:pt x="97" y="59"/>
                    </a:cubicBezTo>
                    <a:cubicBezTo>
                      <a:pt x="97" y="54"/>
                      <a:pt x="102" y="56"/>
                      <a:pt x="107" y="52"/>
                    </a:cubicBezTo>
                    <a:cubicBezTo>
                      <a:pt x="112" y="48"/>
                      <a:pt x="117" y="50"/>
                      <a:pt x="121" y="47"/>
                    </a:cubicBezTo>
                    <a:cubicBezTo>
                      <a:pt x="124" y="44"/>
                      <a:pt x="127" y="46"/>
                      <a:pt x="130" y="46"/>
                    </a:cubicBezTo>
                    <a:cubicBezTo>
                      <a:pt x="128" y="44"/>
                      <a:pt x="124" y="43"/>
                      <a:pt x="123" y="41"/>
                    </a:cubicBezTo>
                    <a:cubicBezTo>
                      <a:pt x="122" y="39"/>
                      <a:pt x="127" y="34"/>
                      <a:pt x="129" y="32"/>
                    </a:cubicBezTo>
                    <a:cubicBezTo>
                      <a:pt x="130" y="29"/>
                      <a:pt x="123" y="26"/>
                      <a:pt x="121" y="25"/>
                    </a:cubicBezTo>
                    <a:cubicBezTo>
                      <a:pt x="119" y="24"/>
                      <a:pt x="115" y="26"/>
                      <a:pt x="113" y="25"/>
                    </a:cubicBezTo>
                    <a:cubicBezTo>
                      <a:pt x="111" y="24"/>
                      <a:pt x="108" y="25"/>
                      <a:pt x="106" y="26"/>
                    </a:cubicBezTo>
                    <a:cubicBezTo>
                      <a:pt x="105" y="27"/>
                      <a:pt x="93" y="28"/>
                      <a:pt x="93" y="24"/>
                    </a:cubicBezTo>
                    <a:cubicBezTo>
                      <a:pt x="94" y="21"/>
                      <a:pt x="89" y="20"/>
                      <a:pt x="89" y="17"/>
                    </a:cubicBezTo>
                    <a:cubicBezTo>
                      <a:pt x="90" y="15"/>
                      <a:pt x="86" y="11"/>
                      <a:pt x="82" y="10"/>
                    </a:cubicBezTo>
                    <a:cubicBezTo>
                      <a:pt x="78" y="10"/>
                      <a:pt x="79" y="3"/>
                      <a:pt x="75" y="1"/>
                    </a:cubicBezTo>
                    <a:cubicBezTo>
                      <a:pt x="74" y="0"/>
                      <a:pt x="69" y="0"/>
                      <a:pt x="66" y="1"/>
                    </a:cubicBezTo>
                    <a:cubicBezTo>
                      <a:pt x="70" y="5"/>
                      <a:pt x="71" y="7"/>
                      <a:pt x="68" y="9"/>
                    </a:cubicBezTo>
                    <a:cubicBezTo>
                      <a:pt x="65" y="12"/>
                      <a:pt x="68" y="12"/>
                      <a:pt x="62" y="21"/>
                    </a:cubicBezTo>
                    <a:cubicBezTo>
                      <a:pt x="56" y="29"/>
                      <a:pt x="45" y="31"/>
                      <a:pt x="40" y="33"/>
                    </a:cubicBezTo>
                    <a:cubicBezTo>
                      <a:pt x="35" y="34"/>
                      <a:pt x="33" y="44"/>
                      <a:pt x="30" y="51"/>
                    </a:cubicBezTo>
                    <a:cubicBezTo>
                      <a:pt x="27" y="57"/>
                      <a:pt x="25" y="55"/>
                      <a:pt x="22" y="51"/>
                    </a:cubicBezTo>
                    <a:cubicBezTo>
                      <a:pt x="19" y="47"/>
                      <a:pt x="17" y="52"/>
                      <a:pt x="13" y="49"/>
                    </a:cubicBezTo>
                    <a:cubicBezTo>
                      <a:pt x="10" y="46"/>
                      <a:pt x="11" y="46"/>
                      <a:pt x="13" y="43"/>
                    </a:cubicBezTo>
                    <a:cubicBezTo>
                      <a:pt x="14" y="42"/>
                      <a:pt x="13" y="39"/>
                      <a:pt x="11" y="37"/>
                    </a:cubicBezTo>
                    <a:cubicBezTo>
                      <a:pt x="7" y="38"/>
                      <a:pt x="3" y="43"/>
                      <a:pt x="2" y="47"/>
                    </a:cubicBezTo>
                    <a:cubicBezTo>
                      <a:pt x="0" y="51"/>
                      <a:pt x="5" y="60"/>
                      <a:pt x="6" y="63"/>
                    </a:cubicBezTo>
                    <a:cubicBezTo>
                      <a:pt x="7" y="66"/>
                      <a:pt x="3" y="63"/>
                      <a:pt x="2" y="66"/>
                    </a:cubicBezTo>
                    <a:cubicBezTo>
                      <a:pt x="2" y="68"/>
                      <a:pt x="11" y="72"/>
                      <a:pt x="15" y="75"/>
                    </a:cubicBezTo>
                    <a:cubicBezTo>
                      <a:pt x="19" y="78"/>
                      <a:pt x="22" y="87"/>
                      <a:pt x="26" y="91"/>
                    </a:cubicBezTo>
                    <a:cubicBezTo>
                      <a:pt x="30" y="95"/>
                      <a:pt x="30" y="98"/>
                      <a:pt x="34" y="108"/>
                    </a:cubicBezTo>
                    <a:cubicBezTo>
                      <a:pt x="38" y="118"/>
                      <a:pt x="46" y="134"/>
                      <a:pt x="51" y="141"/>
                    </a:cubicBezTo>
                    <a:cubicBezTo>
                      <a:pt x="57" y="148"/>
                      <a:pt x="59" y="154"/>
                      <a:pt x="58" y="156"/>
                    </a:cubicBezTo>
                    <a:cubicBezTo>
                      <a:pt x="57" y="158"/>
                      <a:pt x="58" y="163"/>
                      <a:pt x="62" y="166"/>
                    </a:cubicBezTo>
                    <a:cubicBezTo>
                      <a:pt x="66" y="169"/>
                      <a:pt x="70" y="173"/>
                      <a:pt x="80" y="179"/>
                    </a:cubicBezTo>
                    <a:cubicBezTo>
                      <a:pt x="91" y="184"/>
                      <a:pt x="110" y="194"/>
                      <a:pt x="113" y="199"/>
                    </a:cubicBezTo>
                    <a:cubicBezTo>
                      <a:pt x="115" y="203"/>
                      <a:pt x="124" y="208"/>
                      <a:pt x="126" y="209"/>
                    </a:cubicBezTo>
                    <a:cubicBezTo>
                      <a:pt x="127" y="209"/>
                      <a:pt x="127" y="210"/>
                      <a:pt x="127" y="211"/>
                    </a:cubicBezTo>
                    <a:cubicBezTo>
                      <a:pt x="128" y="210"/>
                      <a:pt x="129" y="210"/>
                      <a:pt x="129" y="209"/>
                    </a:cubicBezTo>
                    <a:cubicBezTo>
                      <a:pt x="133" y="208"/>
                      <a:pt x="133" y="202"/>
                      <a:pt x="134" y="20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0" name="Freeform 118">
                <a:extLst>
                  <a:ext uri="{FF2B5EF4-FFF2-40B4-BE49-F238E27FC236}">
                    <a16:creationId xmlns:a16="http://schemas.microsoft.com/office/drawing/2014/main" id="{C4698A6E-3BAA-4D36-BE01-8E639DA7F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9200" y="3813175"/>
                <a:ext cx="344487" cy="287338"/>
              </a:xfrm>
              <a:custGeom>
                <a:avLst/>
                <a:gdLst>
                  <a:gd name="T0" fmla="*/ 16 w 157"/>
                  <a:gd name="T1" fmla="*/ 8 h 131"/>
                  <a:gd name="T2" fmla="*/ 6 w 157"/>
                  <a:gd name="T3" fmla="*/ 21 h 131"/>
                  <a:gd name="T4" fmla="*/ 4 w 157"/>
                  <a:gd name="T5" fmla="*/ 29 h 131"/>
                  <a:gd name="T6" fmla="*/ 3 w 157"/>
                  <a:gd name="T7" fmla="*/ 35 h 131"/>
                  <a:gd name="T8" fmla="*/ 8 w 157"/>
                  <a:gd name="T9" fmla="*/ 37 h 131"/>
                  <a:gd name="T10" fmla="*/ 13 w 157"/>
                  <a:gd name="T11" fmla="*/ 44 h 131"/>
                  <a:gd name="T12" fmla="*/ 20 w 157"/>
                  <a:gd name="T13" fmla="*/ 59 h 131"/>
                  <a:gd name="T14" fmla="*/ 39 w 157"/>
                  <a:gd name="T15" fmla="*/ 61 h 131"/>
                  <a:gd name="T16" fmla="*/ 55 w 157"/>
                  <a:gd name="T17" fmla="*/ 68 h 131"/>
                  <a:gd name="T18" fmla="*/ 68 w 157"/>
                  <a:gd name="T19" fmla="*/ 71 h 131"/>
                  <a:gd name="T20" fmla="*/ 66 w 157"/>
                  <a:gd name="T21" fmla="*/ 92 h 131"/>
                  <a:gd name="T22" fmla="*/ 70 w 157"/>
                  <a:gd name="T23" fmla="*/ 101 h 131"/>
                  <a:gd name="T24" fmla="*/ 70 w 157"/>
                  <a:gd name="T25" fmla="*/ 109 h 131"/>
                  <a:gd name="T26" fmla="*/ 72 w 157"/>
                  <a:gd name="T27" fmla="*/ 115 h 131"/>
                  <a:gd name="T28" fmla="*/ 70 w 157"/>
                  <a:gd name="T29" fmla="*/ 116 h 131"/>
                  <a:gd name="T30" fmla="*/ 79 w 157"/>
                  <a:gd name="T31" fmla="*/ 127 h 131"/>
                  <a:gd name="T32" fmla="*/ 86 w 157"/>
                  <a:gd name="T33" fmla="*/ 130 h 131"/>
                  <a:gd name="T34" fmla="*/ 92 w 157"/>
                  <a:gd name="T35" fmla="*/ 129 h 131"/>
                  <a:gd name="T36" fmla="*/ 99 w 157"/>
                  <a:gd name="T37" fmla="*/ 125 h 131"/>
                  <a:gd name="T38" fmla="*/ 107 w 157"/>
                  <a:gd name="T39" fmla="*/ 121 h 131"/>
                  <a:gd name="T40" fmla="*/ 113 w 157"/>
                  <a:gd name="T41" fmla="*/ 115 h 131"/>
                  <a:gd name="T42" fmla="*/ 115 w 157"/>
                  <a:gd name="T43" fmla="*/ 110 h 131"/>
                  <a:gd name="T44" fmla="*/ 109 w 157"/>
                  <a:gd name="T45" fmla="*/ 109 h 131"/>
                  <a:gd name="T46" fmla="*/ 106 w 157"/>
                  <a:gd name="T47" fmla="*/ 102 h 131"/>
                  <a:gd name="T48" fmla="*/ 101 w 157"/>
                  <a:gd name="T49" fmla="*/ 93 h 131"/>
                  <a:gd name="T50" fmla="*/ 109 w 157"/>
                  <a:gd name="T51" fmla="*/ 92 h 131"/>
                  <a:gd name="T52" fmla="*/ 119 w 157"/>
                  <a:gd name="T53" fmla="*/ 95 h 131"/>
                  <a:gd name="T54" fmla="*/ 123 w 157"/>
                  <a:gd name="T55" fmla="*/ 96 h 131"/>
                  <a:gd name="T56" fmla="*/ 131 w 157"/>
                  <a:gd name="T57" fmla="*/ 91 h 131"/>
                  <a:gd name="T58" fmla="*/ 145 w 157"/>
                  <a:gd name="T59" fmla="*/ 86 h 131"/>
                  <a:gd name="T60" fmla="*/ 148 w 157"/>
                  <a:gd name="T61" fmla="*/ 82 h 131"/>
                  <a:gd name="T62" fmla="*/ 140 w 157"/>
                  <a:gd name="T63" fmla="*/ 73 h 131"/>
                  <a:gd name="T64" fmla="*/ 142 w 157"/>
                  <a:gd name="T65" fmla="*/ 67 h 131"/>
                  <a:gd name="T66" fmla="*/ 147 w 157"/>
                  <a:gd name="T67" fmla="*/ 62 h 131"/>
                  <a:gd name="T68" fmla="*/ 149 w 157"/>
                  <a:gd name="T69" fmla="*/ 55 h 131"/>
                  <a:gd name="T70" fmla="*/ 153 w 157"/>
                  <a:gd name="T71" fmla="*/ 48 h 131"/>
                  <a:gd name="T72" fmla="*/ 157 w 157"/>
                  <a:gd name="T73" fmla="*/ 42 h 131"/>
                  <a:gd name="T74" fmla="*/ 140 w 157"/>
                  <a:gd name="T75" fmla="*/ 41 h 131"/>
                  <a:gd name="T76" fmla="*/ 143 w 157"/>
                  <a:gd name="T77" fmla="*/ 31 h 131"/>
                  <a:gd name="T78" fmla="*/ 127 w 157"/>
                  <a:gd name="T79" fmla="*/ 25 h 131"/>
                  <a:gd name="T80" fmla="*/ 128 w 157"/>
                  <a:gd name="T81" fmla="*/ 19 h 131"/>
                  <a:gd name="T82" fmla="*/ 119 w 157"/>
                  <a:gd name="T83" fmla="*/ 16 h 131"/>
                  <a:gd name="T84" fmla="*/ 97 w 157"/>
                  <a:gd name="T85" fmla="*/ 24 h 131"/>
                  <a:gd name="T86" fmla="*/ 76 w 157"/>
                  <a:gd name="T87" fmla="*/ 18 h 131"/>
                  <a:gd name="T88" fmla="*/ 61 w 157"/>
                  <a:gd name="T89" fmla="*/ 15 h 131"/>
                  <a:gd name="T90" fmla="*/ 52 w 157"/>
                  <a:gd name="T91" fmla="*/ 6 h 131"/>
                  <a:gd name="T92" fmla="*/ 43 w 157"/>
                  <a:gd name="T93" fmla="*/ 0 h 131"/>
                  <a:gd name="T94" fmla="*/ 39 w 157"/>
                  <a:gd name="T95" fmla="*/ 7 h 131"/>
                  <a:gd name="T96" fmla="*/ 24 w 157"/>
                  <a:gd name="T97" fmla="*/ 16 h 131"/>
                  <a:gd name="T98" fmla="*/ 28 w 157"/>
                  <a:gd name="T99" fmla="*/ 33 h 131"/>
                  <a:gd name="T100" fmla="*/ 16 w 157"/>
                  <a:gd name="T101" fmla="*/ 29 h 131"/>
                  <a:gd name="T102" fmla="*/ 21 w 157"/>
                  <a:gd name="T103" fmla="*/ 14 h 131"/>
                  <a:gd name="T104" fmla="*/ 19 w 157"/>
                  <a:gd name="T105" fmla="*/ 6 h 131"/>
                  <a:gd name="T106" fmla="*/ 16 w 157"/>
                  <a:gd name="T107" fmla="*/ 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7" h="131">
                    <a:moveTo>
                      <a:pt x="16" y="8"/>
                    </a:moveTo>
                    <a:cubicBezTo>
                      <a:pt x="13" y="13"/>
                      <a:pt x="6" y="17"/>
                      <a:pt x="6" y="21"/>
                    </a:cubicBezTo>
                    <a:cubicBezTo>
                      <a:pt x="6" y="26"/>
                      <a:pt x="6" y="27"/>
                      <a:pt x="4" y="29"/>
                    </a:cubicBezTo>
                    <a:cubicBezTo>
                      <a:pt x="3" y="32"/>
                      <a:pt x="0" y="35"/>
                      <a:pt x="3" y="35"/>
                    </a:cubicBezTo>
                    <a:cubicBezTo>
                      <a:pt x="5" y="34"/>
                      <a:pt x="8" y="34"/>
                      <a:pt x="8" y="37"/>
                    </a:cubicBezTo>
                    <a:cubicBezTo>
                      <a:pt x="8" y="40"/>
                      <a:pt x="13" y="40"/>
                      <a:pt x="13" y="44"/>
                    </a:cubicBezTo>
                    <a:cubicBezTo>
                      <a:pt x="12" y="49"/>
                      <a:pt x="11" y="60"/>
                      <a:pt x="20" y="59"/>
                    </a:cubicBezTo>
                    <a:cubicBezTo>
                      <a:pt x="30" y="59"/>
                      <a:pt x="35" y="56"/>
                      <a:pt x="39" y="61"/>
                    </a:cubicBezTo>
                    <a:cubicBezTo>
                      <a:pt x="44" y="66"/>
                      <a:pt x="49" y="69"/>
                      <a:pt x="55" y="68"/>
                    </a:cubicBezTo>
                    <a:cubicBezTo>
                      <a:pt x="62" y="67"/>
                      <a:pt x="72" y="66"/>
                      <a:pt x="68" y="71"/>
                    </a:cubicBezTo>
                    <a:cubicBezTo>
                      <a:pt x="65" y="77"/>
                      <a:pt x="63" y="89"/>
                      <a:pt x="66" y="92"/>
                    </a:cubicBezTo>
                    <a:cubicBezTo>
                      <a:pt x="69" y="95"/>
                      <a:pt x="73" y="98"/>
                      <a:pt x="70" y="101"/>
                    </a:cubicBezTo>
                    <a:cubicBezTo>
                      <a:pt x="68" y="103"/>
                      <a:pt x="67" y="107"/>
                      <a:pt x="70" y="109"/>
                    </a:cubicBezTo>
                    <a:cubicBezTo>
                      <a:pt x="73" y="112"/>
                      <a:pt x="72" y="114"/>
                      <a:pt x="72" y="115"/>
                    </a:cubicBezTo>
                    <a:cubicBezTo>
                      <a:pt x="72" y="115"/>
                      <a:pt x="71" y="115"/>
                      <a:pt x="70" y="116"/>
                    </a:cubicBezTo>
                    <a:cubicBezTo>
                      <a:pt x="75" y="120"/>
                      <a:pt x="76" y="125"/>
                      <a:pt x="79" y="127"/>
                    </a:cubicBezTo>
                    <a:cubicBezTo>
                      <a:pt x="82" y="130"/>
                      <a:pt x="83" y="131"/>
                      <a:pt x="86" y="130"/>
                    </a:cubicBezTo>
                    <a:cubicBezTo>
                      <a:pt x="88" y="129"/>
                      <a:pt x="90" y="128"/>
                      <a:pt x="92" y="129"/>
                    </a:cubicBezTo>
                    <a:cubicBezTo>
                      <a:pt x="94" y="130"/>
                      <a:pt x="96" y="128"/>
                      <a:pt x="99" y="125"/>
                    </a:cubicBezTo>
                    <a:cubicBezTo>
                      <a:pt x="102" y="122"/>
                      <a:pt x="106" y="125"/>
                      <a:pt x="107" y="121"/>
                    </a:cubicBezTo>
                    <a:cubicBezTo>
                      <a:pt x="108" y="118"/>
                      <a:pt x="110" y="116"/>
                      <a:pt x="113" y="115"/>
                    </a:cubicBezTo>
                    <a:cubicBezTo>
                      <a:pt x="117" y="114"/>
                      <a:pt x="117" y="110"/>
                      <a:pt x="115" y="110"/>
                    </a:cubicBezTo>
                    <a:cubicBezTo>
                      <a:pt x="112" y="110"/>
                      <a:pt x="109" y="113"/>
                      <a:pt x="109" y="109"/>
                    </a:cubicBezTo>
                    <a:cubicBezTo>
                      <a:pt x="109" y="105"/>
                      <a:pt x="106" y="106"/>
                      <a:pt x="106" y="102"/>
                    </a:cubicBezTo>
                    <a:cubicBezTo>
                      <a:pt x="106" y="98"/>
                      <a:pt x="106" y="96"/>
                      <a:pt x="101" y="93"/>
                    </a:cubicBezTo>
                    <a:cubicBezTo>
                      <a:pt x="97" y="91"/>
                      <a:pt x="107" y="90"/>
                      <a:pt x="109" y="92"/>
                    </a:cubicBezTo>
                    <a:cubicBezTo>
                      <a:pt x="111" y="94"/>
                      <a:pt x="118" y="92"/>
                      <a:pt x="119" y="95"/>
                    </a:cubicBezTo>
                    <a:cubicBezTo>
                      <a:pt x="119" y="98"/>
                      <a:pt x="123" y="100"/>
                      <a:pt x="123" y="96"/>
                    </a:cubicBezTo>
                    <a:cubicBezTo>
                      <a:pt x="123" y="92"/>
                      <a:pt x="127" y="91"/>
                      <a:pt x="131" y="91"/>
                    </a:cubicBezTo>
                    <a:cubicBezTo>
                      <a:pt x="134" y="92"/>
                      <a:pt x="142" y="87"/>
                      <a:pt x="145" y="86"/>
                    </a:cubicBezTo>
                    <a:cubicBezTo>
                      <a:pt x="146" y="85"/>
                      <a:pt x="147" y="84"/>
                      <a:pt x="148" y="82"/>
                    </a:cubicBezTo>
                    <a:cubicBezTo>
                      <a:pt x="146" y="79"/>
                      <a:pt x="142" y="74"/>
                      <a:pt x="140" y="73"/>
                    </a:cubicBezTo>
                    <a:cubicBezTo>
                      <a:pt x="138" y="71"/>
                      <a:pt x="142" y="70"/>
                      <a:pt x="142" y="67"/>
                    </a:cubicBezTo>
                    <a:cubicBezTo>
                      <a:pt x="141" y="64"/>
                      <a:pt x="142" y="62"/>
                      <a:pt x="147" y="62"/>
                    </a:cubicBezTo>
                    <a:cubicBezTo>
                      <a:pt x="152" y="61"/>
                      <a:pt x="151" y="57"/>
                      <a:pt x="149" y="55"/>
                    </a:cubicBezTo>
                    <a:cubicBezTo>
                      <a:pt x="146" y="54"/>
                      <a:pt x="150" y="49"/>
                      <a:pt x="153" y="48"/>
                    </a:cubicBezTo>
                    <a:cubicBezTo>
                      <a:pt x="154" y="47"/>
                      <a:pt x="155" y="45"/>
                      <a:pt x="157" y="42"/>
                    </a:cubicBezTo>
                    <a:cubicBezTo>
                      <a:pt x="151" y="40"/>
                      <a:pt x="144" y="40"/>
                      <a:pt x="140" y="41"/>
                    </a:cubicBezTo>
                    <a:cubicBezTo>
                      <a:pt x="136" y="41"/>
                      <a:pt x="143" y="36"/>
                      <a:pt x="143" y="31"/>
                    </a:cubicBezTo>
                    <a:cubicBezTo>
                      <a:pt x="144" y="27"/>
                      <a:pt x="131" y="26"/>
                      <a:pt x="127" y="25"/>
                    </a:cubicBezTo>
                    <a:cubicBezTo>
                      <a:pt x="122" y="24"/>
                      <a:pt x="123" y="19"/>
                      <a:pt x="128" y="19"/>
                    </a:cubicBezTo>
                    <a:cubicBezTo>
                      <a:pt x="133" y="19"/>
                      <a:pt x="125" y="15"/>
                      <a:pt x="119" y="16"/>
                    </a:cubicBezTo>
                    <a:cubicBezTo>
                      <a:pt x="112" y="17"/>
                      <a:pt x="102" y="21"/>
                      <a:pt x="97" y="24"/>
                    </a:cubicBezTo>
                    <a:cubicBezTo>
                      <a:pt x="91" y="27"/>
                      <a:pt x="82" y="15"/>
                      <a:pt x="76" y="18"/>
                    </a:cubicBezTo>
                    <a:cubicBezTo>
                      <a:pt x="69" y="20"/>
                      <a:pt x="61" y="20"/>
                      <a:pt x="61" y="15"/>
                    </a:cubicBezTo>
                    <a:cubicBezTo>
                      <a:pt x="61" y="10"/>
                      <a:pt x="58" y="6"/>
                      <a:pt x="52" y="6"/>
                    </a:cubicBezTo>
                    <a:cubicBezTo>
                      <a:pt x="46" y="7"/>
                      <a:pt x="47" y="0"/>
                      <a:pt x="43" y="0"/>
                    </a:cubicBezTo>
                    <a:cubicBezTo>
                      <a:pt x="38" y="0"/>
                      <a:pt x="43" y="6"/>
                      <a:pt x="39" y="7"/>
                    </a:cubicBezTo>
                    <a:cubicBezTo>
                      <a:pt x="36" y="9"/>
                      <a:pt x="25" y="12"/>
                      <a:pt x="24" y="16"/>
                    </a:cubicBezTo>
                    <a:cubicBezTo>
                      <a:pt x="23" y="21"/>
                      <a:pt x="30" y="28"/>
                      <a:pt x="28" y="33"/>
                    </a:cubicBezTo>
                    <a:cubicBezTo>
                      <a:pt x="26" y="37"/>
                      <a:pt x="18" y="33"/>
                      <a:pt x="16" y="29"/>
                    </a:cubicBezTo>
                    <a:cubicBezTo>
                      <a:pt x="14" y="24"/>
                      <a:pt x="22" y="17"/>
                      <a:pt x="21" y="14"/>
                    </a:cubicBezTo>
                    <a:cubicBezTo>
                      <a:pt x="20" y="12"/>
                      <a:pt x="18" y="8"/>
                      <a:pt x="19" y="6"/>
                    </a:cubicBezTo>
                    <a:cubicBezTo>
                      <a:pt x="18" y="7"/>
                      <a:pt x="17" y="7"/>
                      <a:pt x="16" y="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1" name="Freeform 119">
                <a:extLst>
                  <a:ext uri="{FF2B5EF4-FFF2-40B4-BE49-F238E27FC236}">
                    <a16:creationId xmlns:a16="http://schemas.microsoft.com/office/drawing/2014/main" id="{6D12F047-A372-4FFA-AF22-44F1BA42D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3375" y="3960813"/>
                <a:ext cx="107950" cy="111125"/>
              </a:xfrm>
              <a:custGeom>
                <a:avLst/>
                <a:gdLst>
                  <a:gd name="T0" fmla="*/ 12 w 49"/>
                  <a:gd name="T1" fmla="*/ 11 h 51"/>
                  <a:gd name="T2" fmla="*/ 7 w 49"/>
                  <a:gd name="T3" fmla="*/ 16 h 51"/>
                  <a:gd name="T4" fmla="*/ 2 w 49"/>
                  <a:gd name="T5" fmla="*/ 26 h 51"/>
                  <a:gd name="T6" fmla="*/ 12 w 49"/>
                  <a:gd name="T7" fmla="*/ 37 h 51"/>
                  <a:gd name="T8" fmla="*/ 18 w 49"/>
                  <a:gd name="T9" fmla="*/ 50 h 51"/>
                  <a:gd name="T10" fmla="*/ 24 w 49"/>
                  <a:gd name="T11" fmla="*/ 50 h 51"/>
                  <a:gd name="T12" fmla="*/ 29 w 49"/>
                  <a:gd name="T13" fmla="*/ 43 h 51"/>
                  <a:gd name="T14" fmla="*/ 41 w 49"/>
                  <a:gd name="T15" fmla="*/ 44 h 51"/>
                  <a:gd name="T16" fmla="*/ 42 w 49"/>
                  <a:gd name="T17" fmla="*/ 45 h 51"/>
                  <a:gd name="T18" fmla="*/ 46 w 49"/>
                  <a:gd name="T19" fmla="*/ 40 h 51"/>
                  <a:gd name="T20" fmla="*/ 44 w 49"/>
                  <a:gd name="T21" fmla="*/ 25 h 51"/>
                  <a:gd name="T22" fmla="*/ 46 w 49"/>
                  <a:gd name="T23" fmla="*/ 12 h 51"/>
                  <a:gd name="T24" fmla="*/ 49 w 49"/>
                  <a:gd name="T25" fmla="*/ 6 h 51"/>
                  <a:gd name="T26" fmla="*/ 37 w 49"/>
                  <a:gd name="T27" fmla="*/ 3 h 51"/>
                  <a:gd name="T28" fmla="*/ 23 w 49"/>
                  <a:gd name="T29" fmla="*/ 3 h 51"/>
                  <a:gd name="T30" fmla="*/ 14 w 49"/>
                  <a:gd name="T31" fmla="*/ 3 h 51"/>
                  <a:gd name="T32" fmla="*/ 13 w 49"/>
                  <a:gd name="T33" fmla="*/ 3 h 51"/>
                  <a:gd name="T34" fmla="*/ 12 w 49"/>
                  <a:gd name="T35" fmla="*/ 1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51">
                    <a:moveTo>
                      <a:pt x="12" y="11"/>
                    </a:moveTo>
                    <a:cubicBezTo>
                      <a:pt x="14" y="14"/>
                      <a:pt x="10" y="16"/>
                      <a:pt x="7" y="16"/>
                    </a:cubicBezTo>
                    <a:cubicBezTo>
                      <a:pt x="3" y="16"/>
                      <a:pt x="4" y="24"/>
                      <a:pt x="2" y="26"/>
                    </a:cubicBezTo>
                    <a:cubicBezTo>
                      <a:pt x="0" y="28"/>
                      <a:pt x="10" y="33"/>
                      <a:pt x="12" y="37"/>
                    </a:cubicBezTo>
                    <a:cubicBezTo>
                      <a:pt x="13" y="40"/>
                      <a:pt x="16" y="46"/>
                      <a:pt x="18" y="50"/>
                    </a:cubicBezTo>
                    <a:cubicBezTo>
                      <a:pt x="20" y="51"/>
                      <a:pt x="23" y="51"/>
                      <a:pt x="24" y="50"/>
                    </a:cubicBezTo>
                    <a:cubicBezTo>
                      <a:pt x="27" y="49"/>
                      <a:pt x="24" y="43"/>
                      <a:pt x="29" y="43"/>
                    </a:cubicBezTo>
                    <a:cubicBezTo>
                      <a:pt x="33" y="44"/>
                      <a:pt x="39" y="41"/>
                      <a:pt x="41" y="44"/>
                    </a:cubicBezTo>
                    <a:cubicBezTo>
                      <a:pt x="41" y="44"/>
                      <a:pt x="42" y="45"/>
                      <a:pt x="42" y="45"/>
                    </a:cubicBezTo>
                    <a:cubicBezTo>
                      <a:pt x="44" y="43"/>
                      <a:pt x="45" y="41"/>
                      <a:pt x="46" y="40"/>
                    </a:cubicBezTo>
                    <a:cubicBezTo>
                      <a:pt x="46" y="38"/>
                      <a:pt x="46" y="30"/>
                      <a:pt x="44" y="25"/>
                    </a:cubicBezTo>
                    <a:cubicBezTo>
                      <a:pt x="42" y="20"/>
                      <a:pt x="44" y="14"/>
                      <a:pt x="46" y="12"/>
                    </a:cubicBezTo>
                    <a:cubicBezTo>
                      <a:pt x="47" y="11"/>
                      <a:pt x="48" y="9"/>
                      <a:pt x="49" y="6"/>
                    </a:cubicBezTo>
                    <a:cubicBezTo>
                      <a:pt x="45" y="4"/>
                      <a:pt x="41" y="3"/>
                      <a:pt x="37" y="3"/>
                    </a:cubicBezTo>
                    <a:cubicBezTo>
                      <a:pt x="31" y="4"/>
                      <a:pt x="25" y="7"/>
                      <a:pt x="23" y="3"/>
                    </a:cubicBezTo>
                    <a:cubicBezTo>
                      <a:pt x="21" y="0"/>
                      <a:pt x="17" y="1"/>
                      <a:pt x="14" y="3"/>
                    </a:cubicBezTo>
                    <a:cubicBezTo>
                      <a:pt x="14" y="3"/>
                      <a:pt x="14" y="4"/>
                      <a:pt x="13" y="3"/>
                    </a:cubicBezTo>
                    <a:cubicBezTo>
                      <a:pt x="12" y="6"/>
                      <a:pt x="11" y="9"/>
                      <a:pt x="12" y="1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2" name="Freeform 120">
                <a:extLst>
                  <a:ext uri="{FF2B5EF4-FFF2-40B4-BE49-F238E27FC236}">
                    <a16:creationId xmlns:a16="http://schemas.microsoft.com/office/drawing/2014/main" id="{05BC719C-EF7F-4A51-B2A4-5BD0E8788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2413" y="3905250"/>
                <a:ext cx="120650" cy="182563"/>
              </a:xfrm>
              <a:custGeom>
                <a:avLst/>
                <a:gdLst>
                  <a:gd name="T0" fmla="*/ 15 w 55"/>
                  <a:gd name="T1" fmla="*/ 6 h 83"/>
                  <a:gd name="T2" fmla="*/ 11 w 55"/>
                  <a:gd name="T3" fmla="*/ 13 h 83"/>
                  <a:gd name="T4" fmla="*/ 9 w 55"/>
                  <a:gd name="T5" fmla="*/ 20 h 83"/>
                  <a:gd name="T6" fmla="*/ 4 w 55"/>
                  <a:gd name="T7" fmla="*/ 25 h 83"/>
                  <a:gd name="T8" fmla="*/ 2 w 55"/>
                  <a:gd name="T9" fmla="*/ 31 h 83"/>
                  <a:gd name="T10" fmla="*/ 10 w 55"/>
                  <a:gd name="T11" fmla="*/ 40 h 83"/>
                  <a:gd name="T12" fmla="*/ 14 w 55"/>
                  <a:gd name="T13" fmla="*/ 38 h 83"/>
                  <a:gd name="T14" fmla="*/ 19 w 55"/>
                  <a:gd name="T15" fmla="*/ 47 h 83"/>
                  <a:gd name="T16" fmla="*/ 20 w 55"/>
                  <a:gd name="T17" fmla="*/ 56 h 83"/>
                  <a:gd name="T18" fmla="*/ 22 w 55"/>
                  <a:gd name="T19" fmla="*/ 76 h 83"/>
                  <a:gd name="T20" fmla="*/ 34 w 55"/>
                  <a:gd name="T21" fmla="*/ 81 h 83"/>
                  <a:gd name="T22" fmla="*/ 42 w 55"/>
                  <a:gd name="T23" fmla="*/ 78 h 83"/>
                  <a:gd name="T24" fmla="*/ 47 w 55"/>
                  <a:gd name="T25" fmla="*/ 75 h 83"/>
                  <a:gd name="T26" fmla="*/ 55 w 55"/>
                  <a:gd name="T27" fmla="*/ 75 h 83"/>
                  <a:gd name="T28" fmla="*/ 49 w 55"/>
                  <a:gd name="T29" fmla="*/ 62 h 83"/>
                  <a:gd name="T30" fmla="*/ 39 w 55"/>
                  <a:gd name="T31" fmla="*/ 51 h 83"/>
                  <a:gd name="T32" fmla="*/ 44 w 55"/>
                  <a:gd name="T33" fmla="*/ 41 h 83"/>
                  <a:gd name="T34" fmla="*/ 49 w 55"/>
                  <a:gd name="T35" fmla="*/ 36 h 83"/>
                  <a:gd name="T36" fmla="*/ 50 w 55"/>
                  <a:gd name="T37" fmla="*/ 28 h 83"/>
                  <a:gd name="T38" fmla="*/ 40 w 55"/>
                  <a:gd name="T39" fmla="*/ 19 h 83"/>
                  <a:gd name="T40" fmla="*/ 34 w 55"/>
                  <a:gd name="T41" fmla="*/ 12 h 83"/>
                  <a:gd name="T42" fmla="*/ 23 w 55"/>
                  <a:gd name="T43" fmla="*/ 3 h 83"/>
                  <a:gd name="T44" fmla="*/ 19 w 55"/>
                  <a:gd name="T45" fmla="*/ 0 h 83"/>
                  <a:gd name="T46" fmla="*/ 15 w 55"/>
                  <a:gd name="T47" fmla="*/ 6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" h="83">
                    <a:moveTo>
                      <a:pt x="15" y="6"/>
                    </a:moveTo>
                    <a:cubicBezTo>
                      <a:pt x="12" y="7"/>
                      <a:pt x="8" y="12"/>
                      <a:pt x="11" y="13"/>
                    </a:cubicBezTo>
                    <a:cubicBezTo>
                      <a:pt x="13" y="15"/>
                      <a:pt x="14" y="19"/>
                      <a:pt x="9" y="20"/>
                    </a:cubicBezTo>
                    <a:cubicBezTo>
                      <a:pt x="4" y="20"/>
                      <a:pt x="3" y="22"/>
                      <a:pt x="4" y="25"/>
                    </a:cubicBezTo>
                    <a:cubicBezTo>
                      <a:pt x="4" y="28"/>
                      <a:pt x="0" y="29"/>
                      <a:pt x="2" y="31"/>
                    </a:cubicBezTo>
                    <a:cubicBezTo>
                      <a:pt x="4" y="32"/>
                      <a:pt x="8" y="37"/>
                      <a:pt x="10" y="40"/>
                    </a:cubicBezTo>
                    <a:cubicBezTo>
                      <a:pt x="11" y="38"/>
                      <a:pt x="12" y="37"/>
                      <a:pt x="14" y="38"/>
                    </a:cubicBezTo>
                    <a:cubicBezTo>
                      <a:pt x="19" y="38"/>
                      <a:pt x="15" y="45"/>
                      <a:pt x="19" y="47"/>
                    </a:cubicBezTo>
                    <a:cubicBezTo>
                      <a:pt x="22" y="49"/>
                      <a:pt x="22" y="54"/>
                      <a:pt x="20" y="56"/>
                    </a:cubicBezTo>
                    <a:cubicBezTo>
                      <a:pt x="17" y="59"/>
                      <a:pt x="16" y="70"/>
                      <a:pt x="22" y="76"/>
                    </a:cubicBezTo>
                    <a:cubicBezTo>
                      <a:pt x="28" y="83"/>
                      <a:pt x="33" y="82"/>
                      <a:pt x="34" y="81"/>
                    </a:cubicBezTo>
                    <a:cubicBezTo>
                      <a:pt x="36" y="79"/>
                      <a:pt x="40" y="81"/>
                      <a:pt x="42" y="78"/>
                    </a:cubicBezTo>
                    <a:cubicBezTo>
                      <a:pt x="43" y="75"/>
                      <a:pt x="45" y="78"/>
                      <a:pt x="47" y="75"/>
                    </a:cubicBezTo>
                    <a:cubicBezTo>
                      <a:pt x="49" y="73"/>
                      <a:pt x="52" y="74"/>
                      <a:pt x="55" y="75"/>
                    </a:cubicBezTo>
                    <a:cubicBezTo>
                      <a:pt x="53" y="71"/>
                      <a:pt x="50" y="65"/>
                      <a:pt x="49" y="62"/>
                    </a:cubicBezTo>
                    <a:cubicBezTo>
                      <a:pt x="47" y="58"/>
                      <a:pt x="37" y="53"/>
                      <a:pt x="39" y="51"/>
                    </a:cubicBezTo>
                    <a:cubicBezTo>
                      <a:pt x="41" y="49"/>
                      <a:pt x="40" y="41"/>
                      <a:pt x="44" y="41"/>
                    </a:cubicBezTo>
                    <a:cubicBezTo>
                      <a:pt x="47" y="41"/>
                      <a:pt x="51" y="39"/>
                      <a:pt x="49" y="36"/>
                    </a:cubicBezTo>
                    <a:cubicBezTo>
                      <a:pt x="48" y="34"/>
                      <a:pt x="49" y="31"/>
                      <a:pt x="50" y="28"/>
                    </a:cubicBezTo>
                    <a:cubicBezTo>
                      <a:pt x="47" y="28"/>
                      <a:pt x="43" y="19"/>
                      <a:pt x="40" y="19"/>
                    </a:cubicBezTo>
                    <a:cubicBezTo>
                      <a:pt x="37" y="19"/>
                      <a:pt x="33" y="17"/>
                      <a:pt x="34" y="12"/>
                    </a:cubicBezTo>
                    <a:cubicBezTo>
                      <a:pt x="35" y="8"/>
                      <a:pt x="27" y="8"/>
                      <a:pt x="23" y="3"/>
                    </a:cubicBezTo>
                    <a:cubicBezTo>
                      <a:pt x="22" y="2"/>
                      <a:pt x="20" y="1"/>
                      <a:pt x="19" y="0"/>
                    </a:cubicBezTo>
                    <a:cubicBezTo>
                      <a:pt x="17" y="3"/>
                      <a:pt x="16" y="5"/>
                      <a:pt x="15" y="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3" name="Freeform 121">
                <a:extLst>
                  <a:ext uri="{FF2B5EF4-FFF2-40B4-BE49-F238E27FC236}">
                    <a16:creationId xmlns:a16="http://schemas.microsoft.com/office/drawing/2014/main" id="{E6E688A2-E96F-4C70-8629-D45CE130C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5450" y="3973513"/>
                <a:ext cx="79375" cy="93663"/>
              </a:xfrm>
              <a:custGeom>
                <a:avLst/>
                <a:gdLst>
                  <a:gd name="T0" fmla="*/ 2 w 36"/>
                  <a:gd name="T1" fmla="*/ 19 h 43"/>
                  <a:gd name="T2" fmla="*/ 4 w 36"/>
                  <a:gd name="T3" fmla="*/ 34 h 43"/>
                  <a:gd name="T4" fmla="*/ 0 w 36"/>
                  <a:gd name="T5" fmla="*/ 39 h 43"/>
                  <a:gd name="T6" fmla="*/ 10 w 36"/>
                  <a:gd name="T7" fmla="*/ 41 h 43"/>
                  <a:gd name="T8" fmla="*/ 22 w 36"/>
                  <a:gd name="T9" fmla="*/ 36 h 43"/>
                  <a:gd name="T10" fmla="*/ 36 w 36"/>
                  <a:gd name="T11" fmla="*/ 18 h 43"/>
                  <a:gd name="T12" fmla="*/ 35 w 36"/>
                  <a:gd name="T13" fmla="*/ 18 h 43"/>
                  <a:gd name="T14" fmla="*/ 16 w 36"/>
                  <a:gd name="T15" fmla="*/ 3 h 43"/>
                  <a:gd name="T16" fmla="*/ 7 w 36"/>
                  <a:gd name="T17" fmla="*/ 0 h 43"/>
                  <a:gd name="T18" fmla="*/ 4 w 36"/>
                  <a:gd name="T19" fmla="*/ 6 h 43"/>
                  <a:gd name="T20" fmla="*/ 2 w 36"/>
                  <a:gd name="T21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43">
                    <a:moveTo>
                      <a:pt x="2" y="19"/>
                    </a:moveTo>
                    <a:cubicBezTo>
                      <a:pt x="4" y="24"/>
                      <a:pt x="4" y="32"/>
                      <a:pt x="4" y="34"/>
                    </a:cubicBezTo>
                    <a:cubicBezTo>
                      <a:pt x="3" y="35"/>
                      <a:pt x="2" y="37"/>
                      <a:pt x="0" y="39"/>
                    </a:cubicBezTo>
                    <a:cubicBezTo>
                      <a:pt x="2" y="41"/>
                      <a:pt x="5" y="43"/>
                      <a:pt x="10" y="41"/>
                    </a:cubicBezTo>
                    <a:cubicBezTo>
                      <a:pt x="17" y="39"/>
                      <a:pt x="20" y="43"/>
                      <a:pt x="22" y="36"/>
                    </a:cubicBezTo>
                    <a:cubicBezTo>
                      <a:pt x="24" y="30"/>
                      <a:pt x="31" y="23"/>
                      <a:pt x="36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1" y="16"/>
                      <a:pt x="23" y="4"/>
                      <a:pt x="16" y="3"/>
                    </a:cubicBezTo>
                    <a:cubicBezTo>
                      <a:pt x="13" y="2"/>
                      <a:pt x="10" y="1"/>
                      <a:pt x="7" y="0"/>
                    </a:cubicBezTo>
                    <a:cubicBezTo>
                      <a:pt x="6" y="3"/>
                      <a:pt x="5" y="5"/>
                      <a:pt x="4" y="6"/>
                    </a:cubicBezTo>
                    <a:cubicBezTo>
                      <a:pt x="2" y="8"/>
                      <a:pt x="0" y="14"/>
                      <a:pt x="2" y="1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4" name="Freeform 122">
                <a:extLst>
                  <a:ext uri="{FF2B5EF4-FFF2-40B4-BE49-F238E27FC236}">
                    <a16:creationId xmlns:a16="http://schemas.microsoft.com/office/drawing/2014/main" id="{5315097D-4EA4-4B18-94EE-DD7F73F92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9800" y="3519488"/>
                <a:ext cx="263525" cy="93663"/>
              </a:xfrm>
              <a:custGeom>
                <a:avLst/>
                <a:gdLst>
                  <a:gd name="T0" fmla="*/ 97 w 120"/>
                  <a:gd name="T1" fmla="*/ 27 h 43"/>
                  <a:gd name="T2" fmla="*/ 42 w 120"/>
                  <a:gd name="T3" fmla="*/ 5 h 43"/>
                  <a:gd name="T4" fmla="*/ 2 w 120"/>
                  <a:gd name="T5" fmla="*/ 19 h 43"/>
                  <a:gd name="T6" fmla="*/ 22 w 120"/>
                  <a:gd name="T7" fmla="*/ 10 h 43"/>
                  <a:gd name="T8" fmla="*/ 33 w 120"/>
                  <a:gd name="T9" fmla="*/ 15 h 43"/>
                  <a:gd name="T10" fmla="*/ 52 w 120"/>
                  <a:gd name="T11" fmla="*/ 19 h 43"/>
                  <a:gd name="T12" fmla="*/ 76 w 120"/>
                  <a:gd name="T13" fmla="*/ 32 h 43"/>
                  <a:gd name="T14" fmla="*/ 81 w 120"/>
                  <a:gd name="T15" fmla="*/ 41 h 43"/>
                  <a:gd name="T16" fmla="*/ 118 w 120"/>
                  <a:gd name="T17" fmla="*/ 40 h 43"/>
                  <a:gd name="T18" fmla="*/ 97 w 120"/>
                  <a:gd name="T19" fmla="*/ 2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0" h="43">
                    <a:moveTo>
                      <a:pt x="97" y="27"/>
                    </a:moveTo>
                    <a:cubicBezTo>
                      <a:pt x="89" y="27"/>
                      <a:pt x="65" y="10"/>
                      <a:pt x="42" y="5"/>
                    </a:cubicBezTo>
                    <a:cubicBezTo>
                      <a:pt x="20" y="0"/>
                      <a:pt x="0" y="17"/>
                      <a:pt x="2" y="19"/>
                    </a:cubicBezTo>
                    <a:cubicBezTo>
                      <a:pt x="5" y="23"/>
                      <a:pt x="16" y="14"/>
                      <a:pt x="22" y="10"/>
                    </a:cubicBezTo>
                    <a:cubicBezTo>
                      <a:pt x="27" y="6"/>
                      <a:pt x="32" y="12"/>
                      <a:pt x="33" y="15"/>
                    </a:cubicBezTo>
                    <a:cubicBezTo>
                      <a:pt x="33" y="17"/>
                      <a:pt x="40" y="19"/>
                      <a:pt x="52" y="19"/>
                    </a:cubicBezTo>
                    <a:cubicBezTo>
                      <a:pt x="63" y="20"/>
                      <a:pt x="65" y="29"/>
                      <a:pt x="76" y="32"/>
                    </a:cubicBezTo>
                    <a:cubicBezTo>
                      <a:pt x="87" y="34"/>
                      <a:pt x="76" y="39"/>
                      <a:pt x="81" y="41"/>
                    </a:cubicBezTo>
                    <a:cubicBezTo>
                      <a:pt x="87" y="43"/>
                      <a:pt x="116" y="42"/>
                      <a:pt x="118" y="40"/>
                    </a:cubicBezTo>
                    <a:cubicBezTo>
                      <a:pt x="120" y="37"/>
                      <a:pt x="104" y="27"/>
                      <a:pt x="97" y="2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5" name="Freeform 123">
                <a:extLst>
                  <a:ext uri="{FF2B5EF4-FFF2-40B4-BE49-F238E27FC236}">
                    <a16:creationId xmlns:a16="http://schemas.microsoft.com/office/drawing/2014/main" id="{34172CA5-076E-481A-AFF9-969A1C9E2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200" y="3646488"/>
                <a:ext cx="58737" cy="25400"/>
              </a:xfrm>
              <a:custGeom>
                <a:avLst/>
                <a:gdLst>
                  <a:gd name="T0" fmla="*/ 2 w 27"/>
                  <a:gd name="T1" fmla="*/ 4 h 12"/>
                  <a:gd name="T2" fmla="*/ 25 w 27"/>
                  <a:gd name="T3" fmla="*/ 8 h 12"/>
                  <a:gd name="T4" fmla="*/ 2 w 27"/>
                  <a:gd name="T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12">
                    <a:moveTo>
                      <a:pt x="2" y="4"/>
                    </a:moveTo>
                    <a:cubicBezTo>
                      <a:pt x="4" y="7"/>
                      <a:pt x="23" y="12"/>
                      <a:pt x="25" y="8"/>
                    </a:cubicBezTo>
                    <a:cubicBezTo>
                      <a:pt x="27" y="3"/>
                      <a:pt x="0" y="0"/>
                      <a:pt x="2" y="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6" name="Freeform 124">
                <a:extLst>
                  <a:ext uri="{FF2B5EF4-FFF2-40B4-BE49-F238E27FC236}">
                    <a16:creationId xmlns:a16="http://schemas.microsoft.com/office/drawing/2014/main" id="{93F452F2-BD28-4F73-925D-25D3D4167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8425" y="3641725"/>
                <a:ext cx="55562" cy="30163"/>
              </a:xfrm>
              <a:custGeom>
                <a:avLst/>
                <a:gdLst>
                  <a:gd name="T0" fmla="*/ 5 w 25"/>
                  <a:gd name="T1" fmla="*/ 7 h 14"/>
                  <a:gd name="T2" fmla="*/ 23 w 25"/>
                  <a:gd name="T3" fmla="*/ 7 h 14"/>
                  <a:gd name="T4" fmla="*/ 5 w 25"/>
                  <a:gd name="T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4">
                    <a:moveTo>
                      <a:pt x="5" y="7"/>
                    </a:moveTo>
                    <a:cubicBezTo>
                      <a:pt x="9" y="14"/>
                      <a:pt x="22" y="10"/>
                      <a:pt x="23" y="7"/>
                    </a:cubicBezTo>
                    <a:cubicBezTo>
                      <a:pt x="25" y="2"/>
                      <a:pt x="0" y="0"/>
                      <a:pt x="5" y="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7" name="Freeform 125">
                <a:extLst>
                  <a:ext uri="{FF2B5EF4-FFF2-40B4-BE49-F238E27FC236}">
                    <a16:creationId xmlns:a16="http://schemas.microsoft.com/office/drawing/2014/main" id="{92A34104-71F7-4740-AAD5-4EF0C2103C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4000" y="5516563"/>
                <a:ext cx="90487" cy="39688"/>
              </a:xfrm>
              <a:custGeom>
                <a:avLst/>
                <a:gdLst>
                  <a:gd name="T0" fmla="*/ 39 w 41"/>
                  <a:gd name="T1" fmla="*/ 8 h 18"/>
                  <a:gd name="T2" fmla="*/ 20 w 41"/>
                  <a:gd name="T3" fmla="*/ 16 h 18"/>
                  <a:gd name="T4" fmla="*/ 39 w 41"/>
                  <a:gd name="T5" fmla="*/ 8 h 18"/>
                  <a:gd name="T6" fmla="*/ 18 w 41"/>
                  <a:gd name="T7" fmla="*/ 2 h 18"/>
                  <a:gd name="T8" fmla="*/ 5 w 41"/>
                  <a:gd name="T9" fmla="*/ 15 h 18"/>
                  <a:gd name="T10" fmla="*/ 18 w 41"/>
                  <a:gd name="T1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18">
                    <a:moveTo>
                      <a:pt x="39" y="8"/>
                    </a:moveTo>
                    <a:cubicBezTo>
                      <a:pt x="35" y="0"/>
                      <a:pt x="16" y="14"/>
                      <a:pt x="20" y="16"/>
                    </a:cubicBezTo>
                    <a:cubicBezTo>
                      <a:pt x="24" y="18"/>
                      <a:pt x="41" y="12"/>
                      <a:pt x="39" y="8"/>
                    </a:cubicBezTo>
                    <a:close/>
                    <a:moveTo>
                      <a:pt x="18" y="2"/>
                    </a:moveTo>
                    <a:cubicBezTo>
                      <a:pt x="13" y="1"/>
                      <a:pt x="0" y="13"/>
                      <a:pt x="5" y="15"/>
                    </a:cubicBezTo>
                    <a:cubicBezTo>
                      <a:pt x="11" y="18"/>
                      <a:pt x="24" y="3"/>
                      <a:pt x="18" y="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8" name="Freeform 126">
                <a:extLst>
                  <a:ext uri="{FF2B5EF4-FFF2-40B4-BE49-F238E27FC236}">
                    <a16:creationId xmlns:a16="http://schemas.microsoft.com/office/drawing/2014/main" id="{C13845A3-C5C2-4313-AD47-3B0967B5E4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2000" y="4078288"/>
                <a:ext cx="415925" cy="166688"/>
              </a:xfrm>
              <a:custGeom>
                <a:avLst/>
                <a:gdLst>
                  <a:gd name="T0" fmla="*/ 183 w 189"/>
                  <a:gd name="T1" fmla="*/ 20 h 76"/>
                  <a:gd name="T2" fmla="*/ 175 w 189"/>
                  <a:gd name="T3" fmla="*/ 13 h 76"/>
                  <a:gd name="T4" fmla="*/ 167 w 189"/>
                  <a:gd name="T5" fmla="*/ 13 h 76"/>
                  <a:gd name="T6" fmla="*/ 160 w 189"/>
                  <a:gd name="T7" fmla="*/ 8 h 76"/>
                  <a:gd name="T8" fmla="*/ 146 w 189"/>
                  <a:gd name="T9" fmla="*/ 0 h 76"/>
                  <a:gd name="T10" fmla="*/ 146 w 189"/>
                  <a:gd name="T11" fmla="*/ 2 h 76"/>
                  <a:gd name="T12" fmla="*/ 138 w 189"/>
                  <a:gd name="T13" fmla="*/ 6 h 76"/>
                  <a:gd name="T14" fmla="*/ 134 w 189"/>
                  <a:gd name="T15" fmla="*/ 14 h 76"/>
                  <a:gd name="T16" fmla="*/ 129 w 189"/>
                  <a:gd name="T17" fmla="*/ 21 h 76"/>
                  <a:gd name="T18" fmla="*/ 126 w 189"/>
                  <a:gd name="T19" fmla="*/ 27 h 76"/>
                  <a:gd name="T20" fmla="*/ 124 w 189"/>
                  <a:gd name="T21" fmla="*/ 35 h 76"/>
                  <a:gd name="T22" fmla="*/ 123 w 189"/>
                  <a:gd name="T23" fmla="*/ 42 h 76"/>
                  <a:gd name="T24" fmla="*/ 129 w 189"/>
                  <a:gd name="T25" fmla="*/ 48 h 76"/>
                  <a:gd name="T26" fmla="*/ 135 w 189"/>
                  <a:gd name="T27" fmla="*/ 49 h 76"/>
                  <a:gd name="T28" fmla="*/ 130 w 189"/>
                  <a:gd name="T29" fmla="*/ 56 h 76"/>
                  <a:gd name="T30" fmla="*/ 129 w 189"/>
                  <a:gd name="T31" fmla="*/ 56 h 76"/>
                  <a:gd name="T32" fmla="*/ 131 w 189"/>
                  <a:gd name="T33" fmla="*/ 62 h 76"/>
                  <a:gd name="T34" fmla="*/ 131 w 189"/>
                  <a:gd name="T35" fmla="*/ 68 h 76"/>
                  <a:gd name="T36" fmla="*/ 140 w 189"/>
                  <a:gd name="T37" fmla="*/ 70 h 76"/>
                  <a:gd name="T38" fmla="*/ 148 w 189"/>
                  <a:gd name="T39" fmla="*/ 70 h 76"/>
                  <a:gd name="T40" fmla="*/ 158 w 189"/>
                  <a:gd name="T41" fmla="*/ 52 h 76"/>
                  <a:gd name="T42" fmla="*/ 180 w 189"/>
                  <a:gd name="T43" fmla="*/ 40 h 76"/>
                  <a:gd name="T44" fmla="*/ 186 w 189"/>
                  <a:gd name="T45" fmla="*/ 28 h 76"/>
                  <a:gd name="T46" fmla="*/ 183 w 189"/>
                  <a:gd name="T47" fmla="*/ 20 h 76"/>
                  <a:gd name="T48" fmla="*/ 5 w 189"/>
                  <a:gd name="T49" fmla="*/ 16 h 76"/>
                  <a:gd name="T50" fmla="*/ 12 w 189"/>
                  <a:gd name="T51" fmla="*/ 28 h 76"/>
                  <a:gd name="T52" fmla="*/ 5 w 189"/>
                  <a:gd name="T53" fmla="*/ 1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9" h="76">
                    <a:moveTo>
                      <a:pt x="183" y="20"/>
                    </a:moveTo>
                    <a:cubicBezTo>
                      <a:pt x="179" y="15"/>
                      <a:pt x="176" y="12"/>
                      <a:pt x="175" y="13"/>
                    </a:cubicBezTo>
                    <a:cubicBezTo>
                      <a:pt x="174" y="15"/>
                      <a:pt x="170" y="15"/>
                      <a:pt x="167" y="13"/>
                    </a:cubicBezTo>
                    <a:cubicBezTo>
                      <a:pt x="163" y="12"/>
                      <a:pt x="162" y="8"/>
                      <a:pt x="160" y="8"/>
                    </a:cubicBezTo>
                    <a:cubicBezTo>
                      <a:pt x="157" y="8"/>
                      <a:pt x="150" y="4"/>
                      <a:pt x="146" y="0"/>
                    </a:cubicBezTo>
                    <a:cubicBezTo>
                      <a:pt x="146" y="1"/>
                      <a:pt x="146" y="1"/>
                      <a:pt x="146" y="2"/>
                    </a:cubicBezTo>
                    <a:cubicBezTo>
                      <a:pt x="146" y="4"/>
                      <a:pt x="142" y="6"/>
                      <a:pt x="138" y="6"/>
                    </a:cubicBezTo>
                    <a:cubicBezTo>
                      <a:pt x="134" y="6"/>
                      <a:pt x="134" y="11"/>
                      <a:pt x="134" y="14"/>
                    </a:cubicBezTo>
                    <a:cubicBezTo>
                      <a:pt x="134" y="17"/>
                      <a:pt x="131" y="17"/>
                      <a:pt x="129" y="21"/>
                    </a:cubicBezTo>
                    <a:cubicBezTo>
                      <a:pt x="128" y="24"/>
                      <a:pt x="130" y="25"/>
                      <a:pt x="126" y="27"/>
                    </a:cubicBezTo>
                    <a:cubicBezTo>
                      <a:pt x="123" y="29"/>
                      <a:pt x="122" y="32"/>
                      <a:pt x="124" y="35"/>
                    </a:cubicBezTo>
                    <a:cubicBezTo>
                      <a:pt x="126" y="38"/>
                      <a:pt x="123" y="40"/>
                      <a:pt x="123" y="42"/>
                    </a:cubicBezTo>
                    <a:cubicBezTo>
                      <a:pt x="122" y="44"/>
                      <a:pt x="126" y="45"/>
                      <a:pt x="129" y="48"/>
                    </a:cubicBezTo>
                    <a:cubicBezTo>
                      <a:pt x="133" y="51"/>
                      <a:pt x="133" y="47"/>
                      <a:pt x="135" y="49"/>
                    </a:cubicBezTo>
                    <a:cubicBezTo>
                      <a:pt x="136" y="52"/>
                      <a:pt x="134" y="56"/>
                      <a:pt x="130" y="56"/>
                    </a:cubicBezTo>
                    <a:cubicBezTo>
                      <a:pt x="130" y="56"/>
                      <a:pt x="129" y="56"/>
                      <a:pt x="129" y="56"/>
                    </a:cubicBezTo>
                    <a:cubicBezTo>
                      <a:pt x="131" y="58"/>
                      <a:pt x="132" y="61"/>
                      <a:pt x="131" y="62"/>
                    </a:cubicBezTo>
                    <a:cubicBezTo>
                      <a:pt x="129" y="65"/>
                      <a:pt x="128" y="65"/>
                      <a:pt x="131" y="68"/>
                    </a:cubicBezTo>
                    <a:cubicBezTo>
                      <a:pt x="135" y="71"/>
                      <a:pt x="137" y="66"/>
                      <a:pt x="140" y="70"/>
                    </a:cubicBezTo>
                    <a:cubicBezTo>
                      <a:pt x="143" y="74"/>
                      <a:pt x="145" y="76"/>
                      <a:pt x="148" y="70"/>
                    </a:cubicBezTo>
                    <a:cubicBezTo>
                      <a:pt x="151" y="63"/>
                      <a:pt x="153" y="53"/>
                      <a:pt x="158" y="52"/>
                    </a:cubicBezTo>
                    <a:cubicBezTo>
                      <a:pt x="163" y="50"/>
                      <a:pt x="174" y="48"/>
                      <a:pt x="180" y="40"/>
                    </a:cubicBezTo>
                    <a:cubicBezTo>
                      <a:pt x="186" y="31"/>
                      <a:pt x="183" y="31"/>
                      <a:pt x="186" y="28"/>
                    </a:cubicBezTo>
                    <a:cubicBezTo>
                      <a:pt x="189" y="26"/>
                      <a:pt x="187" y="24"/>
                      <a:pt x="183" y="20"/>
                    </a:cubicBezTo>
                    <a:close/>
                    <a:moveTo>
                      <a:pt x="5" y="16"/>
                    </a:moveTo>
                    <a:cubicBezTo>
                      <a:pt x="0" y="24"/>
                      <a:pt x="10" y="31"/>
                      <a:pt x="12" y="28"/>
                    </a:cubicBezTo>
                    <a:cubicBezTo>
                      <a:pt x="15" y="24"/>
                      <a:pt x="10" y="9"/>
                      <a:pt x="5" y="1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49" name="Freeform 127">
                <a:extLst>
                  <a:ext uri="{FF2B5EF4-FFF2-40B4-BE49-F238E27FC236}">
                    <a16:creationId xmlns:a16="http://schemas.microsoft.com/office/drawing/2014/main" id="{07A58983-D96F-476C-B023-C893804CE7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1425" y="1274763"/>
                <a:ext cx="1514475" cy="1133475"/>
              </a:xfrm>
              <a:custGeom>
                <a:avLst/>
                <a:gdLst>
                  <a:gd name="T0" fmla="*/ 606 w 690"/>
                  <a:gd name="T1" fmla="*/ 60 h 516"/>
                  <a:gd name="T2" fmla="*/ 555 w 690"/>
                  <a:gd name="T3" fmla="*/ 83 h 516"/>
                  <a:gd name="T4" fmla="*/ 552 w 690"/>
                  <a:gd name="T5" fmla="*/ 52 h 516"/>
                  <a:gd name="T6" fmla="*/ 494 w 690"/>
                  <a:gd name="T7" fmla="*/ 48 h 516"/>
                  <a:gd name="T8" fmla="*/ 551 w 690"/>
                  <a:gd name="T9" fmla="*/ 39 h 516"/>
                  <a:gd name="T10" fmla="*/ 546 w 690"/>
                  <a:gd name="T11" fmla="*/ 17 h 516"/>
                  <a:gd name="T12" fmla="*/ 466 w 690"/>
                  <a:gd name="T13" fmla="*/ 1 h 516"/>
                  <a:gd name="T14" fmla="*/ 392 w 690"/>
                  <a:gd name="T15" fmla="*/ 10 h 516"/>
                  <a:gd name="T16" fmla="*/ 336 w 690"/>
                  <a:gd name="T17" fmla="*/ 11 h 516"/>
                  <a:gd name="T18" fmla="*/ 290 w 690"/>
                  <a:gd name="T19" fmla="*/ 32 h 516"/>
                  <a:gd name="T20" fmla="*/ 279 w 690"/>
                  <a:gd name="T21" fmla="*/ 38 h 516"/>
                  <a:gd name="T22" fmla="*/ 247 w 690"/>
                  <a:gd name="T23" fmla="*/ 47 h 516"/>
                  <a:gd name="T24" fmla="*/ 216 w 690"/>
                  <a:gd name="T25" fmla="*/ 58 h 516"/>
                  <a:gd name="T26" fmla="*/ 162 w 690"/>
                  <a:gd name="T27" fmla="*/ 48 h 516"/>
                  <a:gd name="T28" fmla="*/ 133 w 690"/>
                  <a:gd name="T29" fmla="*/ 70 h 516"/>
                  <a:gd name="T30" fmla="*/ 88 w 690"/>
                  <a:gd name="T31" fmla="*/ 99 h 516"/>
                  <a:gd name="T32" fmla="*/ 0 w 690"/>
                  <a:gd name="T33" fmla="*/ 143 h 516"/>
                  <a:gd name="T34" fmla="*/ 56 w 690"/>
                  <a:gd name="T35" fmla="*/ 159 h 516"/>
                  <a:gd name="T36" fmla="*/ 16 w 690"/>
                  <a:gd name="T37" fmla="*/ 173 h 516"/>
                  <a:gd name="T38" fmla="*/ 50 w 690"/>
                  <a:gd name="T39" fmla="*/ 194 h 516"/>
                  <a:gd name="T40" fmla="*/ 94 w 690"/>
                  <a:gd name="T41" fmla="*/ 192 h 516"/>
                  <a:gd name="T42" fmla="*/ 162 w 690"/>
                  <a:gd name="T43" fmla="*/ 211 h 516"/>
                  <a:gd name="T44" fmla="*/ 196 w 690"/>
                  <a:gd name="T45" fmla="*/ 257 h 516"/>
                  <a:gd name="T46" fmla="*/ 202 w 690"/>
                  <a:gd name="T47" fmla="*/ 298 h 516"/>
                  <a:gd name="T48" fmla="*/ 244 w 690"/>
                  <a:gd name="T49" fmla="*/ 312 h 516"/>
                  <a:gd name="T50" fmla="*/ 240 w 690"/>
                  <a:gd name="T51" fmla="*/ 328 h 516"/>
                  <a:gd name="T52" fmla="*/ 233 w 690"/>
                  <a:gd name="T53" fmla="*/ 356 h 516"/>
                  <a:gd name="T54" fmla="*/ 226 w 690"/>
                  <a:gd name="T55" fmla="*/ 391 h 516"/>
                  <a:gd name="T56" fmla="*/ 235 w 690"/>
                  <a:gd name="T57" fmla="*/ 436 h 516"/>
                  <a:gd name="T58" fmla="*/ 256 w 690"/>
                  <a:gd name="T59" fmla="*/ 463 h 516"/>
                  <a:gd name="T60" fmla="*/ 287 w 690"/>
                  <a:gd name="T61" fmla="*/ 499 h 516"/>
                  <a:gd name="T62" fmla="*/ 331 w 690"/>
                  <a:gd name="T63" fmla="*/ 515 h 516"/>
                  <a:gd name="T64" fmla="*/ 344 w 690"/>
                  <a:gd name="T65" fmla="*/ 471 h 516"/>
                  <a:gd name="T66" fmla="*/ 363 w 690"/>
                  <a:gd name="T67" fmla="*/ 449 h 516"/>
                  <a:gd name="T68" fmla="*/ 365 w 690"/>
                  <a:gd name="T69" fmla="*/ 428 h 516"/>
                  <a:gd name="T70" fmla="*/ 384 w 690"/>
                  <a:gd name="T71" fmla="*/ 414 h 516"/>
                  <a:gd name="T72" fmla="*/ 401 w 690"/>
                  <a:gd name="T73" fmla="*/ 410 h 516"/>
                  <a:gd name="T74" fmla="*/ 461 w 690"/>
                  <a:gd name="T75" fmla="*/ 370 h 516"/>
                  <a:gd name="T76" fmla="*/ 499 w 690"/>
                  <a:gd name="T77" fmla="*/ 359 h 516"/>
                  <a:gd name="T78" fmla="*/ 576 w 690"/>
                  <a:gd name="T79" fmla="*/ 326 h 516"/>
                  <a:gd name="T80" fmla="*/ 534 w 690"/>
                  <a:gd name="T81" fmla="*/ 316 h 516"/>
                  <a:gd name="T82" fmla="*/ 577 w 690"/>
                  <a:gd name="T83" fmla="*/ 319 h 516"/>
                  <a:gd name="T84" fmla="*/ 568 w 690"/>
                  <a:gd name="T85" fmla="*/ 280 h 516"/>
                  <a:gd name="T86" fmla="*/ 547 w 690"/>
                  <a:gd name="T87" fmla="*/ 261 h 516"/>
                  <a:gd name="T88" fmla="*/ 595 w 690"/>
                  <a:gd name="T89" fmla="*/ 254 h 516"/>
                  <a:gd name="T90" fmla="*/ 608 w 690"/>
                  <a:gd name="T91" fmla="*/ 230 h 516"/>
                  <a:gd name="T92" fmla="*/ 602 w 690"/>
                  <a:gd name="T93" fmla="*/ 194 h 516"/>
                  <a:gd name="T94" fmla="*/ 589 w 690"/>
                  <a:gd name="T95" fmla="*/ 178 h 516"/>
                  <a:gd name="T96" fmla="*/ 594 w 690"/>
                  <a:gd name="T97" fmla="*/ 162 h 516"/>
                  <a:gd name="T98" fmla="*/ 578 w 690"/>
                  <a:gd name="T99" fmla="*/ 154 h 516"/>
                  <a:gd name="T100" fmla="*/ 624 w 690"/>
                  <a:gd name="T101" fmla="*/ 107 h 516"/>
                  <a:gd name="T102" fmla="*/ 613 w 690"/>
                  <a:gd name="T103" fmla="*/ 94 h 516"/>
                  <a:gd name="T104" fmla="*/ 626 w 690"/>
                  <a:gd name="T105" fmla="*/ 82 h 516"/>
                  <a:gd name="T106" fmla="*/ 690 w 690"/>
                  <a:gd name="T107" fmla="*/ 59 h 516"/>
                  <a:gd name="T108" fmla="*/ 227 w 690"/>
                  <a:gd name="T109" fmla="*/ 330 h 516"/>
                  <a:gd name="T110" fmla="*/ 216 w 690"/>
                  <a:gd name="T111" fmla="*/ 343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90" h="516">
                    <a:moveTo>
                      <a:pt x="652" y="48"/>
                    </a:moveTo>
                    <a:cubicBezTo>
                      <a:pt x="639" y="48"/>
                      <a:pt x="629" y="50"/>
                      <a:pt x="629" y="58"/>
                    </a:cubicBezTo>
                    <a:cubicBezTo>
                      <a:pt x="628" y="67"/>
                      <a:pt x="612" y="57"/>
                      <a:pt x="606" y="60"/>
                    </a:cubicBezTo>
                    <a:cubicBezTo>
                      <a:pt x="599" y="63"/>
                      <a:pt x="602" y="53"/>
                      <a:pt x="596" y="56"/>
                    </a:cubicBezTo>
                    <a:cubicBezTo>
                      <a:pt x="589" y="59"/>
                      <a:pt x="582" y="67"/>
                      <a:pt x="574" y="71"/>
                    </a:cubicBezTo>
                    <a:cubicBezTo>
                      <a:pt x="566" y="74"/>
                      <a:pt x="560" y="82"/>
                      <a:pt x="555" y="83"/>
                    </a:cubicBezTo>
                    <a:cubicBezTo>
                      <a:pt x="550" y="84"/>
                      <a:pt x="565" y="68"/>
                      <a:pt x="573" y="60"/>
                    </a:cubicBezTo>
                    <a:cubicBezTo>
                      <a:pt x="581" y="52"/>
                      <a:pt x="577" y="42"/>
                      <a:pt x="566" y="43"/>
                    </a:cubicBezTo>
                    <a:cubicBezTo>
                      <a:pt x="556" y="44"/>
                      <a:pt x="558" y="51"/>
                      <a:pt x="552" y="52"/>
                    </a:cubicBezTo>
                    <a:cubicBezTo>
                      <a:pt x="546" y="54"/>
                      <a:pt x="517" y="68"/>
                      <a:pt x="516" y="64"/>
                    </a:cubicBezTo>
                    <a:cubicBezTo>
                      <a:pt x="515" y="59"/>
                      <a:pt x="540" y="52"/>
                      <a:pt x="539" y="49"/>
                    </a:cubicBezTo>
                    <a:cubicBezTo>
                      <a:pt x="539" y="46"/>
                      <a:pt x="508" y="46"/>
                      <a:pt x="494" y="48"/>
                    </a:cubicBezTo>
                    <a:cubicBezTo>
                      <a:pt x="480" y="50"/>
                      <a:pt x="455" y="58"/>
                      <a:pt x="455" y="54"/>
                    </a:cubicBezTo>
                    <a:cubicBezTo>
                      <a:pt x="454" y="50"/>
                      <a:pt x="483" y="44"/>
                      <a:pt x="498" y="42"/>
                    </a:cubicBezTo>
                    <a:cubicBezTo>
                      <a:pt x="513" y="41"/>
                      <a:pt x="540" y="43"/>
                      <a:pt x="551" y="39"/>
                    </a:cubicBezTo>
                    <a:cubicBezTo>
                      <a:pt x="562" y="34"/>
                      <a:pt x="579" y="34"/>
                      <a:pt x="582" y="30"/>
                    </a:cubicBezTo>
                    <a:cubicBezTo>
                      <a:pt x="585" y="26"/>
                      <a:pt x="569" y="21"/>
                      <a:pt x="561" y="22"/>
                    </a:cubicBezTo>
                    <a:cubicBezTo>
                      <a:pt x="553" y="22"/>
                      <a:pt x="545" y="21"/>
                      <a:pt x="546" y="17"/>
                    </a:cubicBezTo>
                    <a:cubicBezTo>
                      <a:pt x="547" y="13"/>
                      <a:pt x="534" y="12"/>
                      <a:pt x="532" y="9"/>
                    </a:cubicBezTo>
                    <a:cubicBezTo>
                      <a:pt x="531" y="6"/>
                      <a:pt x="506" y="8"/>
                      <a:pt x="501" y="5"/>
                    </a:cubicBezTo>
                    <a:cubicBezTo>
                      <a:pt x="495" y="2"/>
                      <a:pt x="480" y="0"/>
                      <a:pt x="466" y="1"/>
                    </a:cubicBezTo>
                    <a:cubicBezTo>
                      <a:pt x="453" y="2"/>
                      <a:pt x="426" y="2"/>
                      <a:pt x="419" y="2"/>
                    </a:cubicBezTo>
                    <a:cubicBezTo>
                      <a:pt x="413" y="3"/>
                      <a:pt x="409" y="5"/>
                      <a:pt x="403" y="5"/>
                    </a:cubicBezTo>
                    <a:cubicBezTo>
                      <a:pt x="398" y="5"/>
                      <a:pt x="389" y="7"/>
                      <a:pt x="392" y="10"/>
                    </a:cubicBezTo>
                    <a:cubicBezTo>
                      <a:pt x="398" y="17"/>
                      <a:pt x="383" y="20"/>
                      <a:pt x="384" y="15"/>
                    </a:cubicBezTo>
                    <a:cubicBezTo>
                      <a:pt x="385" y="10"/>
                      <a:pt x="371" y="7"/>
                      <a:pt x="367" y="11"/>
                    </a:cubicBezTo>
                    <a:cubicBezTo>
                      <a:pt x="362" y="15"/>
                      <a:pt x="340" y="7"/>
                      <a:pt x="336" y="11"/>
                    </a:cubicBezTo>
                    <a:cubicBezTo>
                      <a:pt x="333" y="15"/>
                      <a:pt x="307" y="14"/>
                      <a:pt x="299" y="15"/>
                    </a:cubicBezTo>
                    <a:cubicBezTo>
                      <a:pt x="291" y="17"/>
                      <a:pt x="311" y="22"/>
                      <a:pt x="310" y="26"/>
                    </a:cubicBezTo>
                    <a:cubicBezTo>
                      <a:pt x="310" y="29"/>
                      <a:pt x="285" y="26"/>
                      <a:pt x="290" y="32"/>
                    </a:cubicBezTo>
                    <a:cubicBezTo>
                      <a:pt x="295" y="38"/>
                      <a:pt x="311" y="42"/>
                      <a:pt x="319" y="50"/>
                    </a:cubicBezTo>
                    <a:cubicBezTo>
                      <a:pt x="327" y="57"/>
                      <a:pt x="313" y="53"/>
                      <a:pt x="304" y="47"/>
                    </a:cubicBezTo>
                    <a:cubicBezTo>
                      <a:pt x="296" y="41"/>
                      <a:pt x="285" y="43"/>
                      <a:pt x="279" y="38"/>
                    </a:cubicBezTo>
                    <a:cubicBezTo>
                      <a:pt x="274" y="32"/>
                      <a:pt x="254" y="28"/>
                      <a:pt x="249" y="31"/>
                    </a:cubicBezTo>
                    <a:cubicBezTo>
                      <a:pt x="243" y="35"/>
                      <a:pt x="263" y="42"/>
                      <a:pt x="263" y="47"/>
                    </a:cubicBezTo>
                    <a:cubicBezTo>
                      <a:pt x="263" y="51"/>
                      <a:pt x="249" y="46"/>
                      <a:pt x="247" y="47"/>
                    </a:cubicBezTo>
                    <a:cubicBezTo>
                      <a:pt x="245" y="49"/>
                      <a:pt x="233" y="36"/>
                      <a:pt x="226" y="36"/>
                    </a:cubicBezTo>
                    <a:cubicBezTo>
                      <a:pt x="220" y="36"/>
                      <a:pt x="225" y="42"/>
                      <a:pt x="225" y="50"/>
                    </a:cubicBezTo>
                    <a:cubicBezTo>
                      <a:pt x="225" y="59"/>
                      <a:pt x="212" y="64"/>
                      <a:pt x="216" y="58"/>
                    </a:cubicBezTo>
                    <a:cubicBezTo>
                      <a:pt x="220" y="52"/>
                      <a:pt x="217" y="38"/>
                      <a:pt x="210" y="35"/>
                    </a:cubicBezTo>
                    <a:cubicBezTo>
                      <a:pt x="203" y="32"/>
                      <a:pt x="185" y="41"/>
                      <a:pt x="176" y="40"/>
                    </a:cubicBezTo>
                    <a:cubicBezTo>
                      <a:pt x="166" y="40"/>
                      <a:pt x="154" y="43"/>
                      <a:pt x="162" y="48"/>
                    </a:cubicBezTo>
                    <a:cubicBezTo>
                      <a:pt x="170" y="52"/>
                      <a:pt x="162" y="55"/>
                      <a:pt x="155" y="50"/>
                    </a:cubicBezTo>
                    <a:cubicBezTo>
                      <a:pt x="148" y="45"/>
                      <a:pt x="125" y="50"/>
                      <a:pt x="129" y="53"/>
                    </a:cubicBezTo>
                    <a:cubicBezTo>
                      <a:pt x="134" y="57"/>
                      <a:pt x="136" y="66"/>
                      <a:pt x="133" y="70"/>
                    </a:cubicBezTo>
                    <a:cubicBezTo>
                      <a:pt x="130" y="74"/>
                      <a:pt x="120" y="66"/>
                      <a:pt x="111" y="67"/>
                    </a:cubicBezTo>
                    <a:cubicBezTo>
                      <a:pt x="102" y="68"/>
                      <a:pt x="57" y="89"/>
                      <a:pt x="60" y="95"/>
                    </a:cubicBezTo>
                    <a:cubicBezTo>
                      <a:pt x="63" y="100"/>
                      <a:pt x="82" y="96"/>
                      <a:pt x="88" y="99"/>
                    </a:cubicBezTo>
                    <a:cubicBezTo>
                      <a:pt x="94" y="102"/>
                      <a:pt x="86" y="115"/>
                      <a:pt x="78" y="120"/>
                    </a:cubicBezTo>
                    <a:cubicBezTo>
                      <a:pt x="71" y="125"/>
                      <a:pt x="44" y="120"/>
                      <a:pt x="43" y="126"/>
                    </a:cubicBezTo>
                    <a:cubicBezTo>
                      <a:pt x="42" y="132"/>
                      <a:pt x="0" y="133"/>
                      <a:pt x="0" y="143"/>
                    </a:cubicBezTo>
                    <a:cubicBezTo>
                      <a:pt x="0" y="146"/>
                      <a:pt x="2" y="150"/>
                      <a:pt x="7" y="151"/>
                    </a:cubicBezTo>
                    <a:cubicBezTo>
                      <a:pt x="13" y="152"/>
                      <a:pt x="20" y="150"/>
                      <a:pt x="25" y="156"/>
                    </a:cubicBezTo>
                    <a:cubicBezTo>
                      <a:pt x="31" y="162"/>
                      <a:pt x="46" y="163"/>
                      <a:pt x="56" y="159"/>
                    </a:cubicBezTo>
                    <a:cubicBezTo>
                      <a:pt x="66" y="155"/>
                      <a:pt x="74" y="159"/>
                      <a:pt x="74" y="165"/>
                    </a:cubicBezTo>
                    <a:cubicBezTo>
                      <a:pt x="73" y="171"/>
                      <a:pt x="50" y="163"/>
                      <a:pt x="43" y="167"/>
                    </a:cubicBezTo>
                    <a:cubicBezTo>
                      <a:pt x="36" y="172"/>
                      <a:pt x="15" y="168"/>
                      <a:pt x="16" y="173"/>
                    </a:cubicBezTo>
                    <a:cubicBezTo>
                      <a:pt x="17" y="177"/>
                      <a:pt x="27" y="176"/>
                      <a:pt x="36" y="178"/>
                    </a:cubicBezTo>
                    <a:cubicBezTo>
                      <a:pt x="45" y="180"/>
                      <a:pt x="37" y="183"/>
                      <a:pt x="36" y="187"/>
                    </a:cubicBezTo>
                    <a:cubicBezTo>
                      <a:pt x="36" y="191"/>
                      <a:pt x="41" y="190"/>
                      <a:pt x="50" y="194"/>
                    </a:cubicBezTo>
                    <a:cubicBezTo>
                      <a:pt x="58" y="199"/>
                      <a:pt x="73" y="201"/>
                      <a:pt x="68" y="196"/>
                    </a:cubicBezTo>
                    <a:cubicBezTo>
                      <a:pt x="63" y="191"/>
                      <a:pt x="77" y="192"/>
                      <a:pt x="79" y="195"/>
                    </a:cubicBezTo>
                    <a:cubicBezTo>
                      <a:pt x="82" y="198"/>
                      <a:pt x="88" y="191"/>
                      <a:pt x="94" y="192"/>
                    </a:cubicBezTo>
                    <a:cubicBezTo>
                      <a:pt x="101" y="194"/>
                      <a:pt x="103" y="186"/>
                      <a:pt x="108" y="190"/>
                    </a:cubicBezTo>
                    <a:cubicBezTo>
                      <a:pt x="113" y="193"/>
                      <a:pt x="136" y="195"/>
                      <a:pt x="144" y="199"/>
                    </a:cubicBezTo>
                    <a:cubicBezTo>
                      <a:pt x="152" y="204"/>
                      <a:pt x="163" y="205"/>
                      <a:pt x="162" y="211"/>
                    </a:cubicBezTo>
                    <a:cubicBezTo>
                      <a:pt x="161" y="217"/>
                      <a:pt x="169" y="222"/>
                      <a:pt x="178" y="226"/>
                    </a:cubicBezTo>
                    <a:cubicBezTo>
                      <a:pt x="187" y="230"/>
                      <a:pt x="189" y="239"/>
                      <a:pt x="188" y="244"/>
                    </a:cubicBezTo>
                    <a:cubicBezTo>
                      <a:pt x="188" y="250"/>
                      <a:pt x="198" y="254"/>
                      <a:pt x="196" y="257"/>
                    </a:cubicBezTo>
                    <a:cubicBezTo>
                      <a:pt x="195" y="259"/>
                      <a:pt x="196" y="263"/>
                      <a:pt x="202" y="268"/>
                    </a:cubicBezTo>
                    <a:cubicBezTo>
                      <a:pt x="208" y="274"/>
                      <a:pt x="193" y="278"/>
                      <a:pt x="196" y="282"/>
                    </a:cubicBezTo>
                    <a:cubicBezTo>
                      <a:pt x="200" y="287"/>
                      <a:pt x="191" y="296"/>
                      <a:pt x="202" y="298"/>
                    </a:cubicBezTo>
                    <a:cubicBezTo>
                      <a:pt x="212" y="299"/>
                      <a:pt x="211" y="290"/>
                      <a:pt x="219" y="290"/>
                    </a:cubicBezTo>
                    <a:cubicBezTo>
                      <a:pt x="227" y="290"/>
                      <a:pt x="218" y="297"/>
                      <a:pt x="223" y="302"/>
                    </a:cubicBezTo>
                    <a:cubicBezTo>
                      <a:pt x="227" y="306"/>
                      <a:pt x="236" y="305"/>
                      <a:pt x="244" y="312"/>
                    </a:cubicBezTo>
                    <a:cubicBezTo>
                      <a:pt x="253" y="319"/>
                      <a:pt x="247" y="322"/>
                      <a:pt x="240" y="317"/>
                    </a:cubicBezTo>
                    <a:cubicBezTo>
                      <a:pt x="232" y="311"/>
                      <a:pt x="210" y="312"/>
                      <a:pt x="210" y="314"/>
                    </a:cubicBezTo>
                    <a:cubicBezTo>
                      <a:pt x="210" y="316"/>
                      <a:pt x="234" y="330"/>
                      <a:pt x="240" y="328"/>
                    </a:cubicBezTo>
                    <a:cubicBezTo>
                      <a:pt x="246" y="326"/>
                      <a:pt x="253" y="337"/>
                      <a:pt x="250" y="340"/>
                    </a:cubicBezTo>
                    <a:cubicBezTo>
                      <a:pt x="247" y="343"/>
                      <a:pt x="248" y="352"/>
                      <a:pt x="248" y="356"/>
                    </a:cubicBezTo>
                    <a:cubicBezTo>
                      <a:pt x="247" y="360"/>
                      <a:pt x="239" y="356"/>
                      <a:pt x="233" y="356"/>
                    </a:cubicBezTo>
                    <a:cubicBezTo>
                      <a:pt x="228" y="357"/>
                      <a:pt x="224" y="359"/>
                      <a:pt x="224" y="364"/>
                    </a:cubicBezTo>
                    <a:cubicBezTo>
                      <a:pt x="224" y="370"/>
                      <a:pt x="216" y="374"/>
                      <a:pt x="215" y="381"/>
                    </a:cubicBezTo>
                    <a:cubicBezTo>
                      <a:pt x="214" y="388"/>
                      <a:pt x="222" y="388"/>
                      <a:pt x="226" y="391"/>
                    </a:cubicBezTo>
                    <a:cubicBezTo>
                      <a:pt x="230" y="394"/>
                      <a:pt x="218" y="396"/>
                      <a:pt x="217" y="401"/>
                    </a:cubicBezTo>
                    <a:cubicBezTo>
                      <a:pt x="217" y="406"/>
                      <a:pt x="229" y="415"/>
                      <a:pt x="233" y="417"/>
                    </a:cubicBezTo>
                    <a:cubicBezTo>
                      <a:pt x="237" y="419"/>
                      <a:pt x="233" y="431"/>
                      <a:pt x="235" y="436"/>
                    </a:cubicBezTo>
                    <a:cubicBezTo>
                      <a:pt x="237" y="442"/>
                      <a:pt x="242" y="435"/>
                      <a:pt x="242" y="442"/>
                    </a:cubicBezTo>
                    <a:cubicBezTo>
                      <a:pt x="241" y="450"/>
                      <a:pt x="247" y="449"/>
                      <a:pt x="247" y="454"/>
                    </a:cubicBezTo>
                    <a:cubicBezTo>
                      <a:pt x="248" y="458"/>
                      <a:pt x="258" y="457"/>
                      <a:pt x="256" y="463"/>
                    </a:cubicBezTo>
                    <a:cubicBezTo>
                      <a:pt x="254" y="469"/>
                      <a:pt x="259" y="474"/>
                      <a:pt x="261" y="477"/>
                    </a:cubicBezTo>
                    <a:cubicBezTo>
                      <a:pt x="264" y="480"/>
                      <a:pt x="272" y="486"/>
                      <a:pt x="274" y="490"/>
                    </a:cubicBezTo>
                    <a:cubicBezTo>
                      <a:pt x="276" y="495"/>
                      <a:pt x="281" y="500"/>
                      <a:pt x="287" y="499"/>
                    </a:cubicBezTo>
                    <a:cubicBezTo>
                      <a:pt x="293" y="497"/>
                      <a:pt x="293" y="503"/>
                      <a:pt x="298" y="502"/>
                    </a:cubicBezTo>
                    <a:cubicBezTo>
                      <a:pt x="302" y="501"/>
                      <a:pt x="310" y="504"/>
                      <a:pt x="311" y="508"/>
                    </a:cubicBezTo>
                    <a:cubicBezTo>
                      <a:pt x="312" y="511"/>
                      <a:pt x="327" y="515"/>
                      <a:pt x="331" y="515"/>
                    </a:cubicBezTo>
                    <a:cubicBezTo>
                      <a:pt x="335" y="516"/>
                      <a:pt x="335" y="509"/>
                      <a:pt x="339" y="507"/>
                    </a:cubicBezTo>
                    <a:cubicBezTo>
                      <a:pt x="343" y="505"/>
                      <a:pt x="341" y="490"/>
                      <a:pt x="345" y="489"/>
                    </a:cubicBezTo>
                    <a:cubicBezTo>
                      <a:pt x="348" y="488"/>
                      <a:pt x="347" y="473"/>
                      <a:pt x="344" y="471"/>
                    </a:cubicBezTo>
                    <a:cubicBezTo>
                      <a:pt x="340" y="470"/>
                      <a:pt x="342" y="465"/>
                      <a:pt x="349" y="466"/>
                    </a:cubicBezTo>
                    <a:cubicBezTo>
                      <a:pt x="357" y="467"/>
                      <a:pt x="354" y="459"/>
                      <a:pt x="358" y="458"/>
                    </a:cubicBezTo>
                    <a:cubicBezTo>
                      <a:pt x="362" y="457"/>
                      <a:pt x="360" y="450"/>
                      <a:pt x="363" y="449"/>
                    </a:cubicBezTo>
                    <a:cubicBezTo>
                      <a:pt x="365" y="449"/>
                      <a:pt x="365" y="444"/>
                      <a:pt x="363" y="441"/>
                    </a:cubicBezTo>
                    <a:cubicBezTo>
                      <a:pt x="361" y="439"/>
                      <a:pt x="363" y="437"/>
                      <a:pt x="367" y="436"/>
                    </a:cubicBezTo>
                    <a:cubicBezTo>
                      <a:pt x="371" y="435"/>
                      <a:pt x="370" y="430"/>
                      <a:pt x="365" y="428"/>
                    </a:cubicBezTo>
                    <a:cubicBezTo>
                      <a:pt x="360" y="426"/>
                      <a:pt x="361" y="420"/>
                      <a:pt x="367" y="423"/>
                    </a:cubicBezTo>
                    <a:cubicBezTo>
                      <a:pt x="372" y="427"/>
                      <a:pt x="376" y="424"/>
                      <a:pt x="373" y="420"/>
                    </a:cubicBezTo>
                    <a:cubicBezTo>
                      <a:pt x="370" y="416"/>
                      <a:pt x="377" y="414"/>
                      <a:pt x="384" y="414"/>
                    </a:cubicBezTo>
                    <a:cubicBezTo>
                      <a:pt x="391" y="413"/>
                      <a:pt x="394" y="409"/>
                      <a:pt x="393" y="404"/>
                    </a:cubicBezTo>
                    <a:cubicBezTo>
                      <a:pt x="392" y="399"/>
                      <a:pt x="401" y="399"/>
                      <a:pt x="399" y="404"/>
                    </a:cubicBezTo>
                    <a:cubicBezTo>
                      <a:pt x="396" y="408"/>
                      <a:pt x="398" y="413"/>
                      <a:pt x="401" y="410"/>
                    </a:cubicBezTo>
                    <a:cubicBezTo>
                      <a:pt x="404" y="406"/>
                      <a:pt x="411" y="409"/>
                      <a:pt x="422" y="405"/>
                    </a:cubicBezTo>
                    <a:cubicBezTo>
                      <a:pt x="433" y="402"/>
                      <a:pt x="444" y="393"/>
                      <a:pt x="447" y="384"/>
                    </a:cubicBezTo>
                    <a:cubicBezTo>
                      <a:pt x="450" y="375"/>
                      <a:pt x="463" y="376"/>
                      <a:pt x="461" y="370"/>
                    </a:cubicBezTo>
                    <a:cubicBezTo>
                      <a:pt x="459" y="364"/>
                      <a:pt x="463" y="361"/>
                      <a:pt x="472" y="365"/>
                    </a:cubicBezTo>
                    <a:cubicBezTo>
                      <a:pt x="480" y="369"/>
                      <a:pt x="473" y="363"/>
                      <a:pt x="483" y="363"/>
                    </a:cubicBezTo>
                    <a:cubicBezTo>
                      <a:pt x="492" y="363"/>
                      <a:pt x="490" y="359"/>
                      <a:pt x="499" y="359"/>
                    </a:cubicBezTo>
                    <a:cubicBezTo>
                      <a:pt x="508" y="359"/>
                      <a:pt x="532" y="355"/>
                      <a:pt x="540" y="348"/>
                    </a:cubicBezTo>
                    <a:cubicBezTo>
                      <a:pt x="548" y="341"/>
                      <a:pt x="565" y="336"/>
                      <a:pt x="572" y="331"/>
                    </a:cubicBezTo>
                    <a:cubicBezTo>
                      <a:pt x="579" y="327"/>
                      <a:pt x="580" y="323"/>
                      <a:pt x="576" y="326"/>
                    </a:cubicBezTo>
                    <a:cubicBezTo>
                      <a:pt x="572" y="328"/>
                      <a:pt x="563" y="328"/>
                      <a:pt x="556" y="327"/>
                    </a:cubicBezTo>
                    <a:cubicBezTo>
                      <a:pt x="549" y="325"/>
                      <a:pt x="539" y="319"/>
                      <a:pt x="531" y="324"/>
                    </a:cubicBezTo>
                    <a:cubicBezTo>
                      <a:pt x="523" y="328"/>
                      <a:pt x="528" y="317"/>
                      <a:pt x="534" y="316"/>
                    </a:cubicBezTo>
                    <a:cubicBezTo>
                      <a:pt x="541" y="315"/>
                      <a:pt x="538" y="312"/>
                      <a:pt x="536" y="306"/>
                    </a:cubicBezTo>
                    <a:cubicBezTo>
                      <a:pt x="535" y="299"/>
                      <a:pt x="547" y="303"/>
                      <a:pt x="552" y="311"/>
                    </a:cubicBezTo>
                    <a:cubicBezTo>
                      <a:pt x="558" y="319"/>
                      <a:pt x="568" y="322"/>
                      <a:pt x="577" y="319"/>
                    </a:cubicBezTo>
                    <a:cubicBezTo>
                      <a:pt x="586" y="317"/>
                      <a:pt x="577" y="309"/>
                      <a:pt x="581" y="304"/>
                    </a:cubicBezTo>
                    <a:cubicBezTo>
                      <a:pt x="585" y="299"/>
                      <a:pt x="553" y="284"/>
                      <a:pt x="552" y="278"/>
                    </a:cubicBezTo>
                    <a:cubicBezTo>
                      <a:pt x="550" y="273"/>
                      <a:pt x="560" y="277"/>
                      <a:pt x="568" y="280"/>
                    </a:cubicBezTo>
                    <a:cubicBezTo>
                      <a:pt x="577" y="284"/>
                      <a:pt x="579" y="273"/>
                      <a:pt x="579" y="269"/>
                    </a:cubicBezTo>
                    <a:cubicBezTo>
                      <a:pt x="579" y="264"/>
                      <a:pt x="560" y="264"/>
                      <a:pt x="552" y="268"/>
                    </a:cubicBezTo>
                    <a:cubicBezTo>
                      <a:pt x="544" y="273"/>
                      <a:pt x="536" y="262"/>
                      <a:pt x="547" y="261"/>
                    </a:cubicBezTo>
                    <a:cubicBezTo>
                      <a:pt x="558" y="260"/>
                      <a:pt x="548" y="255"/>
                      <a:pt x="551" y="252"/>
                    </a:cubicBezTo>
                    <a:cubicBezTo>
                      <a:pt x="555" y="248"/>
                      <a:pt x="569" y="261"/>
                      <a:pt x="576" y="259"/>
                    </a:cubicBezTo>
                    <a:cubicBezTo>
                      <a:pt x="584" y="257"/>
                      <a:pt x="589" y="259"/>
                      <a:pt x="595" y="254"/>
                    </a:cubicBezTo>
                    <a:cubicBezTo>
                      <a:pt x="602" y="249"/>
                      <a:pt x="584" y="245"/>
                      <a:pt x="580" y="240"/>
                    </a:cubicBezTo>
                    <a:cubicBezTo>
                      <a:pt x="577" y="236"/>
                      <a:pt x="599" y="238"/>
                      <a:pt x="605" y="238"/>
                    </a:cubicBezTo>
                    <a:cubicBezTo>
                      <a:pt x="612" y="238"/>
                      <a:pt x="614" y="228"/>
                      <a:pt x="608" y="230"/>
                    </a:cubicBezTo>
                    <a:cubicBezTo>
                      <a:pt x="603" y="232"/>
                      <a:pt x="584" y="224"/>
                      <a:pt x="588" y="218"/>
                    </a:cubicBezTo>
                    <a:cubicBezTo>
                      <a:pt x="592" y="212"/>
                      <a:pt x="599" y="219"/>
                      <a:pt x="608" y="214"/>
                    </a:cubicBezTo>
                    <a:cubicBezTo>
                      <a:pt x="616" y="210"/>
                      <a:pt x="608" y="194"/>
                      <a:pt x="602" y="194"/>
                    </a:cubicBezTo>
                    <a:cubicBezTo>
                      <a:pt x="596" y="194"/>
                      <a:pt x="582" y="192"/>
                      <a:pt x="582" y="189"/>
                    </a:cubicBezTo>
                    <a:cubicBezTo>
                      <a:pt x="582" y="186"/>
                      <a:pt x="571" y="183"/>
                      <a:pt x="574" y="180"/>
                    </a:cubicBezTo>
                    <a:cubicBezTo>
                      <a:pt x="577" y="177"/>
                      <a:pt x="582" y="184"/>
                      <a:pt x="589" y="178"/>
                    </a:cubicBezTo>
                    <a:cubicBezTo>
                      <a:pt x="597" y="172"/>
                      <a:pt x="613" y="179"/>
                      <a:pt x="620" y="178"/>
                    </a:cubicBezTo>
                    <a:cubicBezTo>
                      <a:pt x="627" y="177"/>
                      <a:pt x="617" y="164"/>
                      <a:pt x="613" y="166"/>
                    </a:cubicBezTo>
                    <a:cubicBezTo>
                      <a:pt x="609" y="168"/>
                      <a:pt x="595" y="169"/>
                      <a:pt x="594" y="162"/>
                    </a:cubicBezTo>
                    <a:cubicBezTo>
                      <a:pt x="593" y="155"/>
                      <a:pt x="607" y="162"/>
                      <a:pt x="610" y="159"/>
                    </a:cubicBezTo>
                    <a:cubicBezTo>
                      <a:pt x="612" y="155"/>
                      <a:pt x="590" y="147"/>
                      <a:pt x="587" y="154"/>
                    </a:cubicBezTo>
                    <a:cubicBezTo>
                      <a:pt x="584" y="161"/>
                      <a:pt x="572" y="158"/>
                      <a:pt x="578" y="154"/>
                    </a:cubicBezTo>
                    <a:cubicBezTo>
                      <a:pt x="584" y="150"/>
                      <a:pt x="586" y="139"/>
                      <a:pt x="585" y="133"/>
                    </a:cubicBezTo>
                    <a:cubicBezTo>
                      <a:pt x="584" y="128"/>
                      <a:pt x="608" y="127"/>
                      <a:pt x="605" y="118"/>
                    </a:cubicBezTo>
                    <a:cubicBezTo>
                      <a:pt x="602" y="109"/>
                      <a:pt x="616" y="107"/>
                      <a:pt x="624" y="107"/>
                    </a:cubicBezTo>
                    <a:cubicBezTo>
                      <a:pt x="631" y="107"/>
                      <a:pt x="623" y="97"/>
                      <a:pt x="616" y="98"/>
                    </a:cubicBezTo>
                    <a:cubicBezTo>
                      <a:pt x="609" y="99"/>
                      <a:pt x="601" y="107"/>
                      <a:pt x="597" y="104"/>
                    </a:cubicBezTo>
                    <a:cubicBezTo>
                      <a:pt x="594" y="100"/>
                      <a:pt x="606" y="94"/>
                      <a:pt x="613" y="94"/>
                    </a:cubicBezTo>
                    <a:cubicBezTo>
                      <a:pt x="619" y="94"/>
                      <a:pt x="635" y="94"/>
                      <a:pt x="641" y="90"/>
                    </a:cubicBezTo>
                    <a:cubicBezTo>
                      <a:pt x="647" y="87"/>
                      <a:pt x="631" y="84"/>
                      <a:pt x="620" y="85"/>
                    </a:cubicBezTo>
                    <a:cubicBezTo>
                      <a:pt x="610" y="87"/>
                      <a:pt x="610" y="82"/>
                      <a:pt x="626" y="82"/>
                    </a:cubicBezTo>
                    <a:cubicBezTo>
                      <a:pt x="642" y="81"/>
                      <a:pt x="639" y="78"/>
                      <a:pt x="650" y="77"/>
                    </a:cubicBezTo>
                    <a:cubicBezTo>
                      <a:pt x="662" y="75"/>
                      <a:pt x="658" y="71"/>
                      <a:pt x="665" y="70"/>
                    </a:cubicBezTo>
                    <a:cubicBezTo>
                      <a:pt x="672" y="70"/>
                      <a:pt x="690" y="62"/>
                      <a:pt x="690" y="59"/>
                    </a:cubicBezTo>
                    <a:cubicBezTo>
                      <a:pt x="690" y="55"/>
                      <a:pt x="664" y="48"/>
                      <a:pt x="652" y="48"/>
                    </a:cubicBezTo>
                    <a:close/>
                    <a:moveTo>
                      <a:pt x="236" y="338"/>
                    </a:moveTo>
                    <a:cubicBezTo>
                      <a:pt x="237" y="333"/>
                      <a:pt x="231" y="336"/>
                      <a:pt x="227" y="330"/>
                    </a:cubicBezTo>
                    <a:cubicBezTo>
                      <a:pt x="224" y="323"/>
                      <a:pt x="207" y="321"/>
                      <a:pt x="205" y="326"/>
                    </a:cubicBezTo>
                    <a:cubicBezTo>
                      <a:pt x="205" y="328"/>
                      <a:pt x="199" y="331"/>
                      <a:pt x="204" y="335"/>
                    </a:cubicBezTo>
                    <a:cubicBezTo>
                      <a:pt x="208" y="340"/>
                      <a:pt x="211" y="338"/>
                      <a:pt x="216" y="343"/>
                    </a:cubicBezTo>
                    <a:cubicBezTo>
                      <a:pt x="221" y="347"/>
                      <a:pt x="236" y="343"/>
                      <a:pt x="236" y="33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0" name="Freeform 128">
                <a:extLst>
                  <a:ext uri="{FF2B5EF4-FFF2-40B4-BE49-F238E27FC236}">
                    <a16:creationId xmlns:a16="http://schemas.microsoft.com/office/drawing/2014/main" id="{E30A0F7B-3F2E-476E-9144-745F59149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613" y="5614988"/>
                <a:ext cx="60325" cy="44450"/>
              </a:xfrm>
              <a:custGeom>
                <a:avLst/>
                <a:gdLst>
                  <a:gd name="T0" fmla="*/ 1 w 28"/>
                  <a:gd name="T1" fmla="*/ 2 h 20"/>
                  <a:gd name="T2" fmla="*/ 11 w 28"/>
                  <a:gd name="T3" fmla="*/ 9 h 20"/>
                  <a:gd name="T4" fmla="*/ 23 w 28"/>
                  <a:gd name="T5" fmla="*/ 13 h 20"/>
                  <a:gd name="T6" fmla="*/ 1 w 28"/>
                  <a:gd name="T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0">
                    <a:moveTo>
                      <a:pt x="1" y="2"/>
                    </a:moveTo>
                    <a:cubicBezTo>
                      <a:pt x="2" y="7"/>
                      <a:pt x="6" y="5"/>
                      <a:pt x="11" y="9"/>
                    </a:cubicBezTo>
                    <a:cubicBezTo>
                      <a:pt x="15" y="12"/>
                      <a:pt x="19" y="20"/>
                      <a:pt x="23" y="13"/>
                    </a:cubicBezTo>
                    <a:cubicBezTo>
                      <a:pt x="28" y="6"/>
                      <a:pt x="0" y="0"/>
                      <a:pt x="1" y="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1" name="Freeform 129">
                <a:extLst>
                  <a:ext uri="{FF2B5EF4-FFF2-40B4-BE49-F238E27FC236}">
                    <a16:creationId xmlns:a16="http://schemas.microsoft.com/office/drawing/2014/main" id="{15B39174-A7EC-4C6E-80CB-A4D0B199EB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9625" y="1295400"/>
                <a:ext cx="2205037" cy="1698625"/>
              </a:xfrm>
              <a:custGeom>
                <a:avLst/>
                <a:gdLst>
                  <a:gd name="T0" fmla="*/ 205 w 1004"/>
                  <a:gd name="T1" fmla="*/ 683 h 774"/>
                  <a:gd name="T2" fmla="*/ 188 w 1004"/>
                  <a:gd name="T3" fmla="*/ 227 h 774"/>
                  <a:gd name="T4" fmla="*/ 386 w 1004"/>
                  <a:gd name="T5" fmla="*/ 251 h 774"/>
                  <a:gd name="T6" fmla="*/ 256 w 1004"/>
                  <a:gd name="T7" fmla="*/ 269 h 774"/>
                  <a:gd name="T8" fmla="*/ 386 w 1004"/>
                  <a:gd name="T9" fmla="*/ 334 h 774"/>
                  <a:gd name="T10" fmla="*/ 237 w 1004"/>
                  <a:gd name="T11" fmla="*/ 194 h 774"/>
                  <a:gd name="T12" fmla="*/ 208 w 1004"/>
                  <a:gd name="T13" fmla="*/ 185 h 774"/>
                  <a:gd name="T14" fmla="*/ 369 w 1004"/>
                  <a:gd name="T15" fmla="*/ 213 h 774"/>
                  <a:gd name="T16" fmla="*/ 297 w 1004"/>
                  <a:gd name="T17" fmla="*/ 144 h 774"/>
                  <a:gd name="T18" fmla="*/ 412 w 1004"/>
                  <a:gd name="T19" fmla="*/ 119 h 774"/>
                  <a:gd name="T20" fmla="*/ 416 w 1004"/>
                  <a:gd name="T21" fmla="*/ 161 h 774"/>
                  <a:gd name="T22" fmla="*/ 419 w 1004"/>
                  <a:gd name="T23" fmla="*/ 185 h 774"/>
                  <a:gd name="T24" fmla="*/ 542 w 1004"/>
                  <a:gd name="T25" fmla="*/ 147 h 774"/>
                  <a:gd name="T26" fmla="*/ 492 w 1004"/>
                  <a:gd name="T27" fmla="*/ 232 h 774"/>
                  <a:gd name="T28" fmla="*/ 686 w 1004"/>
                  <a:gd name="T29" fmla="*/ 220 h 774"/>
                  <a:gd name="T30" fmla="*/ 580 w 1004"/>
                  <a:gd name="T31" fmla="*/ 151 h 774"/>
                  <a:gd name="T32" fmla="*/ 597 w 1004"/>
                  <a:gd name="T33" fmla="*/ 83 h 774"/>
                  <a:gd name="T34" fmla="*/ 586 w 1004"/>
                  <a:gd name="T35" fmla="*/ 66 h 774"/>
                  <a:gd name="T36" fmla="*/ 634 w 1004"/>
                  <a:gd name="T37" fmla="*/ 120 h 774"/>
                  <a:gd name="T38" fmla="*/ 698 w 1004"/>
                  <a:gd name="T39" fmla="*/ 180 h 774"/>
                  <a:gd name="T40" fmla="*/ 795 w 1004"/>
                  <a:gd name="T41" fmla="*/ 87 h 774"/>
                  <a:gd name="T42" fmla="*/ 759 w 1004"/>
                  <a:gd name="T43" fmla="*/ 9 h 774"/>
                  <a:gd name="T44" fmla="*/ 568 w 1004"/>
                  <a:gd name="T45" fmla="*/ 46 h 774"/>
                  <a:gd name="T46" fmla="*/ 624 w 1004"/>
                  <a:gd name="T47" fmla="*/ 440 h 774"/>
                  <a:gd name="T48" fmla="*/ 827 w 1004"/>
                  <a:gd name="T49" fmla="*/ 340 h 774"/>
                  <a:gd name="T50" fmla="*/ 745 w 1004"/>
                  <a:gd name="T51" fmla="*/ 272 h 774"/>
                  <a:gd name="T52" fmla="*/ 624 w 1004"/>
                  <a:gd name="T53" fmla="*/ 250 h 774"/>
                  <a:gd name="T54" fmla="*/ 704 w 1004"/>
                  <a:gd name="T55" fmla="*/ 309 h 774"/>
                  <a:gd name="T56" fmla="*/ 736 w 1004"/>
                  <a:gd name="T57" fmla="*/ 409 h 774"/>
                  <a:gd name="T58" fmla="*/ 849 w 1004"/>
                  <a:gd name="T59" fmla="*/ 419 h 774"/>
                  <a:gd name="T60" fmla="*/ 682 w 1004"/>
                  <a:gd name="T61" fmla="*/ 241 h 774"/>
                  <a:gd name="T62" fmla="*/ 963 w 1004"/>
                  <a:gd name="T63" fmla="*/ 642 h 774"/>
                  <a:gd name="T64" fmla="*/ 110 w 1004"/>
                  <a:gd name="T65" fmla="*/ 629 h 774"/>
                  <a:gd name="T66" fmla="*/ 820 w 1004"/>
                  <a:gd name="T67" fmla="*/ 687 h 774"/>
                  <a:gd name="T68" fmla="*/ 963 w 1004"/>
                  <a:gd name="T69" fmla="*/ 609 h 774"/>
                  <a:gd name="T70" fmla="*/ 895 w 1004"/>
                  <a:gd name="T71" fmla="*/ 560 h 774"/>
                  <a:gd name="T72" fmla="*/ 844 w 1004"/>
                  <a:gd name="T73" fmla="*/ 528 h 774"/>
                  <a:gd name="T74" fmla="*/ 763 w 1004"/>
                  <a:gd name="T75" fmla="*/ 463 h 774"/>
                  <a:gd name="T76" fmla="*/ 727 w 1004"/>
                  <a:gd name="T77" fmla="*/ 543 h 774"/>
                  <a:gd name="T78" fmla="*/ 666 w 1004"/>
                  <a:gd name="T79" fmla="*/ 618 h 774"/>
                  <a:gd name="T80" fmla="*/ 538 w 1004"/>
                  <a:gd name="T81" fmla="*/ 526 h 774"/>
                  <a:gd name="T82" fmla="*/ 578 w 1004"/>
                  <a:gd name="T83" fmla="*/ 431 h 774"/>
                  <a:gd name="T84" fmla="*/ 648 w 1004"/>
                  <a:gd name="T85" fmla="*/ 387 h 774"/>
                  <a:gd name="T86" fmla="*/ 636 w 1004"/>
                  <a:gd name="T87" fmla="*/ 340 h 774"/>
                  <a:gd name="T88" fmla="*/ 579 w 1004"/>
                  <a:gd name="T89" fmla="*/ 344 h 774"/>
                  <a:gd name="T90" fmla="*/ 536 w 1004"/>
                  <a:gd name="T91" fmla="*/ 271 h 774"/>
                  <a:gd name="T92" fmla="*/ 517 w 1004"/>
                  <a:gd name="T93" fmla="*/ 292 h 774"/>
                  <a:gd name="T94" fmla="*/ 507 w 1004"/>
                  <a:gd name="T95" fmla="*/ 364 h 774"/>
                  <a:gd name="T96" fmla="*/ 492 w 1004"/>
                  <a:gd name="T97" fmla="*/ 349 h 774"/>
                  <a:gd name="T98" fmla="*/ 399 w 1004"/>
                  <a:gd name="T99" fmla="*/ 348 h 774"/>
                  <a:gd name="T100" fmla="*/ 267 w 1004"/>
                  <a:gd name="T101" fmla="*/ 340 h 774"/>
                  <a:gd name="T102" fmla="*/ 96 w 1004"/>
                  <a:gd name="T103" fmla="*/ 341 h 774"/>
                  <a:gd name="T104" fmla="*/ 47 w 1004"/>
                  <a:gd name="T105" fmla="*/ 341 h 774"/>
                  <a:gd name="T106" fmla="*/ 127 w 1004"/>
                  <a:gd name="T107" fmla="*/ 588 h 774"/>
                  <a:gd name="T108" fmla="*/ 181 w 1004"/>
                  <a:gd name="T109" fmla="*/ 658 h 774"/>
                  <a:gd name="T110" fmla="*/ 622 w 1004"/>
                  <a:gd name="T111" fmla="*/ 689 h 774"/>
                  <a:gd name="T112" fmla="*/ 700 w 1004"/>
                  <a:gd name="T113" fmla="*/ 766 h 774"/>
                  <a:gd name="T114" fmla="*/ 865 w 1004"/>
                  <a:gd name="T115" fmla="*/ 722 h 774"/>
                  <a:gd name="T116" fmla="*/ 243 w 1004"/>
                  <a:gd name="T117" fmla="*/ 407 h 774"/>
                  <a:gd name="T118" fmla="*/ 240 w 1004"/>
                  <a:gd name="T119" fmla="*/ 392 h 774"/>
                  <a:gd name="T120" fmla="*/ 503 w 1004"/>
                  <a:gd name="T121" fmla="*/ 656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04" h="774">
                    <a:moveTo>
                      <a:pt x="198" y="679"/>
                    </a:moveTo>
                    <a:cubicBezTo>
                      <a:pt x="195" y="675"/>
                      <a:pt x="186" y="676"/>
                      <a:pt x="185" y="673"/>
                    </a:cubicBezTo>
                    <a:cubicBezTo>
                      <a:pt x="184" y="669"/>
                      <a:pt x="176" y="658"/>
                      <a:pt x="172" y="658"/>
                    </a:cubicBezTo>
                    <a:cubicBezTo>
                      <a:pt x="167" y="658"/>
                      <a:pt x="162" y="658"/>
                      <a:pt x="157" y="655"/>
                    </a:cubicBezTo>
                    <a:cubicBezTo>
                      <a:pt x="152" y="651"/>
                      <a:pt x="149" y="651"/>
                      <a:pt x="145" y="653"/>
                    </a:cubicBezTo>
                    <a:cubicBezTo>
                      <a:pt x="142" y="655"/>
                      <a:pt x="149" y="656"/>
                      <a:pt x="149" y="658"/>
                    </a:cubicBezTo>
                    <a:cubicBezTo>
                      <a:pt x="148" y="661"/>
                      <a:pt x="151" y="662"/>
                      <a:pt x="154" y="662"/>
                    </a:cubicBezTo>
                    <a:cubicBezTo>
                      <a:pt x="157" y="661"/>
                      <a:pt x="159" y="667"/>
                      <a:pt x="162" y="668"/>
                    </a:cubicBezTo>
                    <a:cubicBezTo>
                      <a:pt x="165" y="668"/>
                      <a:pt x="166" y="673"/>
                      <a:pt x="169" y="673"/>
                    </a:cubicBezTo>
                    <a:cubicBezTo>
                      <a:pt x="173" y="673"/>
                      <a:pt x="173" y="677"/>
                      <a:pt x="175" y="679"/>
                    </a:cubicBezTo>
                    <a:cubicBezTo>
                      <a:pt x="177" y="681"/>
                      <a:pt x="181" y="679"/>
                      <a:pt x="181" y="681"/>
                    </a:cubicBezTo>
                    <a:cubicBezTo>
                      <a:pt x="181" y="683"/>
                      <a:pt x="185" y="685"/>
                      <a:pt x="186" y="688"/>
                    </a:cubicBezTo>
                    <a:cubicBezTo>
                      <a:pt x="193" y="689"/>
                      <a:pt x="199" y="689"/>
                      <a:pt x="204" y="688"/>
                    </a:cubicBezTo>
                    <a:cubicBezTo>
                      <a:pt x="204" y="686"/>
                      <a:pt x="204" y="685"/>
                      <a:pt x="205" y="683"/>
                    </a:cubicBezTo>
                    <a:cubicBezTo>
                      <a:pt x="207" y="680"/>
                      <a:pt x="201" y="682"/>
                      <a:pt x="198" y="679"/>
                    </a:cubicBezTo>
                    <a:close/>
                    <a:moveTo>
                      <a:pt x="189" y="281"/>
                    </a:moveTo>
                    <a:cubicBezTo>
                      <a:pt x="198" y="283"/>
                      <a:pt x="199" y="299"/>
                      <a:pt x="205" y="299"/>
                    </a:cubicBezTo>
                    <a:cubicBezTo>
                      <a:pt x="209" y="299"/>
                      <a:pt x="206" y="294"/>
                      <a:pt x="213" y="294"/>
                    </a:cubicBezTo>
                    <a:cubicBezTo>
                      <a:pt x="219" y="294"/>
                      <a:pt x="218" y="291"/>
                      <a:pt x="224" y="291"/>
                    </a:cubicBezTo>
                    <a:cubicBezTo>
                      <a:pt x="230" y="292"/>
                      <a:pt x="235" y="290"/>
                      <a:pt x="235" y="283"/>
                    </a:cubicBezTo>
                    <a:cubicBezTo>
                      <a:pt x="235" y="276"/>
                      <a:pt x="239" y="273"/>
                      <a:pt x="245" y="272"/>
                    </a:cubicBezTo>
                    <a:cubicBezTo>
                      <a:pt x="251" y="270"/>
                      <a:pt x="246" y="263"/>
                      <a:pt x="254" y="261"/>
                    </a:cubicBezTo>
                    <a:cubicBezTo>
                      <a:pt x="263" y="259"/>
                      <a:pt x="286" y="249"/>
                      <a:pt x="290" y="246"/>
                    </a:cubicBezTo>
                    <a:cubicBezTo>
                      <a:pt x="294" y="243"/>
                      <a:pt x="285" y="239"/>
                      <a:pt x="276" y="233"/>
                    </a:cubicBezTo>
                    <a:cubicBezTo>
                      <a:pt x="267" y="228"/>
                      <a:pt x="260" y="226"/>
                      <a:pt x="253" y="231"/>
                    </a:cubicBezTo>
                    <a:cubicBezTo>
                      <a:pt x="246" y="235"/>
                      <a:pt x="252" y="226"/>
                      <a:pt x="246" y="228"/>
                    </a:cubicBezTo>
                    <a:cubicBezTo>
                      <a:pt x="241" y="231"/>
                      <a:pt x="226" y="224"/>
                      <a:pt x="224" y="222"/>
                    </a:cubicBezTo>
                    <a:cubicBezTo>
                      <a:pt x="222" y="219"/>
                      <a:pt x="195" y="227"/>
                      <a:pt x="188" y="227"/>
                    </a:cubicBezTo>
                    <a:cubicBezTo>
                      <a:pt x="182" y="227"/>
                      <a:pt x="189" y="234"/>
                      <a:pt x="193" y="238"/>
                    </a:cubicBezTo>
                    <a:cubicBezTo>
                      <a:pt x="198" y="241"/>
                      <a:pt x="182" y="252"/>
                      <a:pt x="185" y="255"/>
                    </a:cubicBezTo>
                    <a:cubicBezTo>
                      <a:pt x="188" y="257"/>
                      <a:pt x="182" y="264"/>
                      <a:pt x="175" y="272"/>
                    </a:cubicBezTo>
                    <a:cubicBezTo>
                      <a:pt x="168" y="280"/>
                      <a:pt x="180" y="279"/>
                      <a:pt x="189" y="281"/>
                    </a:cubicBezTo>
                    <a:close/>
                    <a:moveTo>
                      <a:pt x="439" y="322"/>
                    </a:moveTo>
                    <a:cubicBezTo>
                      <a:pt x="442" y="319"/>
                      <a:pt x="455" y="329"/>
                      <a:pt x="455" y="322"/>
                    </a:cubicBezTo>
                    <a:cubicBezTo>
                      <a:pt x="456" y="314"/>
                      <a:pt x="441" y="311"/>
                      <a:pt x="435" y="307"/>
                    </a:cubicBezTo>
                    <a:cubicBezTo>
                      <a:pt x="429" y="303"/>
                      <a:pt x="427" y="305"/>
                      <a:pt x="417" y="298"/>
                    </a:cubicBezTo>
                    <a:cubicBezTo>
                      <a:pt x="408" y="291"/>
                      <a:pt x="420" y="287"/>
                      <a:pt x="413" y="282"/>
                    </a:cubicBezTo>
                    <a:cubicBezTo>
                      <a:pt x="406" y="276"/>
                      <a:pt x="403" y="261"/>
                      <a:pt x="408" y="256"/>
                    </a:cubicBezTo>
                    <a:cubicBezTo>
                      <a:pt x="413" y="251"/>
                      <a:pt x="419" y="244"/>
                      <a:pt x="410" y="240"/>
                    </a:cubicBezTo>
                    <a:cubicBezTo>
                      <a:pt x="401" y="237"/>
                      <a:pt x="386" y="243"/>
                      <a:pt x="388" y="245"/>
                    </a:cubicBezTo>
                    <a:cubicBezTo>
                      <a:pt x="389" y="247"/>
                      <a:pt x="402" y="254"/>
                      <a:pt x="402" y="257"/>
                    </a:cubicBezTo>
                    <a:cubicBezTo>
                      <a:pt x="402" y="260"/>
                      <a:pt x="390" y="249"/>
                      <a:pt x="386" y="251"/>
                    </a:cubicBezTo>
                    <a:cubicBezTo>
                      <a:pt x="382" y="254"/>
                      <a:pt x="378" y="246"/>
                      <a:pt x="374" y="251"/>
                    </a:cubicBezTo>
                    <a:cubicBezTo>
                      <a:pt x="371" y="256"/>
                      <a:pt x="379" y="274"/>
                      <a:pt x="382" y="279"/>
                    </a:cubicBezTo>
                    <a:cubicBezTo>
                      <a:pt x="385" y="284"/>
                      <a:pt x="379" y="284"/>
                      <a:pt x="375" y="285"/>
                    </a:cubicBezTo>
                    <a:cubicBezTo>
                      <a:pt x="371" y="286"/>
                      <a:pt x="370" y="271"/>
                      <a:pt x="366" y="265"/>
                    </a:cubicBezTo>
                    <a:cubicBezTo>
                      <a:pt x="362" y="260"/>
                      <a:pt x="346" y="253"/>
                      <a:pt x="345" y="257"/>
                    </a:cubicBezTo>
                    <a:cubicBezTo>
                      <a:pt x="344" y="261"/>
                      <a:pt x="355" y="261"/>
                      <a:pt x="354" y="267"/>
                    </a:cubicBezTo>
                    <a:cubicBezTo>
                      <a:pt x="352" y="272"/>
                      <a:pt x="346" y="263"/>
                      <a:pt x="341" y="268"/>
                    </a:cubicBezTo>
                    <a:cubicBezTo>
                      <a:pt x="335" y="272"/>
                      <a:pt x="336" y="269"/>
                      <a:pt x="337" y="265"/>
                    </a:cubicBezTo>
                    <a:cubicBezTo>
                      <a:pt x="338" y="260"/>
                      <a:pt x="329" y="255"/>
                      <a:pt x="319" y="256"/>
                    </a:cubicBezTo>
                    <a:cubicBezTo>
                      <a:pt x="309" y="257"/>
                      <a:pt x="315" y="264"/>
                      <a:pt x="312" y="267"/>
                    </a:cubicBezTo>
                    <a:cubicBezTo>
                      <a:pt x="309" y="269"/>
                      <a:pt x="294" y="265"/>
                      <a:pt x="303" y="263"/>
                    </a:cubicBezTo>
                    <a:cubicBezTo>
                      <a:pt x="313" y="261"/>
                      <a:pt x="309" y="256"/>
                      <a:pt x="305" y="250"/>
                    </a:cubicBezTo>
                    <a:cubicBezTo>
                      <a:pt x="302" y="245"/>
                      <a:pt x="292" y="251"/>
                      <a:pt x="277" y="257"/>
                    </a:cubicBezTo>
                    <a:cubicBezTo>
                      <a:pt x="261" y="262"/>
                      <a:pt x="254" y="268"/>
                      <a:pt x="256" y="269"/>
                    </a:cubicBezTo>
                    <a:cubicBezTo>
                      <a:pt x="258" y="269"/>
                      <a:pt x="259" y="272"/>
                      <a:pt x="253" y="277"/>
                    </a:cubicBezTo>
                    <a:cubicBezTo>
                      <a:pt x="247" y="282"/>
                      <a:pt x="253" y="286"/>
                      <a:pt x="258" y="286"/>
                    </a:cubicBezTo>
                    <a:cubicBezTo>
                      <a:pt x="264" y="286"/>
                      <a:pt x="259" y="291"/>
                      <a:pt x="263" y="292"/>
                    </a:cubicBezTo>
                    <a:cubicBezTo>
                      <a:pt x="266" y="293"/>
                      <a:pt x="284" y="285"/>
                      <a:pt x="289" y="288"/>
                    </a:cubicBezTo>
                    <a:cubicBezTo>
                      <a:pt x="294" y="292"/>
                      <a:pt x="260" y="294"/>
                      <a:pt x="260" y="300"/>
                    </a:cubicBezTo>
                    <a:cubicBezTo>
                      <a:pt x="260" y="306"/>
                      <a:pt x="279" y="309"/>
                      <a:pt x="293" y="307"/>
                    </a:cubicBezTo>
                    <a:cubicBezTo>
                      <a:pt x="307" y="304"/>
                      <a:pt x="331" y="309"/>
                      <a:pt x="331" y="312"/>
                    </a:cubicBezTo>
                    <a:cubicBezTo>
                      <a:pt x="331" y="316"/>
                      <a:pt x="315" y="315"/>
                      <a:pt x="302" y="314"/>
                    </a:cubicBezTo>
                    <a:cubicBezTo>
                      <a:pt x="290" y="314"/>
                      <a:pt x="268" y="318"/>
                      <a:pt x="269" y="322"/>
                    </a:cubicBezTo>
                    <a:cubicBezTo>
                      <a:pt x="270" y="326"/>
                      <a:pt x="272" y="326"/>
                      <a:pt x="285" y="332"/>
                    </a:cubicBezTo>
                    <a:cubicBezTo>
                      <a:pt x="298" y="338"/>
                      <a:pt x="311" y="329"/>
                      <a:pt x="311" y="338"/>
                    </a:cubicBezTo>
                    <a:cubicBezTo>
                      <a:pt x="310" y="346"/>
                      <a:pt x="318" y="348"/>
                      <a:pt x="335" y="349"/>
                    </a:cubicBezTo>
                    <a:cubicBezTo>
                      <a:pt x="353" y="349"/>
                      <a:pt x="361" y="341"/>
                      <a:pt x="369" y="341"/>
                    </a:cubicBezTo>
                    <a:cubicBezTo>
                      <a:pt x="378" y="342"/>
                      <a:pt x="382" y="340"/>
                      <a:pt x="386" y="334"/>
                    </a:cubicBezTo>
                    <a:cubicBezTo>
                      <a:pt x="390" y="328"/>
                      <a:pt x="393" y="332"/>
                      <a:pt x="394" y="335"/>
                    </a:cubicBezTo>
                    <a:cubicBezTo>
                      <a:pt x="395" y="338"/>
                      <a:pt x="406" y="337"/>
                      <a:pt x="409" y="340"/>
                    </a:cubicBezTo>
                    <a:cubicBezTo>
                      <a:pt x="415" y="346"/>
                      <a:pt x="436" y="344"/>
                      <a:pt x="444" y="340"/>
                    </a:cubicBezTo>
                    <a:cubicBezTo>
                      <a:pt x="452" y="336"/>
                      <a:pt x="441" y="325"/>
                      <a:pt x="437" y="330"/>
                    </a:cubicBezTo>
                    <a:cubicBezTo>
                      <a:pt x="433" y="335"/>
                      <a:pt x="429" y="332"/>
                      <a:pt x="428" y="330"/>
                    </a:cubicBezTo>
                    <a:cubicBezTo>
                      <a:pt x="427" y="327"/>
                      <a:pt x="436" y="326"/>
                      <a:pt x="439" y="322"/>
                    </a:cubicBezTo>
                    <a:close/>
                    <a:moveTo>
                      <a:pt x="249" y="199"/>
                    </a:moveTo>
                    <a:cubicBezTo>
                      <a:pt x="258" y="200"/>
                      <a:pt x="267" y="192"/>
                      <a:pt x="267" y="188"/>
                    </a:cubicBezTo>
                    <a:cubicBezTo>
                      <a:pt x="266" y="183"/>
                      <a:pt x="245" y="199"/>
                      <a:pt x="249" y="199"/>
                    </a:cubicBezTo>
                    <a:close/>
                    <a:moveTo>
                      <a:pt x="208" y="185"/>
                    </a:moveTo>
                    <a:cubicBezTo>
                      <a:pt x="211" y="187"/>
                      <a:pt x="208" y="194"/>
                      <a:pt x="212" y="192"/>
                    </a:cubicBezTo>
                    <a:cubicBezTo>
                      <a:pt x="216" y="190"/>
                      <a:pt x="217" y="189"/>
                      <a:pt x="220" y="190"/>
                    </a:cubicBezTo>
                    <a:cubicBezTo>
                      <a:pt x="225" y="192"/>
                      <a:pt x="226" y="187"/>
                      <a:pt x="229" y="185"/>
                    </a:cubicBezTo>
                    <a:cubicBezTo>
                      <a:pt x="231" y="182"/>
                      <a:pt x="230" y="194"/>
                      <a:pt x="237" y="194"/>
                    </a:cubicBezTo>
                    <a:cubicBezTo>
                      <a:pt x="242" y="194"/>
                      <a:pt x="241" y="182"/>
                      <a:pt x="246" y="185"/>
                    </a:cubicBezTo>
                    <a:cubicBezTo>
                      <a:pt x="251" y="189"/>
                      <a:pt x="253" y="184"/>
                      <a:pt x="254" y="180"/>
                    </a:cubicBezTo>
                    <a:cubicBezTo>
                      <a:pt x="255" y="177"/>
                      <a:pt x="255" y="171"/>
                      <a:pt x="260" y="170"/>
                    </a:cubicBezTo>
                    <a:cubicBezTo>
                      <a:pt x="266" y="169"/>
                      <a:pt x="261" y="175"/>
                      <a:pt x="264" y="180"/>
                    </a:cubicBezTo>
                    <a:cubicBezTo>
                      <a:pt x="267" y="186"/>
                      <a:pt x="274" y="180"/>
                      <a:pt x="274" y="177"/>
                    </a:cubicBezTo>
                    <a:cubicBezTo>
                      <a:pt x="275" y="174"/>
                      <a:pt x="284" y="176"/>
                      <a:pt x="283" y="173"/>
                    </a:cubicBezTo>
                    <a:cubicBezTo>
                      <a:pt x="283" y="169"/>
                      <a:pt x="286" y="168"/>
                      <a:pt x="283" y="164"/>
                    </a:cubicBezTo>
                    <a:cubicBezTo>
                      <a:pt x="281" y="160"/>
                      <a:pt x="287" y="161"/>
                      <a:pt x="290" y="158"/>
                    </a:cubicBezTo>
                    <a:cubicBezTo>
                      <a:pt x="293" y="155"/>
                      <a:pt x="286" y="158"/>
                      <a:pt x="281" y="153"/>
                    </a:cubicBezTo>
                    <a:cubicBezTo>
                      <a:pt x="276" y="149"/>
                      <a:pt x="274" y="155"/>
                      <a:pt x="274" y="158"/>
                    </a:cubicBezTo>
                    <a:cubicBezTo>
                      <a:pt x="274" y="161"/>
                      <a:pt x="265" y="158"/>
                      <a:pt x="259" y="156"/>
                    </a:cubicBezTo>
                    <a:cubicBezTo>
                      <a:pt x="254" y="154"/>
                      <a:pt x="247" y="163"/>
                      <a:pt x="239" y="167"/>
                    </a:cubicBezTo>
                    <a:cubicBezTo>
                      <a:pt x="231" y="171"/>
                      <a:pt x="230" y="178"/>
                      <a:pt x="223" y="177"/>
                    </a:cubicBezTo>
                    <a:cubicBezTo>
                      <a:pt x="215" y="177"/>
                      <a:pt x="204" y="184"/>
                      <a:pt x="208" y="185"/>
                    </a:cubicBezTo>
                    <a:close/>
                    <a:moveTo>
                      <a:pt x="286" y="183"/>
                    </a:moveTo>
                    <a:cubicBezTo>
                      <a:pt x="279" y="183"/>
                      <a:pt x="279" y="190"/>
                      <a:pt x="287" y="190"/>
                    </a:cubicBezTo>
                    <a:cubicBezTo>
                      <a:pt x="295" y="190"/>
                      <a:pt x="298" y="193"/>
                      <a:pt x="286" y="192"/>
                    </a:cubicBezTo>
                    <a:cubicBezTo>
                      <a:pt x="275" y="192"/>
                      <a:pt x="270" y="202"/>
                      <a:pt x="278" y="200"/>
                    </a:cubicBezTo>
                    <a:cubicBezTo>
                      <a:pt x="286" y="198"/>
                      <a:pt x="295" y="198"/>
                      <a:pt x="289" y="200"/>
                    </a:cubicBezTo>
                    <a:cubicBezTo>
                      <a:pt x="283" y="202"/>
                      <a:pt x="267" y="203"/>
                      <a:pt x="269" y="206"/>
                    </a:cubicBezTo>
                    <a:cubicBezTo>
                      <a:pt x="271" y="208"/>
                      <a:pt x="277" y="208"/>
                      <a:pt x="284" y="210"/>
                    </a:cubicBezTo>
                    <a:cubicBezTo>
                      <a:pt x="290" y="213"/>
                      <a:pt x="294" y="214"/>
                      <a:pt x="299" y="209"/>
                    </a:cubicBezTo>
                    <a:cubicBezTo>
                      <a:pt x="304" y="203"/>
                      <a:pt x="311" y="198"/>
                      <a:pt x="308" y="205"/>
                    </a:cubicBezTo>
                    <a:cubicBezTo>
                      <a:pt x="306" y="213"/>
                      <a:pt x="316" y="207"/>
                      <a:pt x="330" y="207"/>
                    </a:cubicBezTo>
                    <a:cubicBezTo>
                      <a:pt x="343" y="206"/>
                      <a:pt x="327" y="215"/>
                      <a:pt x="313" y="216"/>
                    </a:cubicBezTo>
                    <a:cubicBezTo>
                      <a:pt x="299" y="217"/>
                      <a:pt x="302" y="224"/>
                      <a:pt x="313" y="226"/>
                    </a:cubicBezTo>
                    <a:cubicBezTo>
                      <a:pt x="324" y="229"/>
                      <a:pt x="347" y="219"/>
                      <a:pt x="353" y="214"/>
                    </a:cubicBezTo>
                    <a:cubicBezTo>
                      <a:pt x="358" y="208"/>
                      <a:pt x="363" y="217"/>
                      <a:pt x="369" y="213"/>
                    </a:cubicBezTo>
                    <a:cubicBezTo>
                      <a:pt x="374" y="209"/>
                      <a:pt x="385" y="213"/>
                      <a:pt x="394" y="211"/>
                    </a:cubicBezTo>
                    <a:cubicBezTo>
                      <a:pt x="404" y="209"/>
                      <a:pt x="405" y="191"/>
                      <a:pt x="398" y="188"/>
                    </a:cubicBezTo>
                    <a:cubicBezTo>
                      <a:pt x="391" y="185"/>
                      <a:pt x="391" y="192"/>
                      <a:pt x="386" y="193"/>
                    </a:cubicBezTo>
                    <a:cubicBezTo>
                      <a:pt x="380" y="194"/>
                      <a:pt x="377" y="187"/>
                      <a:pt x="373" y="182"/>
                    </a:cubicBezTo>
                    <a:cubicBezTo>
                      <a:pt x="368" y="178"/>
                      <a:pt x="371" y="169"/>
                      <a:pt x="365" y="170"/>
                    </a:cubicBezTo>
                    <a:cubicBezTo>
                      <a:pt x="358" y="171"/>
                      <a:pt x="344" y="182"/>
                      <a:pt x="353" y="183"/>
                    </a:cubicBezTo>
                    <a:cubicBezTo>
                      <a:pt x="361" y="184"/>
                      <a:pt x="358" y="188"/>
                      <a:pt x="354" y="190"/>
                    </a:cubicBezTo>
                    <a:cubicBezTo>
                      <a:pt x="349" y="192"/>
                      <a:pt x="364" y="196"/>
                      <a:pt x="362" y="199"/>
                    </a:cubicBezTo>
                    <a:cubicBezTo>
                      <a:pt x="360" y="202"/>
                      <a:pt x="337" y="199"/>
                      <a:pt x="336" y="194"/>
                    </a:cubicBezTo>
                    <a:cubicBezTo>
                      <a:pt x="335" y="189"/>
                      <a:pt x="317" y="180"/>
                      <a:pt x="310" y="182"/>
                    </a:cubicBezTo>
                    <a:cubicBezTo>
                      <a:pt x="302" y="184"/>
                      <a:pt x="305" y="176"/>
                      <a:pt x="298" y="176"/>
                    </a:cubicBezTo>
                    <a:cubicBezTo>
                      <a:pt x="290" y="175"/>
                      <a:pt x="293" y="182"/>
                      <a:pt x="286" y="183"/>
                    </a:cubicBezTo>
                    <a:close/>
                    <a:moveTo>
                      <a:pt x="312" y="147"/>
                    </a:moveTo>
                    <a:cubicBezTo>
                      <a:pt x="314" y="141"/>
                      <a:pt x="295" y="142"/>
                      <a:pt x="297" y="144"/>
                    </a:cubicBezTo>
                    <a:cubicBezTo>
                      <a:pt x="300" y="148"/>
                      <a:pt x="309" y="153"/>
                      <a:pt x="312" y="147"/>
                    </a:cubicBezTo>
                    <a:close/>
                    <a:moveTo>
                      <a:pt x="353" y="144"/>
                    </a:moveTo>
                    <a:cubicBezTo>
                      <a:pt x="360" y="143"/>
                      <a:pt x="357" y="138"/>
                      <a:pt x="346" y="140"/>
                    </a:cubicBezTo>
                    <a:cubicBezTo>
                      <a:pt x="336" y="141"/>
                      <a:pt x="318" y="141"/>
                      <a:pt x="318" y="149"/>
                    </a:cubicBezTo>
                    <a:cubicBezTo>
                      <a:pt x="318" y="155"/>
                      <a:pt x="321" y="158"/>
                      <a:pt x="333" y="159"/>
                    </a:cubicBezTo>
                    <a:cubicBezTo>
                      <a:pt x="344" y="160"/>
                      <a:pt x="354" y="149"/>
                      <a:pt x="349" y="149"/>
                    </a:cubicBezTo>
                    <a:cubicBezTo>
                      <a:pt x="343" y="149"/>
                      <a:pt x="347" y="145"/>
                      <a:pt x="353" y="144"/>
                    </a:cubicBezTo>
                    <a:close/>
                    <a:moveTo>
                      <a:pt x="329" y="135"/>
                    </a:moveTo>
                    <a:cubicBezTo>
                      <a:pt x="334" y="137"/>
                      <a:pt x="339" y="130"/>
                      <a:pt x="342" y="133"/>
                    </a:cubicBezTo>
                    <a:cubicBezTo>
                      <a:pt x="346" y="136"/>
                      <a:pt x="361" y="139"/>
                      <a:pt x="361" y="131"/>
                    </a:cubicBezTo>
                    <a:cubicBezTo>
                      <a:pt x="361" y="123"/>
                      <a:pt x="342" y="122"/>
                      <a:pt x="337" y="125"/>
                    </a:cubicBezTo>
                    <a:cubicBezTo>
                      <a:pt x="332" y="128"/>
                      <a:pt x="309" y="129"/>
                      <a:pt x="315" y="134"/>
                    </a:cubicBezTo>
                    <a:cubicBezTo>
                      <a:pt x="319" y="137"/>
                      <a:pt x="324" y="133"/>
                      <a:pt x="329" y="135"/>
                    </a:cubicBezTo>
                    <a:close/>
                    <a:moveTo>
                      <a:pt x="412" y="119"/>
                    </a:moveTo>
                    <a:cubicBezTo>
                      <a:pt x="418" y="115"/>
                      <a:pt x="429" y="122"/>
                      <a:pt x="427" y="126"/>
                    </a:cubicBezTo>
                    <a:cubicBezTo>
                      <a:pt x="425" y="131"/>
                      <a:pt x="408" y="126"/>
                      <a:pt x="409" y="129"/>
                    </a:cubicBezTo>
                    <a:cubicBezTo>
                      <a:pt x="410" y="131"/>
                      <a:pt x="412" y="137"/>
                      <a:pt x="424" y="133"/>
                    </a:cubicBezTo>
                    <a:cubicBezTo>
                      <a:pt x="436" y="130"/>
                      <a:pt x="446" y="132"/>
                      <a:pt x="454" y="139"/>
                    </a:cubicBezTo>
                    <a:cubicBezTo>
                      <a:pt x="462" y="145"/>
                      <a:pt x="469" y="148"/>
                      <a:pt x="475" y="141"/>
                    </a:cubicBezTo>
                    <a:cubicBezTo>
                      <a:pt x="480" y="135"/>
                      <a:pt x="468" y="134"/>
                      <a:pt x="470" y="129"/>
                    </a:cubicBezTo>
                    <a:cubicBezTo>
                      <a:pt x="473" y="124"/>
                      <a:pt x="462" y="121"/>
                      <a:pt x="457" y="121"/>
                    </a:cubicBezTo>
                    <a:cubicBezTo>
                      <a:pt x="451" y="121"/>
                      <a:pt x="449" y="111"/>
                      <a:pt x="445" y="113"/>
                    </a:cubicBezTo>
                    <a:cubicBezTo>
                      <a:pt x="440" y="115"/>
                      <a:pt x="437" y="118"/>
                      <a:pt x="437" y="112"/>
                    </a:cubicBezTo>
                    <a:cubicBezTo>
                      <a:pt x="437" y="105"/>
                      <a:pt x="411" y="105"/>
                      <a:pt x="405" y="107"/>
                    </a:cubicBezTo>
                    <a:cubicBezTo>
                      <a:pt x="398" y="110"/>
                      <a:pt x="406" y="123"/>
                      <a:pt x="412" y="119"/>
                    </a:cubicBezTo>
                    <a:close/>
                    <a:moveTo>
                      <a:pt x="416" y="161"/>
                    </a:moveTo>
                    <a:cubicBezTo>
                      <a:pt x="420" y="156"/>
                      <a:pt x="400" y="140"/>
                      <a:pt x="399" y="148"/>
                    </a:cubicBezTo>
                    <a:cubicBezTo>
                      <a:pt x="398" y="155"/>
                      <a:pt x="412" y="167"/>
                      <a:pt x="416" y="161"/>
                    </a:cubicBezTo>
                    <a:close/>
                    <a:moveTo>
                      <a:pt x="481" y="96"/>
                    </a:moveTo>
                    <a:cubicBezTo>
                      <a:pt x="484" y="90"/>
                      <a:pt x="460" y="85"/>
                      <a:pt x="466" y="90"/>
                    </a:cubicBezTo>
                    <a:cubicBezTo>
                      <a:pt x="469" y="93"/>
                      <a:pt x="477" y="102"/>
                      <a:pt x="481" y="96"/>
                    </a:cubicBezTo>
                    <a:close/>
                    <a:moveTo>
                      <a:pt x="424" y="209"/>
                    </a:moveTo>
                    <a:cubicBezTo>
                      <a:pt x="428" y="205"/>
                      <a:pt x="417" y="197"/>
                      <a:pt x="414" y="204"/>
                    </a:cubicBezTo>
                    <a:cubicBezTo>
                      <a:pt x="411" y="211"/>
                      <a:pt x="421" y="213"/>
                      <a:pt x="424" y="209"/>
                    </a:cubicBezTo>
                    <a:close/>
                    <a:moveTo>
                      <a:pt x="481" y="174"/>
                    </a:moveTo>
                    <a:cubicBezTo>
                      <a:pt x="480" y="179"/>
                      <a:pt x="469" y="173"/>
                      <a:pt x="460" y="170"/>
                    </a:cubicBezTo>
                    <a:cubicBezTo>
                      <a:pt x="451" y="166"/>
                      <a:pt x="456" y="177"/>
                      <a:pt x="463" y="183"/>
                    </a:cubicBezTo>
                    <a:cubicBezTo>
                      <a:pt x="470" y="189"/>
                      <a:pt x="460" y="186"/>
                      <a:pt x="450" y="179"/>
                    </a:cubicBezTo>
                    <a:cubicBezTo>
                      <a:pt x="441" y="173"/>
                      <a:pt x="442" y="184"/>
                      <a:pt x="446" y="187"/>
                    </a:cubicBezTo>
                    <a:cubicBezTo>
                      <a:pt x="451" y="191"/>
                      <a:pt x="445" y="196"/>
                      <a:pt x="439" y="188"/>
                    </a:cubicBezTo>
                    <a:cubicBezTo>
                      <a:pt x="433" y="180"/>
                      <a:pt x="430" y="171"/>
                      <a:pt x="421" y="171"/>
                    </a:cubicBezTo>
                    <a:cubicBezTo>
                      <a:pt x="411" y="170"/>
                      <a:pt x="416" y="180"/>
                      <a:pt x="419" y="185"/>
                    </a:cubicBezTo>
                    <a:cubicBezTo>
                      <a:pt x="424" y="191"/>
                      <a:pt x="429" y="193"/>
                      <a:pt x="437" y="197"/>
                    </a:cubicBezTo>
                    <a:cubicBezTo>
                      <a:pt x="445" y="202"/>
                      <a:pt x="458" y="195"/>
                      <a:pt x="464" y="197"/>
                    </a:cubicBezTo>
                    <a:cubicBezTo>
                      <a:pt x="470" y="198"/>
                      <a:pt x="458" y="206"/>
                      <a:pt x="462" y="211"/>
                    </a:cubicBezTo>
                    <a:cubicBezTo>
                      <a:pt x="466" y="216"/>
                      <a:pt x="477" y="212"/>
                      <a:pt x="485" y="212"/>
                    </a:cubicBezTo>
                    <a:cubicBezTo>
                      <a:pt x="494" y="211"/>
                      <a:pt x="490" y="206"/>
                      <a:pt x="495" y="203"/>
                    </a:cubicBezTo>
                    <a:cubicBezTo>
                      <a:pt x="500" y="199"/>
                      <a:pt x="490" y="200"/>
                      <a:pt x="494" y="191"/>
                    </a:cubicBezTo>
                    <a:cubicBezTo>
                      <a:pt x="498" y="183"/>
                      <a:pt x="481" y="169"/>
                      <a:pt x="481" y="174"/>
                    </a:cubicBezTo>
                    <a:close/>
                    <a:moveTo>
                      <a:pt x="502" y="145"/>
                    </a:moveTo>
                    <a:cubicBezTo>
                      <a:pt x="509" y="145"/>
                      <a:pt x="515" y="144"/>
                      <a:pt x="522" y="141"/>
                    </a:cubicBezTo>
                    <a:cubicBezTo>
                      <a:pt x="528" y="139"/>
                      <a:pt x="518" y="139"/>
                      <a:pt x="523" y="133"/>
                    </a:cubicBezTo>
                    <a:cubicBezTo>
                      <a:pt x="527" y="127"/>
                      <a:pt x="512" y="126"/>
                      <a:pt x="511" y="128"/>
                    </a:cubicBezTo>
                    <a:cubicBezTo>
                      <a:pt x="510" y="130"/>
                      <a:pt x="490" y="116"/>
                      <a:pt x="487" y="121"/>
                    </a:cubicBezTo>
                    <a:cubicBezTo>
                      <a:pt x="484" y="125"/>
                      <a:pt x="494" y="145"/>
                      <a:pt x="502" y="145"/>
                    </a:cubicBezTo>
                    <a:close/>
                    <a:moveTo>
                      <a:pt x="542" y="147"/>
                    </a:moveTo>
                    <a:cubicBezTo>
                      <a:pt x="541" y="144"/>
                      <a:pt x="503" y="149"/>
                      <a:pt x="509" y="153"/>
                    </a:cubicBezTo>
                    <a:cubicBezTo>
                      <a:pt x="519" y="161"/>
                      <a:pt x="543" y="150"/>
                      <a:pt x="542" y="147"/>
                    </a:cubicBezTo>
                    <a:close/>
                    <a:moveTo>
                      <a:pt x="537" y="220"/>
                    </a:moveTo>
                    <a:cubicBezTo>
                      <a:pt x="546" y="220"/>
                      <a:pt x="541" y="209"/>
                      <a:pt x="531" y="201"/>
                    </a:cubicBezTo>
                    <a:cubicBezTo>
                      <a:pt x="521" y="194"/>
                      <a:pt x="499" y="209"/>
                      <a:pt x="503" y="212"/>
                    </a:cubicBezTo>
                    <a:cubicBezTo>
                      <a:pt x="507" y="216"/>
                      <a:pt x="528" y="221"/>
                      <a:pt x="537" y="220"/>
                    </a:cubicBezTo>
                    <a:close/>
                    <a:moveTo>
                      <a:pt x="473" y="290"/>
                    </a:moveTo>
                    <a:cubicBezTo>
                      <a:pt x="484" y="298"/>
                      <a:pt x="480" y="284"/>
                      <a:pt x="493" y="285"/>
                    </a:cubicBezTo>
                    <a:cubicBezTo>
                      <a:pt x="505" y="285"/>
                      <a:pt x="506" y="265"/>
                      <a:pt x="508" y="257"/>
                    </a:cubicBezTo>
                    <a:cubicBezTo>
                      <a:pt x="510" y="250"/>
                      <a:pt x="498" y="250"/>
                      <a:pt x="501" y="256"/>
                    </a:cubicBezTo>
                    <a:cubicBezTo>
                      <a:pt x="504" y="261"/>
                      <a:pt x="500" y="267"/>
                      <a:pt x="499" y="260"/>
                    </a:cubicBezTo>
                    <a:cubicBezTo>
                      <a:pt x="498" y="254"/>
                      <a:pt x="489" y="260"/>
                      <a:pt x="485" y="255"/>
                    </a:cubicBezTo>
                    <a:cubicBezTo>
                      <a:pt x="482" y="250"/>
                      <a:pt x="496" y="249"/>
                      <a:pt x="500" y="243"/>
                    </a:cubicBezTo>
                    <a:cubicBezTo>
                      <a:pt x="503" y="236"/>
                      <a:pt x="488" y="237"/>
                      <a:pt x="492" y="232"/>
                    </a:cubicBezTo>
                    <a:cubicBezTo>
                      <a:pt x="495" y="227"/>
                      <a:pt x="470" y="233"/>
                      <a:pt x="477" y="236"/>
                    </a:cubicBezTo>
                    <a:cubicBezTo>
                      <a:pt x="485" y="239"/>
                      <a:pt x="478" y="243"/>
                      <a:pt x="471" y="238"/>
                    </a:cubicBezTo>
                    <a:cubicBezTo>
                      <a:pt x="464" y="233"/>
                      <a:pt x="444" y="241"/>
                      <a:pt x="451" y="247"/>
                    </a:cubicBezTo>
                    <a:cubicBezTo>
                      <a:pt x="457" y="251"/>
                      <a:pt x="473" y="244"/>
                      <a:pt x="464" y="257"/>
                    </a:cubicBezTo>
                    <a:cubicBezTo>
                      <a:pt x="454" y="270"/>
                      <a:pt x="450" y="253"/>
                      <a:pt x="441" y="255"/>
                    </a:cubicBezTo>
                    <a:cubicBezTo>
                      <a:pt x="432" y="256"/>
                      <a:pt x="436" y="267"/>
                      <a:pt x="450" y="271"/>
                    </a:cubicBezTo>
                    <a:cubicBezTo>
                      <a:pt x="463" y="275"/>
                      <a:pt x="462" y="283"/>
                      <a:pt x="473" y="290"/>
                    </a:cubicBezTo>
                    <a:close/>
                    <a:moveTo>
                      <a:pt x="554" y="210"/>
                    </a:moveTo>
                    <a:cubicBezTo>
                      <a:pt x="558" y="220"/>
                      <a:pt x="562" y="213"/>
                      <a:pt x="567" y="217"/>
                    </a:cubicBezTo>
                    <a:cubicBezTo>
                      <a:pt x="573" y="221"/>
                      <a:pt x="581" y="224"/>
                      <a:pt x="586" y="220"/>
                    </a:cubicBezTo>
                    <a:cubicBezTo>
                      <a:pt x="590" y="216"/>
                      <a:pt x="592" y="213"/>
                      <a:pt x="594" y="216"/>
                    </a:cubicBezTo>
                    <a:cubicBezTo>
                      <a:pt x="596" y="222"/>
                      <a:pt x="607" y="223"/>
                      <a:pt x="631" y="223"/>
                    </a:cubicBezTo>
                    <a:cubicBezTo>
                      <a:pt x="655" y="224"/>
                      <a:pt x="649" y="213"/>
                      <a:pt x="656" y="217"/>
                    </a:cubicBezTo>
                    <a:cubicBezTo>
                      <a:pt x="663" y="221"/>
                      <a:pt x="679" y="221"/>
                      <a:pt x="686" y="220"/>
                    </a:cubicBezTo>
                    <a:cubicBezTo>
                      <a:pt x="693" y="218"/>
                      <a:pt x="697" y="207"/>
                      <a:pt x="696" y="202"/>
                    </a:cubicBezTo>
                    <a:cubicBezTo>
                      <a:pt x="696" y="196"/>
                      <a:pt x="642" y="192"/>
                      <a:pt x="633" y="197"/>
                    </a:cubicBezTo>
                    <a:cubicBezTo>
                      <a:pt x="623" y="203"/>
                      <a:pt x="608" y="195"/>
                      <a:pt x="601" y="199"/>
                    </a:cubicBezTo>
                    <a:cubicBezTo>
                      <a:pt x="593" y="203"/>
                      <a:pt x="596" y="194"/>
                      <a:pt x="582" y="193"/>
                    </a:cubicBezTo>
                    <a:cubicBezTo>
                      <a:pt x="569" y="193"/>
                      <a:pt x="583" y="186"/>
                      <a:pt x="586" y="183"/>
                    </a:cubicBezTo>
                    <a:cubicBezTo>
                      <a:pt x="588" y="180"/>
                      <a:pt x="565" y="172"/>
                      <a:pt x="556" y="174"/>
                    </a:cubicBezTo>
                    <a:cubicBezTo>
                      <a:pt x="546" y="176"/>
                      <a:pt x="541" y="171"/>
                      <a:pt x="532" y="167"/>
                    </a:cubicBezTo>
                    <a:cubicBezTo>
                      <a:pt x="523" y="163"/>
                      <a:pt x="498" y="164"/>
                      <a:pt x="503" y="171"/>
                    </a:cubicBezTo>
                    <a:cubicBezTo>
                      <a:pt x="507" y="176"/>
                      <a:pt x="536" y="186"/>
                      <a:pt x="539" y="181"/>
                    </a:cubicBezTo>
                    <a:cubicBezTo>
                      <a:pt x="542" y="176"/>
                      <a:pt x="549" y="187"/>
                      <a:pt x="554" y="193"/>
                    </a:cubicBezTo>
                    <a:cubicBezTo>
                      <a:pt x="558" y="198"/>
                      <a:pt x="551" y="200"/>
                      <a:pt x="554" y="210"/>
                    </a:cubicBezTo>
                    <a:close/>
                    <a:moveTo>
                      <a:pt x="580" y="151"/>
                    </a:moveTo>
                    <a:cubicBezTo>
                      <a:pt x="571" y="147"/>
                      <a:pt x="560" y="156"/>
                      <a:pt x="569" y="160"/>
                    </a:cubicBezTo>
                    <a:cubicBezTo>
                      <a:pt x="577" y="163"/>
                      <a:pt x="589" y="156"/>
                      <a:pt x="580" y="151"/>
                    </a:cubicBezTo>
                    <a:close/>
                    <a:moveTo>
                      <a:pt x="508" y="95"/>
                    </a:moveTo>
                    <a:cubicBezTo>
                      <a:pt x="515" y="99"/>
                      <a:pt x="511" y="104"/>
                      <a:pt x="519" y="107"/>
                    </a:cubicBezTo>
                    <a:cubicBezTo>
                      <a:pt x="527" y="111"/>
                      <a:pt x="550" y="103"/>
                      <a:pt x="552" y="108"/>
                    </a:cubicBezTo>
                    <a:cubicBezTo>
                      <a:pt x="554" y="114"/>
                      <a:pt x="528" y="114"/>
                      <a:pt x="532" y="118"/>
                    </a:cubicBezTo>
                    <a:cubicBezTo>
                      <a:pt x="535" y="121"/>
                      <a:pt x="550" y="127"/>
                      <a:pt x="548" y="130"/>
                    </a:cubicBezTo>
                    <a:cubicBezTo>
                      <a:pt x="546" y="133"/>
                      <a:pt x="572" y="141"/>
                      <a:pt x="574" y="137"/>
                    </a:cubicBezTo>
                    <a:cubicBezTo>
                      <a:pt x="577" y="133"/>
                      <a:pt x="584" y="134"/>
                      <a:pt x="590" y="137"/>
                    </a:cubicBezTo>
                    <a:cubicBezTo>
                      <a:pt x="597" y="139"/>
                      <a:pt x="597" y="121"/>
                      <a:pt x="602" y="124"/>
                    </a:cubicBezTo>
                    <a:cubicBezTo>
                      <a:pt x="606" y="127"/>
                      <a:pt x="606" y="118"/>
                      <a:pt x="613" y="115"/>
                    </a:cubicBezTo>
                    <a:cubicBezTo>
                      <a:pt x="621" y="112"/>
                      <a:pt x="632" y="112"/>
                      <a:pt x="632" y="108"/>
                    </a:cubicBezTo>
                    <a:cubicBezTo>
                      <a:pt x="633" y="106"/>
                      <a:pt x="630" y="102"/>
                      <a:pt x="621" y="103"/>
                    </a:cubicBezTo>
                    <a:cubicBezTo>
                      <a:pt x="612" y="104"/>
                      <a:pt x="606" y="101"/>
                      <a:pt x="610" y="96"/>
                    </a:cubicBezTo>
                    <a:cubicBezTo>
                      <a:pt x="614" y="91"/>
                      <a:pt x="600" y="89"/>
                      <a:pt x="605" y="85"/>
                    </a:cubicBezTo>
                    <a:cubicBezTo>
                      <a:pt x="610" y="81"/>
                      <a:pt x="596" y="77"/>
                      <a:pt x="597" y="83"/>
                    </a:cubicBezTo>
                    <a:cubicBezTo>
                      <a:pt x="599" y="89"/>
                      <a:pt x="588" y="84"/>
                      <a:pt x="587" y="78"/>
                    </a:cubicBezTo>
                    <a:cubicBezTo>
                      <a:pt x="585" y="73"/>
                      <a:pt x="565" y="71"/>
                      <a:pt x="551" y="59"/>
                    </a:cubicBezTo>
                    <a:cubicBezTo>
                      <a:pt x="538" y="47"/>
                      <a:pt x="524" y="55"/>
                      <a:pt x="532" y="56"/>
                    </a:cubicBezTo>
                    <a:cubicBezTo>
                      <a:pt x="540" y="58"/>
                      <a:pt x="539" y="62"/>
                      <a:pt x="533" y="61"/>
                    </a:cubicBezTo>
                    <a:cubicBezTo>
                      <a:pt x="526" y="61"/>
                      <a:pt x="515" y="62"/>
                      <a:pt x="525" y="66"/>
                    </a:cubicBezTo>
                    <a:cubicBezTo>
                      <a:pt x="536" y="70"/>
                      <a:pt x="524" y="71"/>
                      <a:pt x="516" y="71"/>
                    </a:cubicBezTo>
                    <a:cubicBezTo>
                      <a:pt x="507" y="71"/>
                      <a:pt x="507" y="82"/>
                      <a:pt x="518" y="84"/>
                    </a:cubicBezTo>
                    <a:cubicBezTo>
                      <a:pt x="529" y="85"/>
                      <a:pt x="521" y="92"/>
                      <a:pt x="512" y="89"/>
                    </a:cubicBezTo>
                    <a:cubicBezTo>
                      <a:pt x="503" y="87"/>
                      <a:pt x="500" y="91"/>
                      <a:pt x="508" y="95"/>
                    </a:cubicBezTo>
                    <a:close/>
                    <a:moveTo>
                      <a:pt x="568" y="46"/>
                    </a:moveTo>
                    <a:cubicBezTo>
                      <a:pt x="575" y="41"/>
                      <a:pt x="581" y="44"/>
                      <a:pt x="575" y="47"/>
                    </a:cubicBezTo>
                    <a:cubicBezTo>
                      <a:pt x="569" y="50"/>
                      <a:pt x="571" y="52"/>
                      <a:pt x="579" y="52"/>
                    </a:cubicBezTo>
                    <a:cubicBezTo>
                      <a:pt x="588" y="51"/>
                      <a:pt x="576" y="54"/>
                      <a:pt x="576" y="59"/>
                    </a:cubicBezTo>
                    <a:cubicBezTo>
                      <a:pt x="576" y="64"/>
                      <a:pt x="586" y="61"/>
                      <a:pt x="586" y="66"/>
                    </a:cubicBezTo>
                    <a:cubicBezTo>
                      <a:pt x="587" y="71"/>
                      <a:pt x="608" y="73"/>
                      <a:pt x="615" y="67"/>
                    </a:cubicBezTo>
                    <a:cubicBezTo>
                      <a:pt x="621" y="61"/>
                      <a:pt x="619" y="69"/>
                      <a:pt x="618" y="73"/>
                    </a:cubicBezTo>
                    <a:cubicBezTo>
                      <a:pt x="618" y="77"/>
                      <a:pt x="649" y="80"/>
                      <a:pt x="650" y="75"/>
                    </a:cubicBezTo>
                    <a:cubicBezTo>
                      <a:pt x="652" y="70"/>
                      <a:pt x="656" y="72"/>
                      <a:pt x="662" y="74"/>
                    </a:cubicBezTo>
                    <a:cubicBezTo>
                      <a:pt x="668" y="75"/>
                      <a:pt x="698" y="68"/>
                      <a:pt x="698" y="62"/>
                    </a:cubicBezTo>
                    <a:cubicBezTo>
                      <a:pt x="699" y="56"/>
                      <a:pt x="708" y="65"/>
                      <a:pt x="698" y="72"/>
                    </a:cubicBezTo>
                    <a:cubicBezTo>
                      <a:pt x="689" y="78"/>
                      <a:pt x="670" y="77"/>
                      <a:pt x="661" y="80"/>
                    </a:cubicBezTo>
                    <a:cubicBezTo>
                      <a:pt x="653" y="82"/>
                      <a:pt x="667" y="88"/>
                      <a:pt x="675" y="95"/>
                    </a:cubicBezTo>
                    <a:cubicBezTo>
                      <a:pt x="684" y="101"/>
                      <a:pt x="664" y="98"/>
                      <a:pt x="656" y="89"/>
                    </a:cubicBezTo>
                    <a:cubicBezTo>
                      <a:pt x="648" y="81"/>
                      <a:pt x="630" y="81"/>
                      <a:pt x="621" y="81"/>
                    </a:cubicBezTo>
                    <a:cubicBezTo>
                      <a:pt x="611" y="82"/>
                      <a:pt x="614" y="99"/>
                      <a:pt x="621" y="99"/>
                    </a:cubicBezTo>
                    <a:cubicBezTo>
                      <a:pt x="628" y="99"/>
                      <a:pt x="635" y="102"/>
                      <a:pt x="642" y="113"/>
                    </a:cubicBezTo>
                    <a:cubicBezTo>
                      <a:pt x="649" y="124"/>
                      <a:pt x="664" y="121"/>
                      <a:pt x="664" y="126"/>
                    </a:cubicBezTo>
                    <a:cubicBezTo>
                      <a:pt x="664" y="131"/>
                      <a:pt x="645" y="122"/>
                      <a:pt x="634" y="120"/>
                    </a:cubicBezTo>
                    <a:cubicBezTo>
                      <a:pt x="623" y="118"/>
                      <a:pt x="605" y="125"/>
                      <a:pt x="605" y="133"/>
                    </a:cubicBezTo>
                    <a:cubicBezTo>
                      <a:pt x="604" y="141"/>
                      <a:pt x="621" y="140"/>
                      <a:pt x="632" y="134"/>
                    </a:cubicBezTo>
                    <a:cubicBezTo>
                      <a:pt x="643" y="127"/>
                      <a:pt x="635" y="136"/>
                      <a:pt x="629" y="141"/>
                    </a:cubicBezTo>
                    <a:cubicBezTo>
                      <a:pt x="624" y="146"/>
                      <a:pt x="642" y="150"/>
                      <a:pt x="642" y="156"/>
                    </a:cubicBezTo>
                    <a:cubicBezTo>
                      <a:pt x="642" y="162"/>
                      <a:pt x="629" y="160"/>
                      <a:pt x="627" y="154"/>
                    </a:cubicBezTo>
                    <a:cubicBezTo>
                      <a:pt x="626" y="149"/>
                      <a:pt x="621" y="143"/>
                      <a:pt x="608" y="144"/>
                    </a:cubicBezTo>
                    <a:cubicBezTo>
                      <a:pt x="595" y="145"/>
                      <a:pt x="598" y="154"/>
                      <a:pt x="606" y="155"/>
                    </a:cubicBezTo>
                    <a:cubicBezTo>
                      <a:pt x="614" y="156"/>
                      <a:pt x="615" y="162"/>
                      <a:pt x="606" y="162"/>
                    </a:cubicBezTo>
                    <a:cubicBezTo>
                      <a:pt x="597" y="162"/>
                      <a:pt x="577" y="168"/>
                      <a:pt x="583" y="174"/>
                    </a:cubicBezTo>
                    <a:cubicBezTo>
                      <a:pt x="590" y="180"/>
                      <a:pt x="615" y="174"/>
                      <a:pt x="620" y="178"/>
                    </a:cubicBezTo>
                    <a:cubicBezTo>
                      <a:pt x="624" y="182"/>
                      <a:pt x="637" y="183"/>
                      <a:pt x="640" y="179"/>
                    </a:cubicBezTo>
                    <a:cubicBezTo>
                      <a:pt x="643" y="174"/>
                      <a:pt x="653" y="176"/>
                      <a:pt x="663" y="176"/>
                    </a:cubicBezTo>
                    <a:cubicBezTo>
                      <a:pt x="673" y="176"/>
                      <a:pt x="675" y="178"/>
                      <a:pt x="680" y="182"/>
                    </a:cubicBezTo>
                    <a:cubicBezTo>
                      <a:pt x="684" y="186"/>
                      <a:pt x="692" y="184"/>
                      <a:pt x="698" y="180"/>
                    </a:cubicBezTo>
                    <a:cubicBezTo>
                      <a:pt x="703" y="176"/>
                      <a:pt x="703" y="176"/>
                      <a:pt x="710" y="176"/>
                    </a:cubicBezTo>
                    <a:cubicBezTo>
                      <a:pt x="717" y="176"/>
                      <a:pt x="719" y="172"/>
                      <a:pt x="715" y="166"/>
                    </a:cubicBezTo>
                    <a:cubicBezTo>
                      <a:pt x="712" y="161"/>
                      <a:pt x="703" y="170"/>
                      <a:pt x="702" y="166"/>
                    </a:cubicBezTo>
                    <a:cubicBezTo>
                      <a:pt x="701" y="161"/>
                      <a:pt x="692" y="160"/>
                      <a:pt x="678" y="162"/>
                    </a:cubicBezTo>
                    <a:cubicBezTo>
                      <a:pt x="664" y="164"/>
                      <a:pt x="670" y="153"/>
                      <a:pt x="679" y="155"/>
                    </a:cubicBezTo>
                    <a:cubicBezTo>
                      <a:pt x="687" y="158"/>
                      <a:pt x="699" y="157"/>
                      <a:pt x="708" y="154"/>
                    </a:cubicBezTo>
                    <a:cubicBezTo>
                      <a:pt x="718" y="152"/>
                      <a:pt x="710" y="147"/>
                      <a:pt x="710" y="143"/>
                    </a:cubicBezTo>
                    <a:cubicBezTo>
                      <a:pt x="710" y="139"/>
                      <a:pt x="722" y="142"/>
                      <a:pt x="731" y="142"/>
                    </a:cubicBezTo>
                    <a:cubicBezTo>
                      <a:pt x="740" y="142"/>
                      <a:pt x="753" y="127"/>
                      <a:pt x="754" y="119"/>
                    </a:cubicBezTo>
                    <a:cubicBezTo>
                      <a:pt x="754" y="110"/>
                      <a:pt x="734" y="112"/>
                      <a:pt x="724" y="112"/>
                    </a:cubicBezTo>
                    <a:cubicBezTo>
                      <a:pt x="714" y="112"/>
                      <a:pt x="730" y="105"/>
                      <a:pt x="749" y="106"/>
                    </a:cubicBezTo>
                    <a:cubicBezTo>
                      <a:pt x="768" y="107"/>
                      <a:pt x="760" y="98"/>
                      <a:pt x="763" y="95"/>
                    </a:cubicBezTo>
                    <a:cubicBezTo>
                      <a:pt x="767" y="92"/>
                      <a:pt x="776" y="99"/>
                      <a:pt x="785" y="97"/>
                    </a:cubicBezTo>
                    <a:cubicBezTo>
                      <a:pt x="795" y="95"/>
                      <a:pt x="788" y="87"/>
                      <a:pt x="795" y="87"/>
                    </a:cubicBezTo>
                    <a:cubicBezTo>
                      <a:pt x="799" y="87"/>
                      <a:pt x="810" y="80"/>
                      <a:pt x="830" y="68"/>
                    </a:cubicBezTo>
                    <a:cubicBezTo>
                      <a:pt x="851" y="57"/>
                      <a:pt x="867" y="59"/>
                      <a:pt x="868" y="52"/>
                    </a:cubicBezTo>
                    <a:cubicBezTo>
                      <a:pt x="869" y="46"/>
                      <a:pt x="839" y="52"/>
                      <a:pt x="834" y="50"/>
                    </a:cubicBezTo>
                    <a:cubicBezTo>
                      <a:pt x="829" y="48"/>
                      <a:pt x="855" y="43"/>
                      <a:pt x="861" y="44"/>
                    </a:cubicBezTo>
                    <a:cubicBezTo>
                      <a:pt x="867" y="46"/>
                      <a:pt x="875" y="44"/>
                      <a:pt x="895" y="34"/>
                    </a:cubicBezTo>
                    <a:cubicBezTo>
                      <a:pt x="916" y="24"/>
                      <a:pt x="907" y="22"/>
                      <a:pt x="898" y="23"/>
                    </a:cubicBezTo>
                    <a:cubicBezTo>
                      <a:pt x="890" y="25"/>
                      <a:pt x="880" y="22"/>
                      <a:pt x="881" y="16"/>
                    </a:cubicBezTo>
                    <a:cubicBezTo>
                      <a:pt x="881" y="11"/>
                      <a:pt x="868" y="16"/>
                      <a:pt x="868" y="13"/>
                    </a:cubicBezTo>
                    <a:cubicBezTo>
                      <a:pt x="867" y="10"/>
                      <a:pt x="855" y="11"/>
                      <a:pt x="842" y="16"/>
                    </a:cubicBezTo>
                    <a:cubicBezTo>
                      <a:pt x="829" y="21"/>
                      <a:pt x="841" y="11"/>
                      <a:pt x="847" y="9"/>
                    </a:cubicBezTo>
                    <a:cubicBezTo>
                      <a:pt x="852" y="7"/>
                      <a:pt x="814" y="9"/>
                      <a:pt x="807" y="5"/>
                    </a:cubicBezTo>
                    <a:cubicBezTo>
                      <a:pt x="801" y="0"/>
                      <a:pt x="793" y="12"/>
                      <a:pt x="787" y="6"/>
                    </a:cubicBezTo>
                    <a:cubicBezTo>
                      <a:pt x="781" y="0"/>
                      <a:pt x="766" y="5"/>
                      <a:pt x="768" y="10"/>
                    </a:cubicBezTo>
                    <a:cubicBezTo>
                      <a:pt x="770" y="14"/>
                      <a:pt x="765" y="14"/>
                      <a:pt x="759" y="9"/>
                    </a:cubicBezTo>
                    <a:cubicBezTo>
                      <a:pt x="753" y="4"/>
                      <a:pt x="742" y="10"/>
                      <a:pt x="731" y="8"/>
                    </a:cubicBezTo>
                    <a:cubicBezTo>
                      <a:pt x="721" y="7"/>
                      <a:pt x="725" y="17"/>
                      <a:pt x="714" y="12"/>
                    </a:cubicBezTo>
                    <a:cubicBezTo>
                      <a:pt x="702" y="7"/>
                      <a:pt x="690" y="9"/>
                      <a:pt x="693" y="11"/>
                    </a:cubicBezTo>
                    <a:cubicBezTo>
                      <a:pt x="697" y="12"/>
                      <a:pt x="692" y="15"/>
                      <a:pt x="687" y="14"/>
                    </a:cubicBezTo>
                    <a:cubicBezTo>
                      <a:pt x="682" y="12"/>
                      <a:pt x="678" y="14"/>
                      <a:pt x="680" y="19"/>
                    </a:cubicBezTo>
                    <a:cubicBezTo>
                      <a:pt x="683" y="24"/>
                      <a:pt x="662" y="18"/>
                      <a:pt x="662" y="23"/>
                    </a:cubicBezTo>
                    <a:cubicBezTo>
                      <a:pt x="662" y="29"/>
                      <a:pt x="654" y="32"/>
                      <a:pt x="648" y="27"/>
                    </a:cubicBezTo>
                    <a:cubicBezTo>
                      <a:pt x="642" y="22"/>
                      <a:pt x="623" y="20"/>
                      <a:pt x="629" y="25"/>
                    </a:cubicBezTo>
                    <a:cubicBezTo>
                      <a:pt x="634" y="29"/>
                      <a:pt x="612" y="27"/>
                      <a:pt x="618" y="31"/>
                    </a:cubicBezTo>
                    <a:cubicBezTo>
                      <a:pt x="624" y="36"/>
                      <a:pt x="610" y="39"/>
                      <a:pt x="610" y="37"/>
                    </a:cubicBezTo>
                    <a:cubicBezTo>
                      <a:pt x="610" y="34"/>
                      <a:pt x="598" y="30"/>
                      <a:pt x="593" y="34"/>
                    </a:cubicBezTo>
                    <a:cubicBezTo>
                      <a:pt x="588" y="39"/>
                      <a:pt x="586" y="44"/>
                      <a:pt x="584" y="41"/>
                    </a:cubicBezTo>
                    <a:cubicBezTo>
                      <a:pt x="581" y="38"/>
                      <a:pt x="570" y="39"/>
                      <a:pt x="560" y="43"/>
                    </a:cubicBezTo>
                    <a:cubicBezTo>
                      <a:pt x="549" y="47"/>
                      <a:pt x="561" y="50"/>
                      <a:pt x="568" y="46"/>
                    </a:cubicBezTo>
                    <a:close/>
                    <a:moveTo>
                      <a:pt x="694" y="477"/>
                    </a:moveTo>
                    <a:cubicBezTo>
                      <a:pt x="698" y="477"/>
                      <a:pt x="705" y="464"/>
                      <a:pt x="696" y="465"/>
                    </a:cubicBezTo>
                    <a:cubicBezTo>
                      <a:pt x="687" y="465"/>
                      <a:pt x="689" y="478"/>
                      <a:pt x="694" y="477"/>
                    </a:cubicBezTo>
                    <a:close/>
                    <a:moveTo>
                      <a:pt x="650" y="466"/>
                    </a:moveTo>
                    <a:cubicBezTo>
                      <a:pt x="658" y="471"/>
                      <a:pt x="670" y="458"/>
                      <a:pt x="669" y="454"/>
                    </a:cubicBezTo>
                    <a:cubicBezTo>
                      <a:pt x="668" y="450"/>
                      <a:pt x="641" y="460"/>
                      <a:pt x="650" y="466"/>
                    </a:cubicBezTo>
                    <a:close/>
                    <a:moveTo>
                      <a:pt x="686" y="439"/>
                    </a:moveTo>
                    <a:cubicBezTo>
                      <a:pt x="687" y="434"/>
                      <a:pt x="670" y="432"/>
                      <a:pt x="671" y="426"/>
                    </a:cubicBezTo>
                    <a:cubicBezTo>
                      <a:pt x="672" y="421"/>
                      <a:pt x="654" y="416"/>
                      <a:pt x="649" y="413"/>
                    </a:cubicBezTo>
                    <a:cubicBezTo>
                      <a:pt x="643" y="410"/>
                      <a:pt x="635" y="409"/>
                      <a:pt x="635" y="403"/>
                    </a:cubicBezTo>
                    <a:cubicBezTo>
                      <a:pt x="635" y="397"/>
                      <a:pt x="623" y="401"/>
                      <a:pt x="622" y="410"/>
                    </a:cubicBezTo>
                    <a:cubicBezTo>
                      <a:pt x="622" y="419"/>
                      <a:pt x="617" y="417"/>
                      <a:pt x="619" y="426"/>
                    </a:cubicBezTo>
                    <a:cubicBezTo>
                      <a:pt x="622" y="434"/>
                      <a:pt x="608" y="436"/>
                      <a:pt x="610" y="441"/>
                    </a:cubicBezTo>
                    <a:cubicBezTo>
                      <a:pt x="611" y="445"/>
                      <a:pt x="618" y="440"/>
                      <a:pt x="624" y="440"/>
                    </a:cubicBezTo>
                    <a:cubicBezTo>
                      <a:pt x="630" y="440"/>
                      <a:pt x="622" y="449"/>
                      <a:pt x="630" y="449"/>
                    </a:cubicBezTo>
                    <a:cubicBezTo>
                      <a:pt x="636" y="450"/>
                      <a:pt x="646" y="443"/>
                      <a:pt x="649" y="439"/>
                    </a:cubicBezTo>
                    <a:cubicBezTo>
                      <a:pt x="651" y="435"/>
                      <a:pt x="656" y="433"/>
                      <a:pt x="663" y="438"/>
                    </a:cubicBezTo>
                    <a:cubicBezTo>
                      <a:pt x="670" y="443"/>
                      <a:pt x="685" y="444"/>
                      <a:pt x="686" y="439"/>
                    </a:cubicBezTo>
                    <a:close/>
                    <a:moveTo>
                      <a:pt x="850" y="395"/>
                    </a:moveTo>
                    <a:cubicBezTo>
                      <a:pt x="856" y="395"/>
                      <a:pt x="857" y="403"/>
                      <a:pt x="866" y="411"/>
                    </a:cubicBezTo>
                    <a:cubicBezTo>
                      <a:pt x="876" y="419"/>
                      <a:pt x="877" y="413"/>
                      <a:pt x="878" y="408"/>
                    </a:cubicBezTo>
                    <a:cubicBezTo>
                      <a:pt x="880" y="402"/>
                      <a:pt x="890" y="407"/>
                      <a:pt x="890" y="401"/>
                    </a:cubicBezTo>
                    <a:cubicBezTo>
                      <a:pt x="889" y="396"/>
                      <a:pt x="898" y="389"/>
                      <a:pt x="904" y="387"/>
                    </a:cubicBezTo>
                    <a:cubicBezTo>
                      <a:pt x="910" y="384"/>
                      <a:pt x="899" y="378"/>
                      <a:pt x="891" y="379"/>
                    </a:cubicBezTo>
                    <a:cubicBezTo>
                      <a:pt x="883" y="379"/>
                      <a:pt x="882" y="374"/>
                      <a:pt x="882" y="370"/>
                    </a:cubicBezTo>
                    <a:cubicBezTo>
                      <a:pt x="882" y="367"/>
                      <a:pt x="867" y="358"/>
                      <a:pt x="862" y="360"/>
                    </a:cubicBezTo>
                    <a:cubicBezTo>
                      <a:pt x="857" y="361"/>
                      <a:pt x="848" y="353"/>
                      <a:pt x="842" y="353"/>
                    </a:cubicBezTo>
                    <a:cubicBezTo>
                      <a:pt x="835" y="352"/>
                      <a:pt x="826" y="347"/>
                      <a:pt x="827" y="340"/>
                    </a:cubicBezTo>
                    <a:cubicBezTo>
                      <a:pt x="828" y="333"/>
                      <a:pt x="840" y="342"/>
                      <a:pt x="842" y="337"/>
                    </a:cubicBezTo>
                    <a:cubicBezTo>
                      <a:pt x="845" y="331"/>
                      <a:pt x="830" y="334"/>
                      <a:pt x="829" y="330"/>
                    </a:cubicBezTo>
                    <a:cubicBezTo>
                      <a:pt x="829" y="326"/>
                      <a:pt x="833" y="328"/>
                      <a:pt x="836" y="325"/>
                    </a:cubicBezTo>
                    <a:cubicBezTo>
                      <a:pt x="839" y="323"/>
                      <a:pt x="833" y="318"/>
                      <a:pt x="830" y="316"/>
                    </a:cubicBezTo>
                    <a:cubicBezTo>
                      <a:pt x="826" y="314"/>
                      <a:pt x="825" y="320"/>
                      <a:pt x="822" y="320"/>
                    </a:cubicBezTo>
                    <a:cubicBezTo>
                      <a:pt x="818" y="320"/>
                      <a:pt x="821" y="314"/>
                      <a:pt x="824" y="311"/>
                    </a:cubicBezTo>
                    <a:cubicBezTo>
                      <a:pt x="826" y="307"/>
                      <a:pt x="812" y="303"/>
                      <a:pt x="806" y="305"/>
                    </a:cubicBezTo>
                    <a:cubicBezTo>
                      <a:pt x="800" y="307"/>
                      <a:pt x="798" y="304"/>
                      <a:pt x="798" y="300"/>
                    </a:cubicBezTo>
                    <a:cubicBezTo>
                      <a:pt x="798" y="296"/>
                      <a:pt x="788" y="300"/>
                      <a:pt x="784" y="303"/>
                    </a:cubicBezTo>
                    <a:cubicBezTo>
                      <a:pt x="780" y="306"/>
                      <a:pt x="775" y="300"/>
                      <a:pt x="780" y="299"/>
                    </a:cubicBezTo>
                    <a:cubicBezTo>
                      <a:pt x="785" y="299"/>
                      <a:pt x="791" y="295"/>
                      <a:pt x="789" y="290"/>
                    </a:cubicBezTo>
                    <a:cubicBezTo>
                      <a:pt x="788" y="286"/>
                      <a:pt x="775" y="285"/>
                      <a:pt x="772" y="291"/>
                    </a:cubicBezTo>
                    <a:cubicBezTo>
                      <a:pt x="770" y="296"/>
                      <a:pt x="759" y="285"/>
                      <a:pt x="759" y="280"/>
                    </a:cubicBezTo>
                    <a:cubicBezTo>
                      <a:pt x="759" y="276"/>
                      <a:pt x="743" y="280"/>
                      <a:pt x="745" y="272"/>
                    </a:cubicBezTo>
                    <a:cubicBezTo>
                      <a:pt x="747" y="265"/>
                      <a:pt x="727" y="263"/>
                      <a:pt x="721" y="263"/>
                    </a:cubicBezTo>
                    <a:cubicBezTo>
                      <a:pt x="716" y="263"/>
                      <a:pt x="708" y="267"/>
                      <a:pt x="709" y="272"/>
                    </a:cubicBezTo>
                    <a:cubicBezTo>
                      <a:pt x="710" y="277"/>
                      <a:pt x="703" y="275"/>
                      <a:pt x="702" y="270"/>
                    </a:cubicBezTo>
                    <a:cubicBezTo>
                      <a:pt x="701" y="264"/>
                      <a:pt x="687" y="276"/>
                      <a:pt x="683" y="276"/>
                    </a:cubicBezTo>
                    <a:cubicBezTo>
                      <a:pt x="679" y="276"/>
                      <a:pt x="686" y="261"/>
                      <a:pt x="684" y="257"/>
                    </a:cubicBezTo>
                    <a:cubicBezTo>
                      <a:pt x="682" y="252"/>
                      <a:pt x="679" y="251"/>
                      <a:pt x="676" y="243"/>
                    </a:cubicBezTo>
                    <a:cubicBezTo>
                      <a:pt x="673" y="236"/>
                      <a:pt x="658" y="239"/>
                      <a:pt x="654" y="243"/>
                    </a:cubicBezTo>
                    <a:cubicBezTo>
                      <a:pt x="650" y="248"/>
                      <a:pt x="637" y="246"/>
                      <a:pt x="630" y="253"/>
                    </a:cubicBezTo>
                    <a:cubicBezTo>
                      <a:pt x="623" y="260"/>
                      <a:pt x="630" y="267"/>
                      <a:pt x="633" y="269"/>
                    </a:cubicBezTo>
                    <a:cubicBezTo>
                      <a:pt x="636" y="272"/>
                      <a:pt x="623" y="276"/>
                      <a:pt x="627" y="280"/>
                    </a:cubicBezTo>
                    <a:cubicBezTo>
                      <a:pt x="632" y="284"/>
                      <a:pt x="639" y="282"/>
                      <a:pt x="639" y="288"/>
                    </a:cubicBezTo>
                    <a:cubicBezTo>
                      <a:pt x="640" y="295"/>
                      <a:pt x="623" y="286"/>
                      <a:pt x="620" y="281"/>
                    </a:cubicBezTo>
                    <a:cubicBezTo>
                      <a:pt x="618" y="275"/>
                      <a:pt x="621" y="270"/>
                      <a:pt x="618" y="266"/>
                    </a:cubicBezTo>
                    <a:cubicBezTo>
                      <a:pt x="614" y="262"/>
                      <a:pt x="617" y="257"/>
                      <a:pt x="624" y="250"/>
                    </a:cubicBezTo>
                    <a:cubicBezTo>
                      <a:pt x="630" y="243"/>
                      <a:pt x="635" y="244"/>
                      <a:pt x="635" y="240"/>
                    </a:cubicBezTo>
                    <a:cubicBezTo>
                      <a:pt x="635" y="236"/>
                      <a:pt x="607" y="236"/>
                      <a:pt x="591" y="251"/>
                    </a:cubicBezTo>
                    <a:cubicBezTo>
                      <a:pt x="574" y="266"/>
                      <a:pt x="579" y="286"/>
                      <a:pt x="580" y="290"/>
                    </a:cubicBezTo>
                    <a:cubicBezTo>
                      <a:pt x="581" y="294"/>
                      <a:pt x="596" y="292"/>
                      <a:pt x="604" y="295"/>
                    </a:cubicBezTo>
                    <a:cubicBezTo>
                      <a:pt x="613" y="297"/>
                      <a:pt x="608" y="301"/>
                      <a:pt x="602" y="300"/>
                    </a:cubicBezTo>
                    <a:cubicBezTo>
                      <a:pt x="595" y="299"/>
                      <a:pt x="584" y="297"/>
                      <a:pt x="585" y="301"/>
                    </a:cubicBezTo>
                    <a:cubicBezTo>
                      <a:pt x="585" y="306"/>
                      <a:pt x="599" y="314"/>
                      <a:pt x="607" y="312"/>
                    </a:cubicBezTo>
                    <a:cubicBezTo>
                      <a:pt x="615" y="310"/>
                      <a:pt x="615" y="310"/>
                      <a:pt x="618" y="315"/>
                    </a:cubicBezTo>
                    <a:cubicBezTo>
                      <a:pt x="622" y="319"/>
                      <a:pt x="631" y="318"/>
                      <a:pt x="641" y="318"/>
                    </a:cubicBezTo>
                    <a:cubicBezTo>
                      <a:pt x="650" y="319"/>
                      <a:pt x="661" y="322"/>
                      <a:pt x="666" y="323"/>
                    </a:cubicBezTo>
                    <a:cubicBezTo>
                      <a:pt x="670" y="323"/>
                      <a:pt x="676" y="320"/>
                      <a:pt x="677" y="318"/>
                    </a:cubicBezTo>
                    <a:cubicBezTo>
                      <a:pt x="679" y="315"/>
                      <a:pt x="697" y="322"/>
                      <a:pt x="703" y="321"/>
                    </a:cubicBezTo>
                    <a:cubicBezTo>
                      <a:pt x="708" y="321"/>
                      <a:pt x="705" y="316"/>
                      <a:pt x="701" y="314"/>
                    </a:cubicBezTo>
                    <a:cubicBezTo>
                      <a:pt x="698" y="313"/>
                      <a:pt x="699" y="306"/>
                      <a:pt x="704" y="309"/>
                    </a:cubicBezTo>
                    <a:cubicBezTo>
                      <a:pt x="708" y="311"/>
                      <a:pt x="716" y="313"/>
                      <a:pt x="717" y="317"/>
                    </a:cubicBezTo>
                    <a:cubicBezTo>
                      <a:pt x="719" y="321"/>
                      <a:pt x="723" y="319"/>
                      <a:pt x="723" y="323"/>
                    </a:cubicBezTo>
                    <a:cubicBezTo>
                      <a:pt x="724" y="326"/>
                      <a:pt x="740" y="330"/>
                      <a:pt x="740" y="334"/>
                    </a:cubicBezTo>
                    <a:cubicBezTo>
                      <a:pt x="741" y="338"/>
                      <a:pt x="725" y="340"/>
                      <a:pt x="729" y="344"/>
                    </a:cubicBezTo>
                    <a:cubicBezTo>
                      <a:pt x="734" y="347"/>
                      <a:pt x="741" y="339"/>
                      <a:pt x="747" y="339"/>
                    </a:cubicBezTo>
                    <a:cubicBezTo>
                      <a:pt x="753" y="338"/>
                      <a:pt x="753" y="352"/>
                      <a:pt x="757" y="350"/>
                    </a:cubicBezTo>
                    <a:cubicBezTo>
                      <a:pt x="763" y="347"/>
                      <a:pt x="768" y="352"/>
                      <a:pt x="774" y="361"/>
                    </a:cubicBezTo>
                    <a:cubicBezTo>
                      <a:pt x="780" y="369"/>
                      <a:pt x="774" y="377"/>
                      <a:pt x="774" y="380"/>
                    </a:cubicBezTo>
                    <a:cubicBezTo>
                      <a:pt x="775" y="383"/>
                      <a:pt x="786" y="382"/>
                      <a:pt x="793" y="379"/>
                    </a:cubicBezTo>
                    <a:cubicBezTo>
                      <a:pt x="799" y="375"/>
                      <a:pt x="805" y="383"/>
                      <a:pt x="810" y="387"/>
                    </a:cubicBezTo>
                    <a:cubicBezTo>
                      <a:pt x="815" y="392"/>
                      <a:pt x="792" y="399"/>
                      <a:pt x="794" y="395"/>
                    </a:cubicBezTo>
                    <a:cubicBezTo>
                      <a:pt x="796" y="391"/>
                      <a:pt x="780" y="379"/>
                      <a:pt x="765" y="385"/>
                    </a:cubicBezTo>
                    <a:cubicBezTo>
                      <a:pt x="751" y="390"/>
                      <a:pt x="761" y="399"/>
                      <a:pt x="762" y="404"/>
                    </a:cubicBezTo>
                    <a:cubicBezTo>
                      <a:pt x="764" y="409"/>
                      <a:pt x="749" y="414"/>
                      <a:pt x="736" y="409"/>
                    </a:cubicBezTo>
                    <a:cubicBezTo>
                      <a:pt x="722" y="405"/>
                      <a:pt x="726" y="412"/>
                      <a:pt x="721" y="412"/>
                    </a:cubicBezTo>
                    <a:cubicBezTo>
                      <a:pt x="715" y="412"/>
                      <a:pt x="709" y="421"/>
                      <a:pt x="714" y="426"/>
                    </a:cubicBezTo>
                    <a:cubicBezTo>
                      <a:pt x="719" y="432"/>
                      <a:pt x="730" y="427"/>
                      <a:pt x="739" y="427"/>
                    </a:cubicBezTo>
                    <a:cubicBezTo>
                      <a:pt x="748" y="428"/>
                      <a:pt x="749" y="430"/>
                      <a:pt x="750" y="425"/>
                    </a:cubicBezTo>
                    <a:cubicBezTo>
                      <a:pt x="751" y="420"/>
                      <a:pt x="761" y="423"/>
                      <a:pt x="767" y="424"/>
                    </a:cubicBezTo>
                    <a:cubicBezTo>
                      <a:pt x="774" y="426"/>
                      <a:pt x="772" y="435"/>
                      <a:pt x="780" y="436"/>
                    </a:cubicBezTo>
                    <a:cubicBezTo>
                      <a:pt x="788" y="437"/>
                      <a:pt x="782" y="445"/>
                      <a:pt x="787" y="450"/>
                    </a:cubicBezTo>
                    <a:cubicBezTo>
                      <a:pt x="792" y="456"/>
                      <a:pt x="808" y="453"/>
                      <a:pt x="814" y="459"/>
                    </a:cubicBezTo>
                    <a:cubicBezTo>
                      <a:pt x="820" y="465"/>
                      <a:pt x="845" y="477"/>
                      <a:pt x="849" y="472"/>
                    </a:cubicBezTo>
                    <a:cubicBezTo>
                      <a:pt x="853" y="467"/>
                      <a:pt x="827" y="444"/>
                      <a:pt x="819" y="442"/>
                    </a:cubicBezTo>
                    <a:cubicBezTo>
                      <a:pt x="812" y="440"/>
                      <a:pt x="827" y="438"/>
                      <a:pt x="836" y="445"/>
                    </a:cubicBezTo>
                    <a:cubicBezTo>
                      <a:pt x="846" y="453"/>
                      <a:pt x="860" y="456"/>
                      <a:pt x="867" y="447"/>
                    </a:cubicBezTo>
                    <a:cubicBezTo>
                      <a:pt x="874" y="438"/>
                      <a:pt x="861" y="441"/>
                      <a:pt x="861" y="434"/>
                    </a:cubicBezTo>
                    <a:cubicBezTo>
                      <a:pt x="861" y="428"/>
                      <a:pt x="856" y="419"/>
                      <a:pt x="849" y="419"/>
                    </a:cubicBezTo>
                    <a:cubicBezTo>
                      <a:pt x="842" y="419"/>
                      <a:pt x="824" y="405"/>
                      <a:pt x="831" y="402"/>
                    </a:cubicBezTo>
                    <a:cubicBezTo>
                      <a:pt x="837" y="399"/>
                      <a:pt x="829" y="395"/>
                      <a:pt x="834" y="389"/>
                    </a:cubicBezTo>
                    <a:cubicBezTo>
                      <a:pt x="839" y="384"/>
                      <a:pt x="844" y="394"/>
                      <a:pt x="850" y="395"/>
                    </a:cubicBezTo>
                    <a:close/>
                    <a:moveTo>
                      <a:pt x="744" y="371"/>
                    </a:moveTo>
                    <a:cubicBezTo>
                      <a:pt x="750" y="370"/>
                      <a:pt x="749" y="361"/>
                      <a:pt x="746" y="356"/>
                    </a:cubicBezTo>
                    <a:cubicBezTo>
                      <a:pt x="743" y="352"/>
                      <a:pt x="737" y="352"/>
                      <a:pt x="731" y="352"/>
                    </a:cubicBezTo>
                    <a:cubicBezTo>
                      <a:pt x="726" y="353"/>
                      <a:pt x="716" y="361"/>
                      <a:pt x="721" y="370"/>
                    </a:cubicBezTo>
                    <a:cubicBezTo>
                      <a:pt x="726" y="378"/>
                      <a:pt x="738" y="372"/>
                      <a:pt x="744" y="371"/>
                    </a:cubicBezTo>
                    <a:close/>
                    <a:moveTo>
                      <a:pt x="682" y="241"/>
                    </a:moveTo>
                    <a:cubicBezTo>
                      <a:pt x="679" y="247"/>
                      <a:pt x="688" y="247"/>
                      <a:pt x="689" y="255"/>
                    </a:cubicBezTo>
                    <a:cubicBezTo>
                      <a:pt x="689" y="262"/>
                      <a:pt x="699" y="265"/>
                      <a:pt x="706" y="260"/>
                    </a:cubicBezTo>
                    <a:cubicBezTo>
                      <a:pt x="713" y="256"/>
                      <a:pt x="733" y="262"/>
                      <a:pt x="733" y="256"/>
                    </a:cubicBezTo>
                    <a:cubicBezTo>
                      <a:pt x="733" y="250"/>
                      <a:pt x="712" y="240"/>
                      <a:pt x="704" y="242"/>
                    </a:cubicBezTo>
                    <a:cubicBezTo>
                      <a:pt x="697" y="243"/>
                      <a:pt x="685" y="234"/>
                      <a:pt x="682" y="241"/>
                    </a:cubicBezTo>
                    <a:close/>
                    <a:moveTo>
                      <a:pt x="869" y="666"/>
                    </a:moveTo>
                    <a:cubicBezTo>
                      <a:pt x="870" y="670"/>
                      <a:pt x="899" y="682"/>
                      <a:pt x="900" y="677"/>
                    </a:cubicBezTo>
                    <a:cubicBezTo>
                      <a:pt x="901" y="671"/>
                      <a:pt x="868" y="663"/>
                      <a:pt x="869" y="666"/>
                    </a:cubicBezTo>
                    <a:close/>
                    <a:moveTo>
                      <a:pt x="996" y="696"/>
                    </a:moveTo>
                    <a:cubicBezTo>
                      <a:pt x="994" y="700"/>
                      <a:pt x="991" y="694"/>
                      <a:pt x="996" y="690"/>
                    </a:cubicBezTo>
                    <a:cubicBezTo>
                      <a:pt x="1000" y="687"/>
                      <a:pt x="995" y="686"/>
                      <a:pt x="991" y="688"/>
                    </a:cubicBezTo>
                    <a:cubicBezTo>
                      <a:pt x="987" y="690"/>
                      <a:pt x="988" y="679"/>
                      <a:pt x="992" y="677"/>
                    </a:cubicBezTo>
                    <a:cubicBezTo>
                      <a:pt x="995" y="675"/>
                      <a:pt x="983" y="671"/>
                      <a:pt x="983" y="674"/>
                    </a:cubicBezTo>
                    <a:cubicBezTo>
                      <a:pt x="983" y="678"/>
                      <a:pt x="974" y="676"/>
                      <a:pt x="973" y="672"/>
                    </a:cubicBezTo>
                    <a:cubicBezTo>
                      <a:pt x="972" y="669"/>
                      <a:pt x="965" y="668"/>
                      <a:pt x="968" y="666"/>
                    </a:cubicBezTo>
                    <a:cubicBezTo>
                      <a:pt x="970" y="663"/>
                      <a:pt x="960" y="662"/>
                      <a:pt x="959" y="666"/>
                    </a:cubicBezTo>
                    <a:cubicBezTo>
                      <a:pt x="958" y="670"/>
                      <a:pt x="955" y="663"/>
                      <a:pt x="960" y="658"/>
                    </a:cubicBezTo>
                    <a:cubicBezTo>
                      <a:pt x="965" y="653"/>
                      <a:pt x="963" y="648"/>
                      <a:pt x="968" y="645"/>
                    </a:cubicBezTo>
                    <a:cubicBezTo>
                      <a:pt x="973" y="643"/>
                      <a:pt x="968" y="640"/>
                      <a:pt x="963" y="642"/>
                    </a:cubicBezTo>
                    <a:cubicBezTo>
                      <a:pt x="958" y="644"/>
                      <a:pt x="944" y="662"/>
                      <a:pt x="944" y="667"/>
                    </a:cubicBezTo>
                    <a:cubicBezTo>
                      <a:pt x="944" y="672"/>
                      <a:pt x="944" y="678"/>
                      <a:pt x="939" y="678"/>
                    </a:cubicBezTo>
                    <a:cubicBezTo>
                      <a:pt x="935" y="677"/>
                      <a:pt x="929" y="682"/>
                      <a:pt x="933" y="684"/>
                    </a:cubicBezTo>
                    <a:cubicBezTo>
                      <a:pt x="937" y="687"/>
                      <a:pt x="923" y="694"/>
                      <a:pt x="930" y="698"/>
                    </a:cubicBezTo>
                    <a:cubicBezTo>
                      <a:pt x="934" y="700"/>
                      <a:pt x="941" y="697"/>
                      <a:pt x="947" y="698"/>
                    </a:cubicBezTo>
                    <a:cubicBezTo>
                      <a:pt x="953" y="698"/>
                      <a:pt x="958" y="699"/>
                      <a:pt x="963" y="695"/>
                    </a:cubicBezTo>
                    <a:cubicBezTo>
                      <a:pt x="968" y="691"/>
                      <a:pt x="968" y="698"/>
                      <a:pt x="973" y="698"/>
                    </a:cubicBezTo>
                    <a:cubicBezTo>
                      <a:pt x="979" y="697"/>
                      <a:pt x="970" y="702"/>
                      <a:pt x="971" y="706"/>
                    </a:cubicBezTo>
                    <a:cubicBezTo>
                      <a:pt x="971" y="709"/>
                      <a:pt x="976" y="704"/>
                      <a:pt x="980" y="702"/>
                    </a:cubicBezTo>
                    <a:cubicBezTo>
                      <a:pt x="984" y="700"/>
                      <a:pt x="989" y="702"/>
                      <a:pt x="987" y="705"/>
                    </a:cubicBezTo>
                    <a:cubicBezTo>
                      <a:pt x="985" y="708"/>
                      <a:pt x="998" y="712"/>
                      <a:pt x="1001" y="706"/>
                    </a:cubicBezTo>
                    <a:cubicBezTo>
                      <a:pt x="1004" y="701"/>
                      <a:pt x="998" y="693"/>
                      <a:pt x="996" y="696"/>
                    </a:cubicBezTo>
                    <a:close/>
                    <a:moveTo>
                      <a:pt x="92" y="604"/>
                    </a:moveTo>
                    <a:cubicBezTo>
                      <a:pt x="83" y="609"/>
                      <a:pt x="105" y="632"/>
                      <a:pt x="110" y="629"/>
                    </a:cubicBezTo>
                    <a:cubicBezTo>
                      <a:pt x="113" y="627"/>
                      <a:pt x="104" y="618"/>
                      <a:pt x="104" y="612"/>
                    </a:cubicBezTo>
                    <a:cubicBezTo>
                      <a:pt x="104" y="606"/>
                      <a:pt x="101" y="600"/>
                      <a:pt x="92" y="604"/>
                    </a:cubicBezTo>
                    <a:close/>
                    <a:moveTo>
                      <a:pt x="916" y="718"/>
                    </a:moveTo>
                    <a:cubicBezTo>
                      <a:pt x="913" y="719"/>
                      <a:pt x="916" y="713"/>
                      <a:pt x="916" y="711"/>
                    </a:cubicBezTo>
                    <a:cubicBezTo>
                      <a:pt x="917" y="708"/>
                      <a:pt x="909" y="712"/>
                      <a:pt x="908" y="715"/>
                    </a:cubicBezTo>
                    <a:cubicBezTo>
                      <a:pt x="908" y="718"/>
                      <a:pt x="903" y="720"/>
                      <a:pt x="903" y="722"/>
                    </a:cubicBezTo>
                    <a:cubicBezTo>
                      <a:pt x="903" y="728"/>
                      <a:pt x="902" y="724"/>
                      <a:pt x="898" y="726"/>
                    </a:cubicBezTo>
                    <a:cubicBezTo>
                      <a:pt x="894" y="728"/>
                      <a:pt x="878" y="726"/>
                      <a:pt x="878" y="723"/>
                    </a:cubicBezTo>
                    <a:cubicBezTo>
                      <a:pt x="877" y="719"/>
                      <a:pt x="866" y="718"/>
                      <a:pt x="866" y="713"/>
                    </a:cubicBezTo>
                    <a:cubicBezTo>
                      <a:pt x="865" y="708"/>
                      <a:pt x="860" y="707"/>
                      <a:pt x="864" y="701"/>
                    </a:cubicBezTo>
                    <a:cubicBezTo>
                      <a:pt x="869" y="696"/>
                      <a:pt x="863" y="694"/>
                      <a:pt x="859" y="698"/>
                    </a:cubicBezTo>
                    <a:cubicBezTo>
                      <a:pt x="855" y="702"/>
                      <a:pt x="852" y="695"/>
                      <a:pt x="858" y="693"/>
                    </a:cubicBezTo>
                    <a:cubicBezTo>
                      <a:pt x="864" y="691"/>
                      <a:pt x="875" y="689"/>
                      <a:pt x="869" y="679"/>
                    </a:cubicBezTo>
                    <a:cubicBezTo>
                      <a:pt x="864" y="669"/>
                      <a:pt x="829" y="682"/>
                      <a:pt x="820" y="687"/>
                    </a:cubicBezTo>
                    <a:cubicBezTo>
                      <a:pt x="812" y="692"/>
                      <a:pt x="801" y="708"/>
                      <a:pt x="796" y="708"/>
                    </a:cubicBezTo>
                    <a:cubicBezTo>
                      <a:pt x="791" y="708"/>
                      <a:pt x="804" y="699"/>
                      <a:pt x="806" y="696"/>
                    </a:cubicBezTo>
                    <a:cubicBezTo>
                      <a:pt x="808" y="693"/>
                      <a:pt x="806" y="689"/>
                      <a:pt x="808" y="691"/>
                    </a:cubicBezTo>
                    <a:cubicBezTo>
                      <a:pt x="811" y="692"/>
                      <a:pt x="819" y="680"/>
                      <a:pt x="824" y="676"/>
                    </a:cubicBezTo>
                    <a:cubicBezTo>
                      <a:pt x="829" y="672"/>
                      <a:pt x="835" y="676"/>
                      <a:pt x="836" y="672"/>
                    </a:cubicBezTo>
                    <a:cubicBezTo>
                      <a:pt x="837" y="669"/>
                      <a:pt x="839" y="667"/>
                      <a:pt x="844" y="662"/>
                    </a:cubicBezTo>
                    <a:cubicBezTo>
                      <a:pt x="849" y="658"/>
                      <a:pt x="909" y="659"/>
                      <a:pt x="915" y="659"/>
                    </a:cubicBezTo>
                    <a:cubicBezTo>
                      <a:pt x="920" y="659"/>
                      <a:pt x="932" y="651"/>
                      <a:pt x="935" y="646"/>
                    </a:cubicBezTo>
                    <a:cubicBezTo>
                      <a:pt x="938" y="641"/>
                      <a:pt x="942" y="641"/>
                      <a:pt x="950" y="642"/>
                    </a:cubicBezTo>
                    <a:cubicBezTo>
                      <a:pt x="958" y="642"/>
                      <a:pt x="962" y="635"/>
                      <a:pt x="966" y="632"/>
                    </a:cubicBezTo>
                    <a:cubicBezTo>
                      <a:pt x="970" y="630"/>
                      <a:pt x="969" y="628"/>
                      <a:pt x="965" y="628"/>
                    </a:cubicBezTo>
                    <a:cubicBezTo>
                      <a:pt x="962" y="627"/>
                      <a:pt x="958" y="625"/>
                      <a:pt x="962" y="624"/>
                    </a:cubicBezTo>
                    <a:cubicBezTo>
                      <a:pt x="965" y="624"/>
                      <a:pt x="967" y="622"/>
                      <a:pt x="969" y="618"/>
                    </a:cubicBezTo>
                    <a:cubicBezTo>
                      <a:pt x="970" y="613"/>
                      <a:pt x="967" y="615"/>
                      <a:pt x="963" y="609"/>
                    </a:cubicBezTo>
                    <a:cubicBezTo>
                      <a:pt x="958" y="603"/>
                      <a:pt x="955" y="611"/>
                      <a:pt x="951" y="610"/>
                    </a:cubicBezTo>
                    <a:cubicBezTo>
                      <a:pt x="946" y="610"/>
                      <a:pt x="954" y="604"/>
                      <a:pt x="950" y="601"/>
                    </a:cubicBezTo>
                    <a:cubicBezTo>
                      <a:pt x="946" y="599"/>
                      <a:pt x="938" y="601"/>
                      <a:pt x="932" y="606"/>
                    </a:cubicBezTo>
                    <a:cubicBezTo>
                      <a:pt x="926" y="611"/>
                      <a:pt x="927" y="605"/>
                      <a:pt x="922" y="610"/>
                    </a:cubicBezTo>
                    <a:cubicBezTo>
                      <a:pt x="916" y="615"/>
                      <a:pt x="916" y="608"/>
                      <a:pt x="919" y="606"/>
                    </a:cubicBezTo>
                    <a:cubicBezTo>
                      <a:pt x="921" y="604"/>
                      <a:pt x="923" y="606"/>
                      <a:pt x="925" y="603"/>
                    </a:cubicBezTo>
                    <a:cubicBezTo>
                      <a:pt x="928" y="600"/>
                      <a:pt x="930" y="603"/>
                      <a:pt x="936" y="599"/>
                    </a:cubicBezTo>
                    <a:cubicBezTo>
                      <a:pt x="941" y="596"/>
                      <a:pt x="946" y="597"/>
                      <a:pt x="948" y="595"/>
                    </a:cubicBezTo>
                    <a:cubicBezTo>
                      <a:pt x="950" y="592"/>
                      <a:pt x="945" y="588"/>
                      <a:pt x="940" y="589"/>
                    </a:cubicBezTo>
                    <a:cubicBezTo>
                      <a:pt x="934" y="591"/>
                      <a:pt x="931" y="582"/>
                      <a:pt x="927" y="584"/>
                    </a:cubicBezTo>
                    <a:cubicBezTo>
                      <a:pt x="924" y="587"/>
                      <a:pt x="924" y="581"/>
                      <a:pt x="920" y="583"/>
                    </a:cubicBezTo>
                    <a:cubicBezTo>
                      <a:pt x="916" y="586"/>
                      <a:pt x="914" y="582"/>
                      <a:pt x="912" y="578"/>
                    </a:cubicBezTo>
                    <a:cubicBezTo>
                      <a:pt x="911" y="573"/>
                      <a:pt x="900" y="565"/>
                      <a:pt x="893" y="563"/>
                    </a:cubicBezTo>
                    <a:cubicBezTo>
                      <a:pt x="887" y="561"/>
                      <a:pt x="891" y="558"/>
                      <a:pt x="895" y="560"/>
                    </a:cubicBezTo>
                    <a:cubicBezTo>
                      <a:pt x="898" y="563"/>
                      <a:pt x="902" y="558"/>
                      <a:pt x="904" y="555"/>
                    </a:cubicBezTo>
                    <a:cubicBezTo>
                      <a:pt x="905" y="553"/>
                      <a:pt x="901" y="550"/>
                      <a:pt x="899" y="550"/>
                    </a:cubicBezTo>
                    <a:cubicBezTo>
                      <a:pt x="897" y="550"/>
                      <a:pt x="897" y="547"/>
                      <a:pt x="898" y="544"/>
                    </a:cubicBezTo>
                    <a:cubicBezTo>
                      <a:pt x="898" y="542"/>
                      <a:pt x="891" y="538"/>
                      <a:pt x="890" y="536"/>
                    </a:cubicBezTo>
                    <a:cubicBezTo>
                      <a:pt x="890" y="533"/>
                      <a:pt x="886" y="532"/>
                      <a:pt x="886" y="529"/>
                    </a:cubicBezTo>
                    <a:cubicBezTo>
                      <a:pt x="886" y="527"/>
                      <a:pt x="882" y="524"/>
                      <a:pt x="882" y="521"/>
                    </a:cubicBezTo>
                    <a:cubicBezTo>
                      <a:pt x="882" y="518"/>
                      <a:pt x="874" y="512"/>
                      <a:pt x="874" y="508"/>
                    </a:cubicBezTo>
                    <a:cubicBezTo>
                      <a:pt x="874" y="505"/>
                      <a:pt x="870" y="502"/>
                      <a:pt x="868" y="498"/>
                    </a:cubicBezTo>
                    <a:cubicBezTo>
                      <a:pt x="867" y="494"/>
                      <a:pt x="865" y="496"/>
                      <a:pt x="863" y="502"/>
                    </a:cubicBezTo>
                    <a:cubicBezTo>
                      <a:pt x="862" y="508"/>
                      <a:pt x="857" y="508"/>
                      <a:pt x="858" y="510"/>
                    </a:cubicBezTo>
                    <a:cubicBezTo>
                      <a:pt x="861" y="514"/>
                      <a:pt x="859" y="514"/>
                      <a:pt x="857" y="516"/>
                    </a:cubicBezTo>
                    <a:cubicBezTo>
                      <a:pt x="854" y="519"/>
                      <a:pt x="858" y="523"/>
                      <a:pt x="854" y="523"/>
                    </a:cubicBezTo>
                    <a:cubicBezTo>
                      <a:pt x="851" y="523"/>
                      <a:pt x="852" y="530"/>
                      <a:pt x="850" y="527"/>
                    </a:cubicBezTo>
                    <a:cubicBezTo>
                      <a:pt x="848" y="523"/>
                      <a:pt x="844" y="524"/>
                      <a:pt x="844" y="528"/>
                    </a:cubicBezTo>
                    <a:cubicBezTo>
                      <a:pt x="844" y="531"/>
                      <a:pt x="836" y="535"/>
                      <a:pt x="832" y="534"/>
                    </a:cubicBezTo>
                    <a:cubicBezTo>
                      <a:pt x="829" y="534"/>
                      <a:pt x="829" y="527"/>
                      <a:pt x="826" y="529"/>
                    </a:cubicBezTo>
                    <a:cubicBezTo>
                      <a:pt x="824" y="531"/>
                      <a:pt x="824" y="524"/>
                      <a:pt x="820" y="524"/>
                    </a:cubicBezTo>
                    <a:cubicBezTo>
                      <a:pt x="816" y="524"/>
                      <a:pt x="813" y="524"/>
                      <a:pt x="814" y="520"/>
                    </a:cubicBezTo>
                    <a:cubicBezTo>
                      <a:pt x="815" y="516"/>
                      <a:pt x="807" y="514"/>
                      <a:pt x="809" y="512"/>
                    </a:cubicBezTo>
                    <a:cubicBezTo>
                      <a:pt x="812" y="510"/>
                      <a:pt x="809" y="506"/>
                      <a:pt x="808" y="499"/>
                    </a:cubicBezTo>
                    <a:cubicBezTo>
                      <a:pt x="808" y="493"/>
                      <a:pt x="812" y="492"/>
                      <a:pt x="812" y="490"/>
                    </a:cubicBezTo>
                    <a:cubicBezTo>
                      <a:pt x="812" y="487"/>
                      <a:pt x="809" y="487"/>
                      <a:pt x="806" y="489"/>
                    </a:cubicBezTo>
                    <a:cubicBezTo>
                      <a:pt x="803" y="491"/>
                      <a:pt x="803" y="487"/>
                      <a:pt x="800" y="487"/>
                    </a:cubicBezTo>
                    <a:cubicBezTo>
                      <a:pt x="796" y="487"/>
                      <a:pt x="787" y="487"/>
                      <a:pt x="786" y="482"/>
                    </a:cubicBezTo>
                    <a:cubicBezTo>
                      <a:pt x="786" y="478"/>
                      <a:pt x="782" y="480"/>
                      <a:pt x="781" y="476"/>
                    </a:cubicBezTo>
                    <a:cubicBezTo>
                      <a:pt x="779" y="471"/>
                      <a:pt x="775" y="475"/>
                      <a:pt x="775" y="472"/>
                    </a:cubicBezTo>
                    <a:cubicBezTo>
                      <a:pt x="775" y="469"/>
                      <a:pt x="774" y="467"/>
                      <a:pt x="771" y="467"/>
                    </a:cubicBezTo>
                    <a:cubicBezTo>
                      <a:pt x="768" y="467"/>
                      <a:pt x="767" y="464"/>
                      <a:pt x="763" y="463"/>
                    </a:cubicBezTo>
                    <a:cubicBezTo>
                      <a:pt x="759" y="463"/>
                      <a:pt x="754" y="466"/>
                      <a:pt x="751" y="467"/>
                    </a:cubicBezTo>
                    <a:cubicBezTo>
                      <a:pt x="749" y="468"/>
                      <a:pt x="743" y="463"/>
                      <a:pt x="741" y="465"/>
                    </a:cubicBezTo>
                    <a:cubicBezTo>
                      <a:pt x="739" y="467"/>
                      <a:pt x="738" y="464"/>
                      <a:pt x="732" y="462"/>
                    </a:cubicBezTo>
                    <a:cubicBezTo>
                      <a:pt x="726" y="460"/>
                      <a:pt x="718" y="460"/>
                      <a:pt x="717" y="462"/>
                    </a:cubicBezTo>
                    <a:cubicBezTo>
                      <a:pt x="717" y="464"/>
                      <a:pt x="712" y="465"/>
                      <a:pt x="712" y="470"/>
                    </a:cubicBezTo>
                    <a:cubicBezTo>
                      <a:pt x="713" y="476"/>
                      <a:pt x="718" y="475"/>
                      <a:pt x="720" y="478"/>
                    </a:cubicBezTo>
                    <a:cubicBezTo>
                      <a:pt x="721" y="482"/>
                      <a:pt x="717" y="480"/>
                      <a:pt x="717" y="484"/>
                    </a:cubicBezTo>
                    <a:cubicBezTo>
                      <a:pt x="717" y="487"/>
                      <a:pt x="713" y="487"/>
                      <a:pt x="713" y="489"/>
                    </a:cubicBezTo>
                    <a:cubicBezTo>
                      <a:pt x="713" y="491"/>
                      <a:pt x="716" y="491"/>
                      <a:pt x="717" y="495"/>
                    </a:cubicBezTo>
                    <a:cubicBezTo>
                      <a:pt x="718" y="500"/>
                      <a:pt x="721" y="499"/>
                      <a:pt x="721" y="505"/>
                    </a:cubicBezTo>
                    <a:cubicBezTo>
                      <a:pt x="722" y="511"/>
                      <a:pt x="719" y="510"/>
                      <a:pt x="717" y="511"/>
                    </a:cubicBezTo>
                    <a:cubicBezTo>
                      <a:pt x="714" y="512"/>
                      <a:pt x="717" y="515"/>
                      <a:pt x="714" y="519"/>
                    </a:cubicBezTo>
                    <a:cubicBezTo>
                      <a:pt x="710" y="523"/>
                      <a:pt x="707" y="527"/>
                      <a:pt x="710" y="529"/>
                    </a:cubicBezTo>
                    <a:cubicBezTo>
                      <a:pt x="713" y="532"/>
                      <a:pt x="723" y="536"/>
                      <a:pt x="727" y="543"/>
                    </a:cubicBezTo>
                    <a:cubicBezTo>
                      <a:pt x="731" y="550"/>
                      <a:pt x="731" y="560"/>
                      <a:pt x="729" y="568"/>
                    </a:cubicBezTo>
                    <a:cubicBezTo>
                      <a:pt x="728" y="575"/>
                      <a:pt x="720" y="577"/>
                      <a:pt x="713" y="583"/>
                    </a:cubicBezTo>
                    <a:cubicBezTo>
                      <a:pt x="707" y="590"/>
                      <a:pt x="701" y="589"/>
                      <a:pt x="698" y="589"/>
                    </a:cubicBezTo>
                    <a:cubicBezTo>
                      <a:pt x="695" y="589"/>
                      <a:pt x="696" y="595"/>
                      <a:pt x="701" y="600"/>
                    </a:cubicBezTo>
                    <a:cubicBezTo>
                      <a:pt x="705" y="605"/>
                      <a:pt x="701" y="606"/>
                      <a:pt x="704" y="611"/>
                    </a:cubicBezTo>
                    <a:cubicBezTo>
                      <a:pt x="706" y="616"/>
                      <a:pt x="704" y="620"/>
                      <a:pt x="707" y="625"/>
                    </a:cubicBezTo>
                    <a:cubicBezTo>
                      <a:pt x="710" y="629"/>
                      <a:pt x="708" y="631"/>
                      <a:pt x="704" y="634"/>
                    </a:cubicBezTo>
                    <a:cubicBezTo>
                      <a:pt x="701" y="638"/>
                      <a:pt x="706" y="636"/>
                      <a:pt x="706" y="640"/>
                    </a:cubicBezTo>
                    <a:cubicBezTo>
                      <a:pt x="706" y="644"/>
                      <a:pt x="704" y="642"/>
                      <a:pt x="701" y="640"/>
                    </a:cubicBezTo>
                    <a:cubicBezTo>
                      <a:pt x="698" y="637"/>
                      <a:pt x="695" y="644"/>
                      <a:pt x="695" y="647"/>
                    </a:cubicBezTo>
                    <a:cubicBezTo>
                      <a:pt x="695" y="649"/>
                      <a:pt x="687" y="643"/>
                      <a:pt x="685" y="643"/>
                    </a:cubicBezTo>
                    <a:cubicBezTo>
                      <a:pt x="684" y="643"/>
                      <a:pt x="686" y="639"/>
                      <a:pt x="681" y="635"/>
                    </a:cubicBezTo>
                    <a:cubicBezTo>
                      <a:pt x="677" y="632"/>
                      <a:pt x="673" y="631"/>
                      <a:pt x="673" y="628"/>
                    </a:cubicBezTo>
                    <a:cubicBezTo>
                      <a:pt x="673" y="624"/>
                      <a:pt x="666" y="622"/>
                      <a:pt x="666" y="618"/>
                    </a:cubicBezTo>
                    <a:cubicBezTo>
                      <a:pt x="666" y="614"/>
                      <a:pt x="667" y="603"/>
                      <a:pt x="665" y="600"/>
                    </a:cubicBezTo>
                    <a:cubicBezTo>
                      <a:pt x="663" y="597"/>
                      <a:pt x="665" y="594"/>
                      <a:pt x="666" y="591"/>
                    </a:cubicBezTo>
                    <a:cubicBezTo>
                      <a:pt x="668" y="589"/>
                      <a:pt x="664" y="584"/>
                      <a:pt x="660" y="584"/>
                    </a:cubicBezTo>
                    <a:cubicBezTo>
                      <a:pt x="655" y="584"/>
                      <a:pt x="649" y="583"/>
                      <a:pt x="643" y="583"/>
                    </a:cubicBezTo>
                    <a:cubicBezTo>
                      <a:pt x="637" y="584"/>
                      <a:pt x="633" y="583"/>
                      <a:pt x="631" y="581"/>
                    </a:cubicBezTo>
                    <a:cubicBezTo>
                      <a:pt x="629" y="579"/>
                      <a:pt x="623" y="576"/>
                      <a:pt x="616" y="574"/>
                    </a:cubicBezTo>
                    <a:cubicBezTo>
                      <a:pt x="608" y="572"/>
                      <a:pt x="604" y="568"/>
                      <a:pt x="604" y="565"/>
                    </a:cubicBezTo>
                    <a:cubicBezTo>
                      <a:pt x="603" y="563"/>
                      <a:pt x="595" y="561"/>
                      <a:pt x="593" y="559"/>
                    </a:cubicBezTo>
                    <a:cubicBezTo>
                      <a:pt x="592" y="557"/>
                      <a:pt x="584" y="556"/>
                      <a:pt x="581" y="556"/>
                    </a:cubicBezTo>
                    <a:cubicBezTo>
                      <a:pt x="578" y="557"/>
                      <a:pt x="571" y="550"/>
                      <a:pt x="566" y="550"/>
                    </a:cubicBezTo>
                    <a:cubicBezTo>
                      <a:pt x="562" y="550"/>
                      <a:pt x="551" y="555"/>
                      <a:pt x="549" y="555"/>
                    </a:cubicBezTo>
                    <a:cubicBezTo>
                      <a:pt x="548" y="555"/>
                      <a:pt x="550" y="551"/>
                      <a:pt x="551" y="550"/>
                    </a:cubicBezTo>
                    <a:cubicBezTo>
                      <a:pt x="552" y="548"/>
                      <a:pt x="547" y="540"/>
                      <a:pt x="546" y="535"/>
                    </a:cubicBezTo>
                    <a:cubicBezTo>
                      <a:pt x="545" y="530"/>
                      <a:pt x="543" y="525"/>
                      <a:pt x="538" y="526"/>
                    </a:cubicBezTo>
                    <a:cubicBezTo>
                      <a:pt x="532" y="526"/>
                      <a:pt x="527" y="524"/>
                      <a:pt x="525" y="523"/>
                    </a:cubicBezTo>
                    <a:cubicBezTo>
                      <a:pt x="524" y="522"/>
                      <a:pt x="523" y="507"/>
                      <a:pt x="525" y="501"/>
                    </a:cubicBezTo>
                    <a:cubicBezTo>
                      <a:pt x="526" y="495"/>
                      <a:pt x="532" y="486"/>
                      <a:pt x="532" y="483"/>
                    </a:cubicBezTo>
                    <a:cubicBezTo>
                      <a:pt x="532" y="479"/>
                      <a:pt x="537" y="477"/>
                      <a:pt x="540" y="476"/>
                    </a:cubicBezTo>
                    <a:cubicBezTo>
                      <a:pt x="544" y="475"/>
                      <a:pt x="541" y="468"/>
                      <a:pt x="545" y="467"/>
                    </a:cubicBezTo>
                    <a:cubicBezTo>
                      <a:pt x="549" y="467"/>
                      <a:pt x="549" y="465"/>
                      <a:pt x="550" y="462"/>
                    </a:cubicBezTo>
                    <a:cubicBezTo>
                      <a:pt x="550" y="459"/>
                      <a:pt x="555" y="461"/>
                      <a:pt x="552" y="459"/>
                    </a:cubicBezTo>
                    <a:cubicBezTo>
                      <a:pt x="550" y="456"/>
                      <a:pt x="552" y="456"/>
                      <a:pt x="558" y="456"/>
                    </a:cubicBezTo>
                    <a:cubicBezTo>
                      <a:pt x="563" y="456"/>
                      <a:pt x="572" y="454"/>
                      <a:pt x="571" y="448"/>
                    </a:cubicBezTo>
                    <a:cubicBezTo>
                      <a:pt x="569" y="442"/>
                      <a:pt x="554" y="446"/>
                      <a:pt x="554" y="442"/>
                    </a:cubicBezTo>
                    <a:cubicBezTo>
                      <a:pt x="554" y="437"/>
                      <a:pt x="535" y="437"/>
                      <a:pt x="537" y="434"/>
                    </a:cubicBezTo>
                    <a:cubicBezTo>
                      <a:pt x="538" y="431"/>
                      <a:pt x="556" y="436"/>
                      <a:pt x="562" y="438"/>
                    </a:cubicBezTo>
                    <a:cubicBezTo>
                      <a:pt x="569" y="441"/>
                      <a:pt x="570" y="441"/>
                      <a:pt x="576" y="440"/>
                    </a:cubicBezTo>
                    <a:cubicBezTo>
                      <a:pt x="581" y="440"/>
                      <a:pt x="577" y="433"/>
                      <a:pt x="578" y="431"/>
                    </a:cubicBezTo>
                    <a:cubicBezTo>
                      <a:pt x="579" y="428"/>
                      <a:pt x="589" y="435"/>
                      <a:pt x="595" y="433"/>
                    </a:cubicBezTo>
                    <a:cubicBezTo>
                      <a:pt x="601" y="432"/>
                      <a:pt x="606" y="420"/>
                      <a:pt x="611" y="417"/>
                    </a:cubicBezTo>
                    <a:cubicBezTo>
                      <a:pt x="616" y="414"/>
                      <a:pt x="612" y="411"/>
                      <a:pt x="602" y="411"/>
                    </a:cubicBezTo>
                    <a:cubicBezTo>
                      <a:pt x="593" y="412"/>
                      <a:pt x="588" y="409"/>
                      <a:pt x="583" y="405"/>
                    </a:cubicBezTo>
                    <a:cubicBezTo>
                      <a:pt x="578" y="401"/>
                      <a:pt x="578" y="398"/>
                      <a:pt x="584" y="399"/>
                    </a:cubicBezTo>
                    <a:cubicBezTo>
                      <a:pt x="589" y="399"/>
                      <a:pt x="601" y="409"/>
                      <a:pt x="606" y="410"/>
                    </a:cubicBezTo>
                    <a:cubicBezTo>
                      <a:pt x="611" y="410"/>
                      <a:pt x="619" y="400"/>
                      <a:pt x="623" y="397"/>
                    </a:cubicBezTo>
                    <a:cubicBezTo>
                      <a:pt x="627" y="394"/>
                      <a:pt x="619" y="393"/>
                      <a:pt x="617" y="391"/>
                    </a:cubicBezTo>
                    <a:cubicBezTo>
                      <a:pt x="614" y="389"/>
                      <a:pt x="621" y="387"/>
                      <a:pt x="625" y="387"/>
                    </a:cubicBezTo>
                    <a:cubicBezTo>
                      <a:pt x="629" y="387"/>
                      <a:pt x="631" y="391"/>
                      <a:pt x="633" y="392"/>
                    </a:cubicBezTo>
                    <a:cubicBezTo>
                      <a:pt x="634" y="394"/>
                      <a:pt x="641" y="391"/>
                      <a:pt x="645" y="391"/>
                    </a:cubicBezTo>
                    <a:cubicBezTo>
                      <a:pt x="648" y="391"/>
                      <a:pt x="644" y="385"/>
                      <a:pt x="638" y="383"/>
                    </a:cubicBezTo>
                    <a:cubicBezTo>
                      <a:pt x="633" y="381"/>
                      <a:pt x="639" y="377"/>
                      <a:pt x="640" y="380"/>
                    </a:cubicBezTo>
                    <a:cubicBezTo>
                      <a:pt x="642" y="384"/>
                      <a:pt x="646" y="383"/>
                      <a:pt x="648" y="387"/>
                    </a:cubicBezTo>
                    <a:cubicBezTo>
                      <a:pt x="651" y="393"/>
                      <a:pt x="653" y="389"/>
                      <a:pt x="658" y="387"/>
                    </a:cubicBezTo>
                    <a:cubicBezTo>
                      <a:pt x="663" y="385"/>
                      <a:pt x="665" y="382"/>
                      <a:pt x="668" y="379"/>
                    </a:cubicBezTo>
                    <a:cubicBezTo>
                      <a:pt x="671" y="376"/>
                      <a:pt x="671" y="380"/>
                      <a:pt x="675" y="375"/>
                    </a:cubicBezTo>
                    <a:cubicBezTo>
                      <a:pt x="678" y="370"/>
                      <a:pt x="673" y="366"/>
                      <a:pt x="669" y="363"/>
                    </a:cubicBezTo>
                    <a:cubicBezTo>
                      <a:pt x="665" y="360"/>
                      <a:pt x="669" y="357"/>
                      <a:pt x="665" y="355"/>
                    </a:cubicBezTo>
                    <a:cubicBezTo>
                      <a:pt x="661" y="353"/>
                      <a:pt x="661" y="349"/>
                      <a:pt x="666" y="350"/>
                    </a:cubicBezTo>
                    <a:cubicBezTo>
                      <a:pt x="671" y="351"/>
                      <a:pt x="675" y="350"/>
                      <a:pt x="677" y="346"/>
                    </a:cubicBezTo>
                    <a:cubicBezTo>
                      <a:pt x="679" y="343"/>
                      <a:pt x="669" y="342"/>
                      <a:pt x="674" y="339"/>
                    </a:cubicBezTo>
                    <a:cubicBezTo>
                      <a:pt x="678" y="337"/>
                      <a:pt x="675" y="334"/>
                      <a:pt x="670" y="334"/>
                    </a:cubicBezTo>
                    <a:cubicBezTo>
                      <a:pt x="666" y="334"/>
                      <a:pt x="662" y="332"/>
                      <a:pt x="662" y="328"/>
                    </a:cubicBezTo>
                    <a:cubicBezTo>
                      <a:pt x="661" y="325"/>
                      <a:pt x="654" y="327"/>
                      <a:pt x="649" y="325"/>
                    </a:cubicBezTo>
                    <a:cubicBezTo>
                      <a:pt x="644" y="323"/>
                      <a:pt x="634" y="323"/>
                      <a:pt x="631" y="323"/>
                    </a:cubicBezTo>
                    <a:cubicBezTo>
                      <a:pt x="629" y="324"/>
                      <a:pt x="628" y="334"/>
                      <a:pt x="632" y="334"/>
                    </a:cubicBezTo>
                    <a:cubicBezTo>
                      <a:pt x="636" y="334"/>
                      <a:pt x="639" y="338"/>
                      <a:pt x="636" y="340"/>
                    </a:cubicBezTo>
                    <a:cubicBezTo>
                      <a:pt x="632" y="341"/>
                      <a:pt x="636" y="345"/>
                      <a:pt x="634" y="345"/>
                    </a:cubicBezTo>
                    <a:cubicBezTo>
                      <a:pt x="631" y="344"/>
                      <a:pt x="627" y="343"/>
                      <a:pt x="626" y="350"/>
                    </a:cubicBezTo>
                    <a:cubicBezTo>
                      <a:pt x="626" y="356"/>
                      <a:pt x="625" y="359"/>
                      <a:pt x="621" y="361"/>
                    </a:cubicBezTo>
                    <a:cubicBezTo>
                      <a:pt x="617" y="363"/>
                      <a:pt x="620" y="354"/>
                      <a:pt x="616" y="354"/>
                    </a:cubicBezTo>
                    <a:cubicBezTo>
                      <a:pt x="612" y="354"/>
                      <a:pt x="611" y="362"/>
                      <a:pt x="614" y="363"/>
                    </a:cubicBezTo>
                    <a:cubicBezTo>
                      <a:pt x="617" y="363"/>
                      <a:pt x="618" y="366"/>
                      <a:pt x="619" y="370"/>
                    </a:cubicBezTo>
                    <a:cubicBezTo>
                      <a:pt x="619" y="373"/>
                      <a:pt x="613" y="371"/>
                      <a:pt x="611" y="375"/>
                    </a:cubicBezTo>
                    <a:cubicBezTo>
                      <a:pt x="608" y="380"/>
                      <a:pt x="608" y="373"/>
                      <a:pt x="604" y="370"/>
                    </a:cubicBezTo>
                    <a:cubicBezTo>
                      <a:pt x="601" y="367"/>
                      <a:pt x="597" y="362"/>
                      <a:pt x="597" y="358"/>
                    </a:cubicBezTo>
                    <a:cubicBezTo>
                      <a:pt x="597" y="355"/>
                      <a:pt x="599" y="354"/>
                      <a:pt x="602" y="353"/>
                    </a:cubicBezTo>
                    <a:cubicBezTo>
                      <a:pt x="604" y="353"/>
                      <a:pt x="602" y="350"/>
                      <a:pt x="601" y="346"/>
                    </a:cubicBezTo>
                    <a:cubicBezTo>
                      <a:pt x="601" y="341"/>
                      <a:pt x="598" y="343"/>
                      <a:pt x="594" y="338"/>
                    </a:cubicBezTo>
                    <a:cubicBezTo>
                      <a:pt x="590" y="333"/>
                      <a:pt x="586" y="333"/>
                      <a:pt x="583" y="336"/>
                    </a:cubicBezTo>
                    <a:cubicBezTo>
                      <a:pt x="581" y="338"/>
                      <a:pt x="583" y="342"/>
                      <a:pt x="579" y="344"/>
                    </a:cubicBezTo>
                    <a:cubicBezTo>
                      <a:pt x="576" y="345"/>
                      <a:pt x="577" y="352"/>
                      <a:pt x="574" y="353"/>
                    </a:cubicBezTo>
                    <a:cubicBezTo>
                      <a:pt x="571" y="353"/>
                      <a:pt x="573" y="340"/>
                      <a:pt x="570" y="339"/>
                    </a:cubicBezTo>
                    <a:cubicBezTo>
                      <a:pt x="568" y="338"/>
                      <a:pt x="568" y="335"/>
                      <a:pt x="572" y="334"/>
                    </a:cubicBezTo>
                    <a:cubicBezTo>
                      <a:pt x="576" y="334"/>
                      <a:pt x="578" y="330"/>
                      <a:pt x="575" y="330"/>
                    </a:cubicBezTo>
                    <a:cubicBezTo>
                      <a:pt x="571" y="330"/>
                      <a:pt x="566" y="326"/>
                      <a:pt x="563" y="325"/>
                    </a:cubicBezTo>
                    <a:cubicBezTo>
                      <a:pt x="561" y="324"/>
                      <a:pt x="557" y="330"/>
                      <a:pt x="555" y="328"/>
                    </a:cubicBezTo>
                    <a:cubicBezTo>
                      <a:pt x="552" y="326"/>
                      <a:pt x="555" y="321"/>
                      <a:pt x="555" y="318"/>
                    </a:cubicBezTo>
                    <a:cubicBezTo>
                      <a:pt x="556" y="315"/>
                      <a:pt x="559" y="319"/>
                      <a:pt x="562" y="316"/>
                    </a:cubicBezTo>
                    <a:cubicBezTo>
                      <a:pt x="564" y="312"/>
                      <a:pt x="555" y="312"/>
                      <a:pt x="555" y="308"/>
                    </a:cubicBezTo>
                    <a:cubicBezTo>
                      <a:pt x="555" y="305"/>
                      <a:pt x="547" y="304"/>
                      <a:pt x="545" y="302"/>
                    </a:cubicBezTo>
                    <a:cubicBezTo>
                      <a:pt x="542" y="301"/>
                      <a:pt x="547" y="295"/>
                      <a:pt x="545" y="292"/>
                    </a:cubicBezTo>
                    <a:cubicBezTo>
                      <a:pt x="544" y="290"/>
                      <a:pt x="535" y="282"/>
                      <a:pt x="531" y="282"/>
                    </a:cubicBezTo>
                    <a:cubicBezTo>
                      <a:pt x="527" y="283"/>
                      <a:pt x="526" y="277"/>
                      <a:pt x="528" y="277"/>
                    </a:cubicBezTo>
                    <a:cubicBezTo>
                      <a:pt x="530" y="278"/>
                      <a:pt x="532" y="276"/>
                      <a:pt x="536" y="271"/>
                    </a:cubicBezTo>
                    <a:cubicBezTo>
                      <a:pt x="541" y="267"/>
                      <a:pt x="541" y="265"/>
                      <a:pt x="538" y="264"/>
                    </a:cubicBezTo>
                    <a:cubicBezTo>
                      <a:pt x="535" y="263"/>
                      <a:pt x="534" y="260"/>
                      <a:pt x="539" y="260"/>
                    </a:cubicBezTo>
                    <a:cubicBezTo>
                      <a:pt x="544" y="261"/>
                      <a:pt x="553" y="264"/>
                      <a:pt x="556" y="262"/>
                    </a:cubicBezTo>
                    <a:cubicBezTo>
                      <a:pt x="559" y="260"/>
                      <a:pt x="569" y="245"/>
                      <a:pt x="573" y="240"/>
                    </a:cubicBezTo>
                    <a:cubicBezTo>
                      <a:pt x="576" y="234"/>
                      <a:pt x="570" y="234"/>
                      <a:pt x="561" y="235"/>
                    </a:cubicBezTo>
                    <a:cubicBezTo>
                      <a:pt x="552" y="235"/>
                      <a:pt x="550" y="231"/>
                      <a:pt x="542" y="231"/>
                    </a:cubicBezTo>
                    <a:cubicBezTo>
                      <a:pt x="535" y="230"/>
                      <a:pt x="521" y="232"/>
                      <a:pt x="519" y="234"/>
                    </a:cubicBezTo>
                    <a:cubicBezTo>
                      <a:pt x="517" y="237"/>
                      <a:pt x="523" y="239"/>
                      <a:pt x="522" y="241"/>
                    </a:cubicBezTo>
                    <a:cubicBezTo>
                      <a:pt x="521" y="244"/>
                      <a:pt x="517" y="239"/>
                      <a:pt x="515" y="240"/>
                    </a:cubicBezTo>
                    <a:cubicBezTo>
                      <a:pt x="513" y="241"/>
                      <a:pt x="515" y="245"/>
                      <a:pt x="515" y="253"/>
                    </a:cubicBezTo>
                    <a:cubicBezTo>
                      <a:pt x="514" y="262"/>
                      <a:pt x="516" y="263"/>
                      <a:pt x="519" y="266"/>
                    </a:cubicBezTo>
                    <a:cubicBezTo>
                      <a:pt x="521" y="269"/>
                      <a:pt x="521" y="273"/>
                      <a:pt x="521" y="279"/>
                    </a:cubicBezTo>
                    <a:cubicBezTo>
                      <a:pt x="521" y="284"/>
                      <a:pt x="516" y="284"/>
                      <a:pt x="514" y="285"/>
                    </a:cubicBezTo>
                    <a:cubicBezTo>
                      <a:pt x="512" y="287"/>
                      <a:pt x="518" y="289"/>
                      <a:pt x="517" y="292"/>
                    </a:cubicBezTo>
                    <a:cubicBezTo>
                      <a:pt x="516" y="296"/>
                      <a:pt x="511" y="290"/>
                      <a:pt x="508" y="291"/>
                    </a:cubicBezTo>
                    <a:cubicBezTo>
                      <a:pt x="505" y="292"/>
                      <a:pt x="503" y="301"/>
                      <a:pt x="506" y="303"/>
                    </a:cubicBezTo>
                    <a:cubicBezTo>
                      <a:pt x="509" y="306"/>
                      <a:pt x="510" y="306"/>
                      <a:pt x="508" y="309"/>
                    </a:cubicBezTo>
                    <a:cubicBezTo>
                      <a:pt x="505" y="312"/>
                      <a:pt x="503" y="317"/>
                      <a:pt x="509" y="322"/>
                    </a:cubicBezTo>
                    <a:cubicBezTo>
                      <a:pt x="515" y="326"/>
                      <a:pt x="526" y="326"/>
                      <a:pt x="531" y="330"/>
                    </a:cubicBezTo>
                    <a:cubicBezTo>
                      <a:pt x="537" y="333"/>
                      <a:pt x="529" y="331"/>
                      <a:pt x="531" y="335"/>
                    </a:cubicBezTo>
                    <a:cubicBezTo>
                      <a:pt x="533" y="340"/>
                      <a:pt x="527" y="341"/>
                      <a:pt x="528" y="344"/>
                    </a:cubicBezTo>
                    <a:cubicBezTo>
                      <a:pt x="528" y="348"/>
                      <a:pt x="530" y="346"/>
                      <a:pt x="533" y="340"/>
                    </a:cubicBezTo>
                    <a:cubicBezTo>
                      <a:pt x="536" y="335"/>
                      <a:pt x="538" y="342"/>
                      <a:pt x="538" y="347"/>
                    </a:cubicBezTo>
                    <a:cubicBezTo>
                      <a:pt x="538" y="351"/>
                      <a:pt x="534" y="349"/>
                      <a:pt x="530" y="353"/>
                    </a:cubicBezTo>
                    <a:cubicBezTo>
                      <a:pt x="527" y="358"/>
                      <a:pt x="524" y="359"/>
                      <a:pt x="519" y="358"/>
                    </a:cubicBezTo>
                    <a:cubicBezTo>
                      <a:pt x="515" y="357"/>
                      <a:pt x="517" y="365"/>
                      <a:pt x="519" y="369"/>
                    </a:cubicBezTo>
                    <a:cubicBezTo>
                      <a:pt x="521" y="373"/>
                      <a:pt x="519" y="375"/>
                      <a:pt x="513" y="373"/>
                    </a:cubicBezTo>
                    <a:cubicBezTo>
                      <a:pt x="508" y="372"/>
                      <a:pt x="505" y="368"/>
                      <a:pt x="507" y="364"/>
                    </a:cubicBezTo>
                    <a:cubicBezTo>
                      <a:pt x="510" y="360"/>
                      <a:pt x="512" y="355"/>
                      <a:pt x="509" y="355"/>
                    </a:cubicBezTo>
                    <a:cubicBezTo>
                      <a:pt x="506" y="356"/>
                      <a:pt x="498" y="355"/>
                      <a:pt x="496" y="351"/>
                    </a:cubicBezTo>
                    <a:cubicBezTo>
                      <a:pt x="494" y="348"/>
                      <a:pt x="497" y="349"/>
                      <a:pt x="504" y="350"/>
                    </a:cubicBezTo>
                    <a:cubicBezTo>
                      <a:pt x="511" y="351"/>
                      <a:pt x="505" y="346"/>
                      <a:pt x="510" y="346"/>
                    </a:cubicBezTo>
                    <a:cubicBezTo>
                      <a:pt x="515" y="346"/>
                      <a:pt x="519" y="348"/>
                      <a:pt x="523" y="345"/>
                    </a:cubicBezTo>
                    <a:cubicBezTo>
                      <a:pt x="527" y="341"/>
                      <a:pt x="520" y="334"/>
                      <a:pt x="517" y="335"/>
                    </a:cubicBezTo>
                    <a:cubicBezTo>
                      <a:pt x="513" y="336"/>
                      <a:pt x="508" y="338"/>
                      <a:pt x="508" y="334"/>
                    </a:cubicBezTo>
                    <a:cubicBezTo>
                      <a:pt x="508" y="331"/>
                      <a:pt x="514" y="333"/>
                      <a:pt x="517" y="332"/>
                    </a:cubicBezTo>
                    <a:cubicBezTo>
                      <a:pt x="520" y="332"/>
                      <a:pt x="515" y="327"/>
                      <a:pt x="510" y="328"/>
                    </a:cubicBezTo>
                    <a:cubicBezTo>
                      <a:pt x="505" y="330"/>
                      <a:pt x="502" y="330"/>
                      <a:pt x="498" y="326"/>
                    </a:cubicBezTo>
                    <a:cubicBezTo>
                      <a:pt x="494" y="321"/>
                      <a:pt x="487" y="319"/>
                      <a:pt x="485" y="329"/>
                    </a:cubicBezTo>
                    <a:cubicBezTo>
                      <a:pt x="483" y="338"/>
                      <a:pt x="476" y="333"/>
                      <a:pt x="473" y="336"/>
                    </a:cubicBezTo>
                    <a:cubicBezTo>
                      <a:pt x="471" y="340"/>
                      <a:pt x="477" y="342"/>
                      <a:pt x="483" y="342"/>
                    </a:cubicBezTo>
                    <a:cubicBezTo>
                      <a:pt x="490" y="342"/>
                      <a:pt x="495" y="349"/>
                      <a:pt x="492" y="349"/>
                    </a:cubicBezTo>
                    <a:cubicBezTo>
                      <a:pt x="489" y="349"/>
                      <a:pt x="490" y="353"/>
                      <a:pt x="487" y="352"/>
                    </a:cubicBezTo>
                    <a:cubicBezTo>
                      <a:pt x="483" y="350"/>
                      <a:pt x="480" y="352"/>
                      <a:pt x="482" y="355"/>
                    </a:cubicBezTo>
                    <a:cubicBezTo>
                      <a:pt x="485" y="358"/>
                      <a:pt x="481" y="359"/>
                      <a:pt x="481" y="362"/>
                    </a:cubicBezTo>
                    <a:cubicBezTo>
                      <a:pt x="482" y="365"/>
                      <a:pt x="476" y="362"/>
                      <a:pt x="471" y="362"/>
                    </a:cubicBezTo>
                    <a:cubicBezTo>
                      <a:pt x="466" y="361"/>
                      <a:pt x="456" y="363"/>
                      <a:pt x="449" y="364"/>
                    </a:cubicBezTo>
                    <a:cubicBezTo>
                      <a:pt x="442" y="366"/>
                      <a:pt x="434" y="363"/>
                      <a:pt x="431" y="360"/>
                    </a:cubicBezTo>
                    <a:cubicBezTo>
                      <a:pt x="428" y="357"/>
                      <a:pt x="424" y="357"/>
                      <a:pt x="419" y="357"/>
                    </a:cubicBezTo>
                    <a:cubicBezTo>
                      <a:pt x="414" y="357"/>
                      <a:pt x="416" y="353"/>
                      <a:pt x="409" y="352"/>
                    </a:cubicBezTo>
                    <a:cubicBezTo>
                      <a:pt x="403" y="352"/>
                      <a:pt x="404" y="347"/>
                      <a:pt x="403" y="343"/>
                    </a:cubicBezTo>
                    <a:cubicBezTo>
                      <a:pt x="403" y="340"/>
                      <a:pt x="390" y="341"/>
                      <a:pt x="385" y="344"/>
                    </a:cubicBezTo>
                    <a:cubicBezTo>
                      <a:pt x="380" y="347"/>
                      <a:pt x="371" y="346"/>
                      <a:pt x="368" y="351"/>
                    </a:cubicBezTo>
                    <a:cubicBezTo>
                      <a:pt x="366" y="357"/>
                      <a:pt x="371" y="356"/>
                      <a:pt x="373" y="356"/>
                    </a:cubicBezTo>
                    <a:cubicBezTo>
                      <a:pt x="377" y="356"/>
                      <a:pt x="377" y="352"/>
                      <a:pt x="384" y="353"/>
                    </a:cubicBezTo>
                    <a:cubicBezTo>
                      <a:pt x="391" y="354"/>
                      <a:pt x="396" y="345"/>
                      <a:pt x="399" y="348"/>
                    </a:cubicBezTo>
                    <a:cubicBezTo>
                      <a:pt x="402" y="351"/>
                      <a:pt x="387" y="357"/>
                      <a:pt x="380" y="358"/>
                    </a:cubicBezTo>
                    <a:cubicBezTo>
                      <a:pt x="374" y="359"/>
                      <a:pt x="375" y="364"/>
                      <a:pt x="382" y="374"/>
                    </a:cubicBezTo>
                    <a:cubicBezTo>
                      <a:pt x="388" y="383"/>
                      <a:pt x="379" y="378"/>
                      <a:pt x="379" y="382"/>
                    </a:cubicBezTo>
                    <a:cubicBezTo>
                      <a:pt x="379" y="387"/>
                      <a:pt x="367" y="381"/>
                      <a:pt x="372" y="379"/>
                    </a:cubicBezTo>
                    <a:cubicBezTo>
                      <a:pt x="377" y="378"/>
                      <a:pt x="374" y="373"/>
                      <a:pt x="371" y="370"/>
                    </a:cubicBezTo>
                    <a:cubicBezTo>
                      <a:pt x="367" y="367"/>
                      <a:pt x="364" y="370"/>
                      <a:pt x="365" y="367"/>
                    </a:cubicBezTo>
                    <a:cubicBezTo>
                      <a:pt x="365" y="363"/>
                      <a:pt x="361" y="367"/>
                      <a:pt x="357" y="364"/>
                    </a:cubicBezTo>
                    <a:cubicBezTo>
                      <a:pt x="354" y="361"/>
                      <a:pt x="352" y="359"/>
                      <a:pt x="347" y="362"/>
                    </a:cubicBezTo>
                    <a:cubicBezTo>
                      <a:pt x="343" y="364"/>
                      <a:pt x="337" y="363"/>
                      <a:pt x="327" y="365"/>
                    </a:cubicBezTo>
                    <a:cubicBezTo>
                      <a:pt x="316" y="367"/>
                      <a:pt x="297" y="366"/>
                      <a:pt x="293" y="363"/>
                    </a:cubicBezTo>
                    <a:cubicBezTo>
                      <a:pt x="290" y="359"/>
                      <a:pt x="302" y="353"/>
                      <a:pt x="306" y="354"/>
                    </a:cubicBezTo>
                    <a:cubicBezTo>
                      <a:pt x="310" y="355"/>
                      <a:pt x="308" y="350"/>
                      <a:pt x="302" y="346"/>
                    </a:cubicBezTo>
                    <a:cubicBezTo>
                      <a:pt x="296" y="341"/>
                      <a:pt x="283" y="338"/>
                      <a:pt x="284" y="341"/>
                    </a:cubicBezTo>
                    <a:cubicBezTo>
                      <a:pt x="284" y="344"/>
                      <a:pt x="276" y="341"/>
                      <a:pt x="267" y="340"/>
                    </a:cubicBezTo>
                    <a:cubicBezTo>
                      <a:pt x="258" y="338"/>
                      <a:pt x="257" y="335"/>
                      <a:pt x="251" y="334"/>
                    </a:cubicBezTo>
                    <a:cubicBezTo>
                      <a:pt x="245" y="334"/>
                      <a:pt x="236" y="332"/>
                      <a:pt x="229" y="327"/>
                    </a:cubicBezTo>
                    <a:cubicBezTo>
                      <a:pt x="222" y="321"/>
                      <a:pt x="205" y="323"/>
                      <a:pt x="203" y="328"/>
                    </a:cubicBezTo>
                    <a:cubicBezTo>
                      <a:pt x="201" y="333"/>
                      <a:pt x="196" y="333"/>
                      <a:pt x="190" y="333"/>
                    </a:cubicBezTo>
                    <a:cubicBezTo>
                      <a:pt x="185" y="333"/>
                      <a:pt x="193" y="326"/>
                      <a:pt x="191" y="325"/>
                    </a:cubicBezTo>
                    <a:cubicBezTo>
                      <a:pt x="188" y="324"/>
                      <a:pt x="191" y="317"/>
                      <a:pt x="187" y="317"/>
                    </a:cubicBezTo>
                    <a:cubicBezTo>
                      <a:pt x="183" y="316"/>
                      <a:pt x="179" y="333"/>
                      <a:pt x="172" y="333"/>
                    </a:cubicBezTo>
                    <a:cubicBezTo>
                      <a:pt x="164" y="332"/>
                      <a:pt x="161" y="315"/>
                      <a:pt x="155" y="310"/>
                    </a:cubicBezTo>
                    <a:cubicBezTo>
                      <a:pt x="148" y="306"/>
                      <a:pt x="143" y="305"/>
                      <a:pt x="148" y="312"/>
                    </a:cubicBezTo>
                    <a:cubicBezTo>
                      <a:pt x="153" y="319"/>
                      <a:pt x="143" y="314"/>
                      <a:pt x="144" y="319"/>
                    </a:cubicBezTo>
                    <a:cubicBezTo>
                      <a:pt x="144" y="323"/>
                      <a:pt x="135" y="328"/>
                      <a:pt x="136" y="326"/>
                    </a:cubicBezTo>
                    <a:cubicBezTo>
                      <a:pt x="136" y="323"/>
                      <a:pt x="131" y="321"/>
                      <a:pt x="125" y="328"/>
                    </a:cubicBezTo>
                    <a:cubicBezTo>
                      <a:pt x="119" y="335"/>
                      <a:pt x="114" y="334"/>
                      <a:pt x="114" y="331"/>
                    </a:cubicBezTo>
                    <a:cubicBezTo>
                      <a:pt x="113" y="329"/>
                      <a:pt x="96" y="338"/>
                      <a:pt x="96" y="341"/>
                    </a:cubicBezTo>
                    <a:cubicBezTo>
                      <a:pt x="97" y="344"/>
                      <a:pt x="94" y="346"/>
                      <a:pt x="89" y="346"/>
                    </a:cubicBezTo>
                    <a:cubicBezTo>
                      <a:pt x="84" y="345"/>
                      <a:pt x="88" y="341"/>
                      <a:pt x="92" y="339"/>
                    </a:cubicBezTo>
                    <a:cubicBezTo>
                      <a:pt x="96" y="337"/>
                      <a:pt x="107" y="328"/>
                      <a:pt x="113" y="327"/>
                    </a:cubicBezTo>
                    <a:cubicBezTo>
                      <a:pt x="119" y="326"/>
                      <a:pt x="131" y="321"/>
                      <a:pt x="131" y="318"/>
                    </a:cubicBezTo>
                    <a:cubicBezTo>
                      <a:pt x="131" y="316"/>
                      <a:pt x="125" y="318"/>
                      <a:pt x="121" y="317"/>
                    </a:cubicBezTo>
                    <a:cubicBezTo>
                      <a:pt x="117" y="316"/>
                      <a:pt x="110" y="321"/>
                      <a:pt x="104" y="324"/>
                    </a:cubicBezTo>
                    <a:cubicBezTo>
                      <a:pt x="97" y="327"/>
                      <a:pt x="89" y="326"/>
                      <a:pt x="91" y="330"/>
                    </a:cubicBezTo>
                    <a:cubicBezTo>
                      <a:pt x="93" y="334"/>
                      <a:pt x="85" y="329"/>
                      <a:pt x="83" y="332"/>
                    </a:cubicBezTo>
                    <a:cubicBezTo>
                      <a:pt x="81" y="335"/>
                      <a:pt x="78" y="332"/>
                      <a:pt x="81" y="330"/>
                    </a:cubicBezTo>
                    <a:cubicBezTo>
                      <a:pt x="83" y="329"/>
                      <a:pt x="75" y="326"/>
                      <a:pt x="75" y="328"/>
                    </a:cubicBezTo>
                    <a:cubicBezTo>
                      <a:pt x="75" y="330"/>
                      <a:pt x="73" y="332"/>
                      <a:pt x="67" y="332"/>
                    </a:cubicBezTo>
                    <a:cubicBezTo>
                      <a:pt x="61" y="332"/>
                      <a:pt x="55" y="336"/>
                      <a:pt x="59" y="339"/>
                    </a:cubicBezTo>
                    <a:cubicBezTo>
                      <a:pt x="63" y="342"/>
                      <a:pt x="66" y="344"/>
                      <a:pt x="64" y="346"/>
                    </a:cubicBezTo>
                    <a:cubicBezTo>
                      <a:pt x="62" y="348"/>
                      <a:pt x="55" y="340"/>
                      <a:pt x="47" y="341"/>
                    </a:cubicBezTo>
                    <a:cubicBezTo>
                      <a:pt x="38" y="342"/>
                      <a:pt x="20" y="331"/>
                      <a:pt x="20" y="329"/>
                    </a:cubicBezTo>
                    <a:cubicBezTo>
                      <a:pt x="20" y="327"/>
                      <a:pt x="8" y="328"/>
                      <a:pt x="0" y="327"/>
                    </a:cubicBezTo>
                    <a:cubicBezTo>
                      <a:pt x="0" y="500"/>
                      <a:pt x="0" y="500"/>
                      <a:pt x="0" y="500"/>
                    </a:cubicBezTo>
                    <a:cubicBezTo>
                      <a:pt x="0" y="500"/>
                      <a:pt x="4" y="503"/>
                      <a:pt x="6" y="501"/>
                    </a:cubicBezTo>
                    <a:cubicBezTo>
                      <a:pt x="7" y="499"/>
                      <a:pt x="10" y="502"/>
                      <a:pt x="16" y="499"/>
                    </a:cubicBezTo>
                    <a:cubicBezTo>
                      <a:pt x="22" y="497"/>
                      <a:pt x="24" y="502"/>
                      <a:pt x="24" y="505"/>
                    </a:cubicBezTo>
                    <a:cubicBezTo>
                      <a:pt x="24" y="508"/>
                      <a:pt x="32" y="512"/>
                      <a:pt x="35" y="516"/>
                    </a:cubicBezTo>
                    <a:cubicBezTo>
                      <a:pt x="38" y="521"/>
                      <a:pt x="40" y="524"/>
                      <a:pt x="44" y="522"/>
                    </a:cubicBezTo>
                    <a:cubicBezTo>
                      <a:pt x="47" y="520"/>
                      <a:pt x="54" y="518"/>
                      <a:pt x="54" y="514"/>
                    </a:cubicBezTo>
                    <a:cubicBezTo>
                      <a:pt x="54" y="510"/>
                      <a:pt x="69" y="509"/>
                      <a:pt x="69" y="515"/>
                    </a:cubicBezTo>
                    <a:cubicBezTo>
                      <a:pt x="69" y="520"/>
                      <a:pt x="85" y="527"/>
                      <a:pt x="94" y="542"/>
                    </a:cubicBezTo>
                    <a:cubicBezTo>
                      <a:pt x="102" y="558"/>
                      <a:pt x="101" y="561"/>
                      <a:pt x="114" y="566"/>
                    </a:cubicBezTo>
                    <a:cubicBezTo>
                      <a:pt x="126" y="571"/>
                      <a:pt x="126" y="574"/>
                      <a:pt x="124" y="578"/>
                    </a:cubicBezTo>
                    <a:cubicBezTo>
                      <a:pt x="123" y="582"/>
                      <a:pt x="132" y="585"/>
                      <a:pt x="127" y="588"/>
                    </a:cubicBezTo>
                    <a:cubicBezTo>
                      <a:pt x="124" y="590"/>
                      <a:pt x="122" y="592"/>
                      <a:pt x="119" y="594"/>
                    </a:cubicBezTo>
                    <a:cubicBezTo>
                      <a:pt x="119" y="596"/>
                      <a:pt x="121" y="597"/>
                      <a:pt x="124" y="599"/>
                    </a:cubicBezTo>
                    <a:cubicBezTo>
                      <a:pt x="127" y="602"/>
                      <a:pt x="118" y="602"/>
                      <a:pt x="121" y="604"/>
                    </a:cubicBezTo>
                    <a:cubicBezTo>
                      <a:pt x="123" y="606"/>
                      <a:pt x="120" y="610"/>
                      <a:pt x="123" y="613"/>
                    </a:cubicBezTo>
                    <a:cubicBezTo>
                      <a:pt x="125" y="615"/>
                      <a:pt x="130" y="614"/>
                      <a:pt x="132" y="612"/>
                    </a:cubicBezTo>
                    <a:cubicBezTo>
                      <a:pt x="135" y="610"/>
                      <a:pt x="137" y="615"/>
                      <a:pt x="135" y="619"/>
                    </a:cubicBezTo>
                    <a:cubicBezTo>
                      <a:pt x="133" y="622"/>
                      <a:pt x="137" y="625"/>
                      <a:pt x="140" y="622"/>
                    </a:cubicBezTo>
                    <a:cubicBezTo>
                      <a:pt x="142" y="620"/>
                      <a:pt x="147" y="627"/>
                      <a:pt x="149" y="628"/>
                    </a:cubicBezTo>
                    <a:cubicBezTo>
                      <a:pt x="151" y="629"/>
                      <a:pt x="153" y="633"/>
                      <a:pt x="150" y="633"/>
                    </a:cubicBezTo>
                    <a:cubicBezTo>
                      <a:pt x="146" y="633"/>
                      <a:pt x="146" y="640"/>
                      <a:pt x="149" y="640"/>
                    </a:cubicBezTo>
                    <a:cubicBezTo>
                      <a:pt x="152" y="640"/>
                      <a:pt x="152" y="644"/>
                      <a:pt x="152" y="646"/>
                    </a:cubicBezTo>
                    <a:cubicBezTo>
                      <a:pt x="152" y="648"/>
                      <a:pt x="160" y="651"/>
                      <a:pt x="164" y="650"/>
                    </a:cubicBezTo>
                    <a:cubicBezTo>
                      <a:pt x="167" y="649"/>
                      <a:pt x="170" y="652"/>
                      <a:pt x="171" y="655"/>
                    </a:cubicBezTo>
                    <a:cubicBezTo>
                      <a:pt x="173" y="658"/>
                      <a:pt x="179" y="660"/>
                      <a:pt x="181" y="658"/>
                    </a:cubicBezTo>
                    <a:cubicBezTo>
                      <a:pt x="183" y="656"/>
                      <a:pt x="185" y="661"/>
                      <a:pt x="185" y="665"/>
                    </a:cubicBezTo>
                    <a:cubicBezTo>
                      <a:pt x="186" y="668"/>
                      <a:pt x="191" y="666"/>
                      <a:pt x="194" y="666"/>
                    </a:cubicBezTo>
                    <a:cubicBezTo>
                      <a:pt x="197" y="666"/>
                      <a:pt x="199" y="670"/>
                      <a:pt x="201" y="669"/>
                    </a:cubicBezTo>
                    <a:cubicBezTo>
                      <a:pt x="205" y="668"/>
                      <a:pt x="206" y="675"/>
                      <a:pt x="209" y="680"/>
                    </a:cubicBezTo>
                    <a:cubicBezTo>
                      <a:pt x="520" y="678"/>
                      <a:pt x="520" y="678"/>
                      <a:pt x="520" y="678"/>
                    </a:cubicBezTo>
                    <a:cubicBezTo>
                      <a:pt x="520" y="678"/>
                      <a:pt x="520" y="671"/>
                      <a:pt x="524" y="673"/>
                    </a:cubicBezTo>
                    <a:cubicBezTo>
                      <a:pt x="528" y="676"/>
                      <a:pt x="524" y="680"/>
                      <a:pt x="529" y="682"/>
                    </a:cubicBezTo>
                    <a:cubicBezTo>
                      <a:pt x="533" y="684"/>
                      <a:pt x="536" y="686"/>
                      <a:pt x="538" y="685"/>
                    </a:cubicBezTo>
                    <a:cubicBezTo>
                      <a:pt x="541" y="684"/>
                      <a:pt x="545" y="681"/>
                      <a:pt x="549" y="686"/>
                    </a:cubicBezTo>
                    <a:cubicBezTo>
                      <a:pt x="553" y="690"/>
                      <a:pt x="556" y="686"/>
                      <a:pt x="558" y="689"/>
                    </a:cubicBezTo>
                    <a:cubicBezTo>
                      <a:pt x="560" y="692"/>
                      <a:pt x="565" y="695"/>
                      <a:pt x="568" y="691"/>
                    </a:cubicBezTo>
                    <a:cubicBezTo>
                      <a:pt x="570" y="688"/>
                      <a:pt x="579" y="692"/>
                      <a:pt x="584" y="693"/>
                    </a:cubicBezTo>
                    <a:cubicBezTo>
                      <a:pt x="589" y="689"/>
                      <a:pt x="593" y="679"/>
                      <a:pt x="598" y="679"/>
                    </a:cubicBezTo>
                    <a:cubicBezTo>
                      <a:pt x="605" y="679"/>
                      <a:pt x="621" y="681"/>
                      <a:pt x="622" y="689"/>
                    </a:cubicBezTo>
                    <a:cubicBezTo>
                      <a:pt x="623" y="698"/>
                      <a:pt x="633" y="690"/>
                      <a:pt x="634" y="698"/>
                    </a:cubicBezTo>
                    <a:cubicBezTo>
                      <a:pt x="635" y="705"/>
                      <a:pt x="642" y="710"/>
                      <a:pt x="641" y="714"/>
                    </a:cubicBezTo>
                    <a:cubicBezTo>
                      <a:pt x="643" y="715"/>
                      <a:pt x="645" y="716"/>
                      <a:pt x="647" y="718"/>
                    </a:cubicBezTo>
                    <a:cubicBezTo>
                      <a:pt x="650" y="717"/>
                      <a:pt x="659" y="718"/>
                      <a:pt x="664" y="720"/>
                    </a:cubicBezTo>
                    <a:cubicBezTo>
                      <a:pt x="671" y="723"/>
                      <a:pt x="682" y="717"/>
                      <a:pt x="685" y="726"/>
                    </a:cubicBezTo>
                    <a:cubicBezTo>
                      <a:pt x="689" y="734"/>
                      <a:pt x="697" y="741"/>
                      <a:pt x="689" y="741"/>
                    </a:cubicBezTo>
                    <a:cubicBezTo>
                      <a:pt x="683" y="742"/>
                      <a:pt x="674" y="733"/>
                      <a:pt x="675" y="738"/>
                    </a:cubicBezTo>
                    <a:cubicBezTo>
                      <a:pt x="675" y="743"/>
                      <a:pt x="671" y="740"/>
                      <a:pt x="671" y="748"/>
                    </a:cubicBezTo>
                    <a:cubicBezTo>
                      <a:pt x="671" y="755"/>
                      <a:pt x="666" y="766"/>
                      <a:pt x="663" y="765"/>
                    </a:cubicBezTo>
                    <a:cubicBezTo>
                      <a:pt x="663" y="765"/>
                      <a:pt x="663" y="765"/>
                      <a:pt x="663" y="765"/>
                    </a:cubicBezTo>
                    <a:cubicBezTo>
                      <a:pt x="663" y="768"/>
                      <a:pt x="663" y="772"/>
                      <a:pt x="665" y="774"/>
                    </a:cubicBezTo>
                    <a:cubicBezTo>
                      <a:pt x="669" y="771"/>
                      <a:pt x="674" y="767"/>
                      <a:pt x="679" y="767"/>
                    </a:cubicBezTo>
                    <a:cubicBezTo>
                      <a:pt x="686" y="767"/>
                      <a:pt x="688" y="772"/>
                      <a:pt x="693" y="768"/>
                    </a:cubicBezTo>
                    <a:cubicBezTo>
                      <a:pt x="698" y="765"/>
                      <a:pt x="699" y="763"/>
                      <a:pt x="700" y="766"/>
                    </a:cubicBezTo>
                    <a:cubicBezTo>
                      <a:pt x="700" y="766"/>
                      <a:pt x="700" y="767"/>
                      <a:pt x="700" y="767"/>
                    </a:cubicBezTo>
                    <a:cubicBezTo>
                      <a:pt x="702" y="766"/>
                      <a:pt x="703" y="765"/>
                      <a:pt x="704" y="764"/>
                    </a:cubicBezTo>
                    <a:cubicBezTo>
                      <a:pt x="704" y="763"/>
                      <a:pt x="703" y="761"/>
                      <a:pt x="703" y="760"/>
                    </a:cubicBezTo>
                    <a:cubicBezTo>
                      <a:pt x="698" y="761"/>
                      <a:pt x="696" y="761"/>
                      <a:pt x="695" y="757"/>
                    </a:cubicBezTo>
                    <a:cubicBezTo>
                      <a:pt x="693" y="752"/>
                      <a:pt x="710" y="747"/>
                      <a:pt x="718" y="748"/>
                    </a:cubicBezTo>
                    <a:cubicBezTo>
                      <a:pt x="725" y="749"/>
                      <a:pt x="731" y="744"/>
                      <a:pt x="733" y="747"/>
                    </a:cubicBezTo>
                    <a:cubicBezTo>
                      <a:pt x="738" y="743"/>
                      <a:pt x="746" y="736"/>
                      <a:pt x="749" y="736"/>
                    </a:cubicBezTo>
                    <a:cubicBezTo>
                      <a:pt x="752" y="736"/>
                      <a:pt x="787" y="736"/>
                      <a:pt x="787" y="736"/>
                    </a:cubicBezTo>
                    <a:cubicBezTo>
                      <a:pt x="787" y="736"/>
                      <a:pt x="800" y="728"/>
                      <a:pt x="801" y="721"/>
                    </a:cubicBezTo>
                    <a:cubicBezTo>
                      <a:pt x="803" y="714"/>
                      <a:pt x="811" y="697"/>
                      <a:pt x="816" y="701"/>
                    </a:cubicBezTo>
                    <a:cubicBezTo>
                      <a:pt x="820" y="705"/>
                      <a:pt x="830" y="702"/>
                      <a:pt x="831" y="705"/>
                    </a:cubicBezTo>
                    <a:cubicBezTo>
                      <a:pt x="831" y="708"/>
                      <a:pt x="827" y="720"/>
                      <a:pt x="840" y="737"/>
                    </a:cubicBezTo>
                    <a:cubicBezTo>
                      <a:pt x="845" y="734"/>
                      <a:pt x="849" y="732"/>
                      <a:pt x="852" y="732"/>
                    </a:cubicBezTo>
                    <a:cubicBezTo>
                      <a:pt x="856" y="732"/>
                      <a:pt x="863" y="726"/>
                      <a:pt x="865" y="722"/>
                    </a:cubicBezTo>
                    <a:cubicBezTo>
                      <a:pt x="867" y="718"/>
                      <a:pt x="870" y="726"/>
                      <a:pt x="866" y="727"/>
                    </a:cubicBezTo>
                    <a:cubicBezTo>
                      <a:pt x="862" y="728"/>
                      <a:pt x="869" y="731"/>
                      <a:pt x="876" y="731"/>
                    </a:cubicBezTo>
                    <a:cubicBezTo>
                      <a:pt x="883" y="731"/>
                      <a:pt x="873" y="733"/>
                      <a:pt x="868" y="733"/>
                    </a:cubicBezTo>
                    <a:cubicBezTo>
                      <a:pt x="862" y="733"/>
                      <a:pt x="860" y="734"/>
                      <a:pt x="853" y="741"/>
                    </a:cubicBezTo>
                    <a:cubicBezTo>
                      <a:pt x="846" y="748"/>
                      <a:pt x="848" y="750"/>
                      <a:pt x="852" y="753"/>
                    </a:cubicBezTo>
                    <a:cubicBezTo>
                      <a:pt x="856" y="757"/>
                      <a:pt x="861" y="755"/>
                      <a:pt x="867" y="750"/>
                    </a:cubicBezTo>
                    <a:cubicBezTo>
                      <a:pt x="872" y="746"/>
                      <a:pt x="872" y="741"/>
                      <a:pt x="877" y="741"/>
                    </a:cubicBezTo>
                    <a:cubicBezTo>
                      <a:pt x="883" y="741"/>
                      <a:pt x="897" y="736"/>
                      <a:pt x="903" y="734"/>
                    </a:cubicBezTo>
                    <a:cubicBezTo>
                      <a:pt x="910" y="732"/>
                      <a:pt x="906" y="731"/>
                      <a:pt x="906" y="728"/>
                    </a:cubicBezTo>
                    <a:cubicBezTo>
                      <a:pt x="906" y="726"/>
                      <a:pt x="917" y="726"/>
                      <a:pt x="921" y="723"/>
                    </a:cubicBezTo>
                    <a:cubicBezTo>
                      <a:pt x="925" y="720"/>
                      <a:pt x="920" y="718"/>
                      <a:pt x="916" y="718"/>
                    </a:cubicBezTo>
                    <a:close/>
                    <a:moveTo>
                      <a:pt x="266" y="394"/>
                    </a:moveTo>
                    <a:cubicBezTo>
                      <a:pt x="259" y="403"/>
                      <a:pt x="257" y="404"/>
                      <a:pt x="250" y="403"/>
                    </a:cubicBezTo>
                    <a:cubicBezTo>
                      <a:pt x="243" y="401"/>
                      <a:pt x="239" y="405"/>
                      <a:pt x="243" y="407"/>
                    </a:cubicBezTo>
                    <a:cubicBezTo>
                      <a:pt x="246" y="409"/>
                      <a:pt x="246" y="411"/>
                      <a:pt x="239" y="413"/>
                    </a:cubicBezTo>
                    <a:cubicBezTo>
                      <a:pt x="232" y="415"/>
                      <a:pt x="228" y="420"/>
                      <a:pt x="225" y="419"/>
                    </a:cubicBezTo>
                    <a:cubicBezTo>
                      <a:pt x="222" y="419"/>
                      <a:pt x="237" y="408"/>
                      <a:pt x="233" y="406"/>
                    </a:cubicBezTo>
                    <a:cubicBezTo>
                      <a:pt x="229" y="403"/>
                      <a:pt x="220" y="410"/>
                      <a:pt x="220" y="414"/>
                    </a:cubicBezTo>
                    <a:cubicBezTo>
                      <a:pt x="220" y="417"/>
                      <a:pt x="213" y="417"/>
                      <a:pt x="210" y="417"/>
                    </a:cubicBezTo>
                    <a:cubicBezTo>
                      <a:pt x="206" y="417"/>
                      <a:pt x="201" y="413"/>
                      <a:pt x="205" y="413"/>
                    </a:cubicBezTo>
                    <a:cubicBezTo>
                      <a:pt x="208" y="412"/>
                      <a:pt x="206" y="408"/>
                      <a:pt x="211" y="406"/>
                    </a:cubicBezTo>
                    <a:cubicBezTo>
                      <a:pt x="216" y="404"/>
                      <a:pt x="210" y="401"/>
                      <a:pt x="212" y="399"/>
                    </a:cubicBezTo>
                    <a:cubicBezTo>
                      <a:pt x="213" y="397"/>
                      <a:pt x="224" y="401"/>
                      <a:pt x="224" y="397"/>
                    </a:cubicBezTo>
                    <a:cubicBezTo>
                      <a:pt x="224" y="393"/>
                      <a:pt x="213" y="390"/>
                      <a:pt x="210" y="392"/>
                    </a:cubicBezTo>
                    <a:cubicBezTo>
                      <a:pt x="206" y="395"/>
                      <a:pt x="198" y="400"/>
                      <a:pt x="188" y="396"/>
                    </a:cubicBezTo>
                    <a:cubicBezTo>
                      <a:pt x="185" y="395"/>
                      <a:pt x="213" y="392"/>
                      <a:pt x="218" y="387"/>
                    </a:cubicBezTo>
                    <a:cubicBezTo>
                      <a:pt x="223" y="383"/>
                      <a:pt x="244" y="378"/>
                      <a:pt x="246" y="382"/>
                    </a:cubicBezTo>
                    <a:cubicBezTo>
                      <a:pt x="247" y="386"/>
                      <a:pt x="234" y="388"/>
                      <a:pt x="240" y="392"/>
                    </a:cubicBezTo>
                    <a:cubicBezTo>
                      <a:pt x="247" y="396"/>
                      <a:pt x="257" y="393"/>
                      <a:pt x="259" y="389"/>
                    </a:cubicBezTo>
                    <a:cubicBezTo>
                      <a:pt x="262" y="386"/>
                      <a:pt x="272" y="386"/>
                      <a:pt x="266" y="394"/>
                    </a:cubicBezTo>
                    <a:close/>
                    <a:moveTo>
                      <a:pt x="329" y="475"/>
                    </a:moveTo>
                    <a:cubicBezTo>
                      <a:pt x="321" y="481"/>
                      <a:pt x="322" y="480"/>
                      <a:pt x="315" y="481"/>
                    </a:cubicBezTo>
                    <a:cubicBezTo>
                      <a:pt x="308" y="482"/>
                      <a:pt x="314" y="489"/>
                      <a:pt x="305" y="489"/>
                    </a:cubicBezTo>
                    <a:cubicBezTo>
                      <a:pt x="297" y="490"/>
                      <a:pt x="278" y="491"/>
                      <a:pt x="275" y="486"/>
                    </a:cubicBezTo>
                    <a:cubicBezTo>
                      <a:pt x="274" y="485"/>
                      <a:pt x="286" y="486"/>
                      <a:pt x="286" y="482"/>
                    </a:cubicBezTo>
                    <a:cubicBezTo>
                      <a:pt x="287" y="479"/>
                      <a:pt x="290" y="474"/>
                      <a:pt x="295" y="474"/>
                    </a:cubicBezTo>
                    <a:cubicBezTo>
                      <a:pt x="300" y="474"/>
                      <a:pt x="300" y="467"/>
                      <a:pt x="292" y="463"/>
                    </a:cubicBezTo>
                    <a:cubicBezTo>
                      <a:pt x="284" y="459"/>
                      <a:pt x="303" y="457"/>
                      <a:pt x="308" y="463"/>
                    </a:cubicBezTo>
                    <a:cubicBezTo>
                      <a:pt x="313" y="469"/>
                      <a:pt x="321" y="474"/>
                      <a:pt x="325" y="469"/>
                    </a:cubicBezTo>
                    <a:cubicBezTo>
                      <a:pt x="330" y="465"/>
                      <a:pt x="356" y="452"/>
                      <a:pt x="356" y="458"/>
                    </a:cubicBezTo>
                    <a:cubicBezTo>
                      <a:pt x="356" y="464"/>
                      <a:pt x="337" y="468"/>
                      <a:pt x="329" y="475"/>
                    </a:cubicBezTo>
                    <a:close/>
                    <a:moveTo>
                      <a:pt x="503" y="656"/>
                    </a:moveTo>
                    <a:cubicBezTo>
                      <a:pt x="497" y="657"/>
                      <a:pt x="503" y="642"/>
                      <a:pt x="493" y="636"/>
                    </a:cubicBezTo>
                    <a:cubicBezTo>
                      <a:pt x="482" y="630"/>
                      <a:pt x="476" y="618"/>
                      <a:pt x="476" y="611"/>
                    </a:cubicBezTo>
                    <a:cubicBezTo>
                      <a:pt x="476" y="605"/>
                      <a:pt x="486" y="602"/>
                      <a:pt x="490" y="607"/>
                    </a:cubicBezTo>
                    <a:cubicBezTo>
                      <a:pt x="494" y="612"/>
                      <a:pt x="500" y="632"/>
                      <a:pt x="504" y="639"/>
                    </a:cubicBezTo>
                    <a:cubicBezTo>
                      <a:pt x="507" y="645"/>
                      <a:pt x="507" y="656"/>
                      <a:pt x="503" y="65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2" name="Freeform 130">
                <a:extLst>
                  <a:ext uri="{FF2B5EF4-FFF2-40B4-BE49-F238E27FC236}">
                    <a16:creationId xmlns:a16="http://schemas.microsoft.com/office/drawing/2014/main" id="{5D3B2473-DFE5-4372-8810-4767650F3E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113" y="1938338"/>
                <a:ext cx="2516187" cy="1708150"/>
              </a:xfrm>
              <a:custGeom>
                <a:avLst/>
                <a:gdLst>
                  <a:gd name="T0" fmla="*/ 350 w 1146"/>
                  <a:gd name="T1" fmla="*/ 229 h 778"/>
                  <a:gd name="T2" fmla="*/ 306 w 1146"/>
                  <a:gd name="T3" fmla="*/ 34 h 778"/>
                  <a:gd name="T4" fmla="*/ 185 w 1146"/>
                  <a:gd name="T5" fmla="*/ 20 h 778"/>
                  <a:gd name="T6" fmla="*/ 135 w 1146"/>
                  <a:gd name="T7" fmla="*/ 10 h 778"/>
                  <a:gd name="T8" fmla="*/ 93 w 1146"/>
                  <a:gd name="T9" fmla="*/ 21 h 778"/>
                  <a:gd name="T10" fmla="*/ 18 w 1146"/>
                  <a:gd name="T11" fmla="*/ 58 h 778"/>
                  <a:gd name="T12" fmla="*/ 71 w 1146"/>
                  <a:gd name="T13" fmla="*/ 102 h 778"/>
                  <a:gd name="T14" fmla="*/ 17 w 1146"/>
                  <a:gd name="T15" fmla="*/ 105 h 778"/>
                  <a:gd name="T16" fmla="*/ 58 w 1146"/>
                  <a:gd name="T17" fmla="*/ 135 h 778"/>
                  <a:gd name="T18" fmla="*/ 42 w 1146"/>
                  <a:gd name="T19" fmla="*/ 157 h 778"/>
                  <a:gd name="T20" fmla="*/ 45 w 1146"/>
                  <a:gd name="T21" fmla="*/ 218 h 778"/>
                  <a:gd name="T22" fmla="*/ 95 w 1146"/>
                  <a:gd name="T23" fmla="*/ 235 h 778"/>
                  <a:gd name="T24" fmla="*/ 102 w 1146"/>
                  <a:gd name="T25" fmla="*/ 268 h 778"/>
                  <a:gd name="T26" fmla="*/ 84 w 1146"/>
                  <a:gd name="T27" fmla="*/ 286 h 778"/>
                  <a:gd name="T28" fmla="*/ 146 w 1146"/>
                  <a:gd name="T29" fmla="*/ 249 h 778"/>
                  <a:gd name="T30" fmla="*/ 172 w 1146"/>
                  <a:gd name="T31" fmla="*/ 213 h 778"/>
                  <a:gd name="T32" fmla="*/ 190 w 1146"/>
                  <a:gd name="T33" fmla="*/ 200 h 778"/>
                  <a:gd name="T34" fmla="*/ 226 w 1146"/>
                  <a:gd name="T35" fmla="*/ 214 h 778"/>
                  <a:gd name="T36" fmla="*/ 248 w 1146"/>
                  <a:gd name="T37" fmla="*/ 201 h 778"/>
                  <a:gd name="T38" fmla="*/ 275 w 1146"/>
                  <a:gd name="T39" fmla="*/ 212 h 778"/>
                  <a:gd name="T40" fmla="*/ 340 w 1146"/>
                  <a:gd name="T41" fmla="*/ 231 h 778"/>
                  <a:gd name="T42" fmla="*/ 375 w 1146"/>
                  <a:gd name="T43" fmla="*/ 247 h 778"/>
                  <a:gd name="T44" fmla="*/ 376 w 1146"/>
                  <a:gd name="T45" fmla="*/ 261 h 778"/>
                  <a:gd name="T46" fmla="*/ 389 w 1146"/>
                  <a:gd name="T47" fmla="*/ 262 h 778"/>
                  <a:gd name="T48" fmla="*/ 400 w 1146"/>
                  <a:gd name="T49" fmla="*/ 273 h 778"/>
                  <a:gd name="T50" fmla="*/ 396 w 1146"/>
                  <a:gd name="T51" fmla="*/ 299 h 778"/>
                  <a:gd name="T52" fmla="*/ 420 w 1146"/>
                  <a:gd name="T53" fmla="*/ 299 h 778"/>
                  <a:gd name="T54" fmla="*/ 14 w 1146"/>
                  <a:gd name="T55" fmla="*/ 312 h 778"/>
                  <a:gd name="T56" fmla="*/ 178 w 1146"/>
                  <a:gd name="T57" fmla="*/ 239 h 778"/>
                  <a:gd name="T58" fmla="*/ 176 w 1146"/>
                  <a:gd name="T59" fmla="*/ 255 h 778"/>
                  <a:gd name="T60" fmla="*/ 24 w 1146"/>
                  <a:gd name="T61" fmla="*/ 218 h 778"/>
                  <a:gd name="T62" fmla="*/ 140 w 1146"/>
                  <a:gd name="T63" fmla="*/ 762 h 778"/>
                  <a:gd name="T64" fmla="*/ 93 w 1146"/>
                  <a:gd name="T65" fmla="*/ 739 h 778"/>
                  <a:gd name="T66" fmla="*/ 1107 w 1146"/>
                  <a:gd name="T67" fmla="*/ 428 h 778"/>
                  <a:gd name="T68" fmla="*/ 1009 w 1146"/>
                  <a:gd name="T69" fmla="*/ 467 h 778"/>
                  <a:gd name="T70" fmla="*/ 971 w 1146"/>
                  <a:gd name="T71" fmla="*/ 481 h 778"/>
                  <a:gd name="T72" fmla="*/ 928 w 1146"/>
                  <a:gd name="T73" fmla="*/ 446 h 778"/>
                  <a:gd name="T74" fmla="*/ 952 w 1146"/>
                  <a:gd name="T75" fmla="*/ 426 h 778"/>
                  <a:gd name="T76" fmla="*/ 905 w 1146"/>
                  <a:gd name="T77" fmla="*/ 415 h 778"/>
                  <a:gd name="T78" fmla="*/ 874 w 1146"/>
                  <a:gd name="T79" fmla="*/ 398 h 778"/>
                  <a:gd name="T80" fmla="*/ 826 w 1146"/>
                  <a:gd name="T81" fmla="*/ 385 h 778"/>
                  <a:gd name="T82" fmla="*/ 512 w 1146"/>
                  <a:gd name="T83" fmla="*/ 399 h 778"/>
                  <a:gd name="T84" fmla="*/ 503 w 1146"/>
                  <a:gd name="T85" fmla="*/ 425 h 778"/>
                  <a:gd name="T86" fmla="*/ 504 w 1146"/>
                  <a:gd name="T87" fmla="*/ 528 h 778"/>
                  <a:gd name="T88" fmla="*/ 542 w 1146"/>
                  <a:gd name="T89" fmla="*/ 583 h 778"/>
                  <a:gd name="T90" fmla="*/ 617 w 1146"/>
                  <a:gd name="T91" fmla="*/ 614 h 778"/>
                  <a:gd name="T92" fmla="*/ 720 w 1146"/>
                  <a:gd name="T93" fmla="*/ 639 h 778"/>
                  <a:gd name="T94" fmla="*/ 779 w 1146"/>
                  <a:gd name="T95" fmla="*/ 678 h 778"/>
                  <a:gd name="T96" fmla="*/ 810 w 1146"/>
                  <a:gd name="T97" fmla="*/ 660 h 778"/>
                  <a:gd name="T98" fmla="*/ 852 w 1146"/>
                  <a:gd name="T99" fmla="*/ 643 h 778"/>
                  <a:gd name="T100" fmla="*/ 891 w 1146"/>
                  <a:gd name="T101" fmla="*/ 647 h 778"/>
                  <a:gd name="T102" fmla="*/ 936 w 1146"/>
                  <a:gd name="T103" fmla="*/ 643 h 778"/>
                  <a:gd name="T104" fmla="*/ 975 w 1146"/>
                  <a:gd name="T105" fmla="*/ 689 h 778"/>
                  <a:gd name="T106" fmla="*/ 981 w 1146"/>
                  <a:gd name="T107" fmla="*/ 631 h 778"/>
                  <a:gd name="T108" fmla="*/ 1033 w 1146"/>
                  <a:gd name="T109" fmla="*/ 575 h 778"/>
                  <a:gd name="T110" fmla="*/ 1038 w 1146"/>
                  <a:gd name="T111" fmla="*/ 547 h 778"/>
                  <a:gd name="T112" fmla="*/ 1043 w 1146"/>
                  <a:gd name="T113" fmla="*/ 544 h 778"/>
                  <a:gd name="T114" fmla="*/ 1071 w 1146"/>
                  <a:gd name="T115" fmla="*/ 503 h 778"/>
                  <a:gd name="T116" fmla="*/ 1100 w 1146"/>
                  <a:gd name="T117" fmla="*/ 480 h 778"/>
                  <a:gd name="T118" fmla="*/ 1146 w 1146"/>
                  <a:gd name="T119" fmla="*/ 444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46" h="778">
                    <a:moveTo>
                      <a:pt x="430" y="285"/>
                    </a:moveTo>
                    <a:cubicBezTo>
                      <a:pt x="432" y="281"/>
                      <a:pt x="432" y="278"/>
                      <a:pt x="420" y="273"/>
                    </a:cubicBezTo>
                    <a:cubicBezTo>
                      <a:pt x="407" y="268"/>
                      <a:pt x="408" y="265"/>
                      <a:pt x="400" y="249"/>
                    </a:cubicBezTo>
                    <a:cubicBezTo>
                      <a:pt x="391" y="234"/>
                      <a:pt x="375" y="227"/>
                      <a:pt x="375" y="222"/>
                    </a:cubicBezTo>
                    <a:cubicBezTo>
                      <a:pt x="375" y="216"/>
                      <a:pt x="360" y="217"/>
                      <a:pt x="360" y="221"/>
                    </a:cubicBezTo>
                    <a:cubicBezTo>
                      <a:pt x="360" y="225"/>
                      <a:pt x="353" y="227"/>
                      <a:pt x="350" y="229"/>
                    </a:cubicBezTo>
                    <a:cubicBezTo>
                      <a:pt x="346" y="231"/>
                      <a:pt x="344" y="228"/>
                      <a:pt x="341" y="223"/>
                    </a:cubicBezTo>
                    <a:cubicBezTo>
                      <a:pt x="338" y="219"/>
                      <a:pt x="330" y="215"/>
                      <a:pt x="330" y="212"/>
                    </a:cubicBezTo>
                    <a:cubicBezTo>
                      <a:pt x="330" y="209"/>
                      <a:pt x="328" y="204"/>
                      <a:pt x="322" y="206"/>
                    </a:cubicBezTo>
                    <a:cubicBezTo>
                      <a:pt x="316" y="209"/>
                      <a:pt x="313" y="206"/>
                      <a:pt x="312" y="208"/>
                    </a:cubicBezTo>
                    <a:cubicBezTo>
                      <a:pt x="310" y="210"/>
                      <a:pt x="306" y="207"/>
                      <a:pt x="306" y="20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304" y="34"/>
                      <a:pt x="302" y="34"/>
                      <a:pt x="300" y="33"/>
                    </a:cubicBezTo>
                    <a:cubicBezTo>
                      <a:pt x="293" y="30"/>
                      <a:pt x="282" y="25"/>
                      <a:pt x="277" y="27"/>
                    </a:cubicBezTo>
                    <a:cubicBezTo>
                      <a:pt x="271" y="28"/>
                      <a:pt x="259" y="29"/>
                      <a:pt x="255" y="27"/>
                    </a:cubicBezTo>
                    <a:cubicBezTo>
                      <a:pt x="251" y="25"/>
                      <a:pt x="246" y="24"/>
                      <a:pt x="238" y="25"/>
                    </a:cubicBezTo>
                    <a:cubicBezTo>
                      <a:pt x="229" y="26"/>
                      <a:pt x="224" y="20"/>
                      <a:pt x="214" y="18"/>
                    </a:cubicBezTo>
                    <a:cubicBezTo>
                      <a:pt x="203" y="15"/>
                      <a:pt x="188" y="19"/>
                      <a:pt x="185" y="20"/>
                    </a:cubicBezTo>
                    <a:cubicBezTo>
                      <a:pt x="181" y="21"/>
                      <a:pt x="182" y="16"/>
                      <a:pt x="178" y="17"/>
                    </a:cubicBezTo>
                    <a:cubicBezTo>
                      <a:pt x="173" y="17"/>
                      <a:pt x="177" y="15"/>
                      <a:pt x="174" y="11"/>
                    </a:cubicBezTo>
                    <a:cubicBezTo>
                      <a:pt x="172" y="7"/>
                      <a:pt x="159" y="11"/>
                      <a:pt x="155" y="11"/>
                    </a:cubicBezTo>
                    <a:cubicBezTo>
                      <a:pt x="150" y="12"/>
                      <a:pt x="149" y="9"/>
                      <a:pt x="149" y="7"/>
                    </a:cubicBezTo>
                    <a:cubicBezTo>
                      <a:pt x="149" y="4"/>
                      <a:pt x="145" y="5"/>
                      <a:pt x="143" y="8"/>
                    </a:cubicBezTo>
                    <a:cubicBezTo>
                      <a:pt x="142" y="11"/>
                      <a:pt x="137" y="12"/>
                      <a:pt x="135" y="10"/>
                    </a:cubicBezTo>
                    <a:cubicBezTo>
                      <a:pt x="133" y="8"/>
                      <a:pt x="139" y="7"/>
                      <a:pt x="139" y="5"/>
                    </a:cubicBezTo>
                    <a:cubicBezTo>
                      <a:pt x="139" y="2"/>
                      <a:pt x="133" y="1"/>
                      <a:pt x="130" y="0"/>
                    </a:cubicBezTo>
                    <a:cubicBezTo>
                      <a:pt x="128" y="0"/>
                      <a:pt x="124" y="3"/>
                      <a:pt x="118" y="8"/>
                    </a:cubicBezTo>
                    <a:cubicBezTo>
                      <a:pt x="113" y="12"/>
                      <a:pt x="105" y="12"/>
                      <a:pt x="101" y="11"/>
                    </a:cubicBezTo>
                    <a:cubicBezTo>
                      <a:pt x="96" y="11"/>
                      <a:pt x="90" y="12"/>
                      <a:pt x="90" y="15"/>
                    </a:cubicBezTo>
                    <a:cubicBezTo>
                      <a:pt x="90" y="17"/>
                      <a:pt x="96" y="17"/>
                      <a:pt x="93" y="21"/>
                    </a:cubicBezTo>
                    <a:cubicBezTo>
                      <a:pt x="89" y="24"/>
                      <a:pt x="88" y="16"/>
                      <a:pt x="84" y="20"/>
                    </a:cubicBezTo>
                    <a:cubicBezTo>
                      <a:pt x="81" y="23"/>
                      <a:pt x="70" y="23"/>
                      <a:pt x="68" y="23"/>
                    </a:cubicBezTo>
                    <a:cubicBezTo>
                      <a:pt x="65" y="22"/>
                      <a:pt x="57" y="31"/>
                      <a:pt x="55" y="34"/>
                    </a:cubicBezTo>
                    <a:cubicBezTo>
                      <a:pt x="52" y="36"/>
                      <a:pt x="57" y="38"/>
                      <a:pt x="50" y="46"/>
                    </a:cubicBezTo>
                    <a:cubicBezTo>
                      <a:pt x="43" y="53"/>
                      <a:pt x="25" y="51"/>
                      <a:pt x="21" y="51"/>
                    </a:cubicBezTo>
                    <a:cubicBezTo>
                      <a:pt x="18" y="51"/>
                      <a:pt x="20" y="56"/>
                      <a:pt x="18" y="58"/>
                    </a:cubicBezTo>
                    <a:cubicBezTo>
                      <a:pt x="16" y="61"/>
                      <a:pt x="21" y="64"/>
                      <a:pt x="31" y="66"/>
                    </a:cubicBezTo>
                    <a:cubicBezTo>
                      <a:pt x="41" y="69"/>
                      <a:pt x="48" y="83"/>
                      <a:pt x="49" y="86"/>
                    </a:cubicBezTo>
                    <a:cubicBezTo>
                      <a:pt x="51" y="89"/>
                      <a:pt x="63" y="86"/>
                      <a:pt x="68" y="86"/>
                    </a:cubicBezTo>
                    <a:cubicBezTo>
                      <a:pt x="73" y="87"/>
                      <a:pt x="68" y="94"/>
                      <a:pt x="72" y="96"/>
                    </a:cubicBezTo>
                    <a:cubicBezTo>
                      <a:pt x="76" y="98"/>
                      <a:pt x="83" y="95"/>
                      <a:pt x="84" y="99"/>
                    </a:cubicBezTo>
                    <a:cubicBezTo>
                      <a:pt x="85" y="102"/>
                      <a:pt x="76" y="99"/>
                      <a:pt x="71" y="102"/>
                    </a:cubicBezTo>
                    <a:cubicBezTo>
                      <a:pt x="66" y="106"/>
                      <a:pt x="63" y="108"/>
                      <a:pt x="61" y="105"/>
                    </a:cubicBezTo>
                    <a:cubicBezTo>
                      <a:pt x="59" y="102"/>
                      <a:pt x="51" y="104"/>
                      <a:pt x="47" y="105"/>
                    </a:cubicBezTo>
                    <a:cubicBezTo>
                      <a:pt x="42" y="105"/>
                      <a:pt x="46" y="99"/>
                      <a:pt x="47" y="97"/>
                    </a:cubicBezTo>
                    <a:cubicBezTo>
                      <a:pt x="47" y="94"/>
                      <a:pt x="41" y="93"/>
                      <a:pt x="33" y="97"/>
                    </a:cubicBezTo>
                    <a:cubicBezTo>
                      <a:pt x="24" y="102"/>
                      <a:pt x="27" y="100"/>
                      <a:pt x="26" y="104"/>
                    </a:cubicBezTo>
                    <a:cubicBezTo>
                      <a:pt x="25" y="108"/>
                      <a:pt x="22" y="102"/>
                      <a:pt x="17" y="105"/>
                    </a:cubicBezTo>
                    <a:cubicBezTo>
                      <a:pt x="11" y="108"/>
                      <a:pt x="3" y="111"/>
                      <a:pt x="1" y="114"/>
                    </a:cubicBezTo>
                    <a:cubicBezTo>
                      <a:pt x="0" y="117"/>
                      <a:pt x="13" y="119"/>
                      <a:pt x="18" y="120"/>
                    </a:cubicBezTo>
                    <a:cubicBezTo>
                      <a:pt x="23" y="121"/>
                      <a:pt x="12" y="125"/>
                      <a:pt x="16" y="126"/>
                    </a:cubicBezTo>
                    <a:cubicBezTo>
                      <a:pt x="20" y="127"/>
                      <a:pt x="18" y="131"/>
                      <a:pt x="24" y="134"/>
                    </a:cubicBezTo>
                    <a:cubicBezTo>
                      <a:pt x="30" y="137"/>
                      <a:pt x="44" y="134"/>
                      <a:pt x="48" y="134"/>
                    </a:cubicBezTo>
                    <a:cubicBezTo>
                      <a:pt x="52" y="134"/>
                      <a:pt x="55" y="139"/>
                      <a:pt x="58" y="135"/>
                    </a:cubicBezTo>
                    <a:cubicBezTo>
                      <a:pt x="61" y="132"/>
                      <a:pt x="73" y="123"/>
                      <a:pt x="78" y="128"/>
                    </a:cubicBezTo>
                    <a:cubicBezTo>
                      <a:pt x="84" y="134"/>
                      <a:pt x="72" y="133"/>
                      <a:pt x="75" y="136"/>
                    </a:cubicBezTo>
                    <a:cubicBezTo>
                      <a:pt x="78" y="139"/>
                      <a:pt x="82" y="147"/>
                      <a:pt x="76" y="151"/>
                    </a:cubicBezTo>
                    <a:cubicBezTo>
                      <a:pt x="71" y="155"/>
                      <a:pt x="66" y="152"/>
                      <a:pt x="63" y="152"/>
                    </a:cubicBezTo>
                    <a:cubicBezTo>
                      <a:pt x="60" y="152"/>
                      <a:pt x="61" y="158"/>
                      <a:pt x="57" y="161"/>
                    </a:cubicBezTo>
                    <a:cubicBezTo>
                      <a:pt x="52" y="165"/>
                      <a:pt x="48" y="157"/>
                      <a:pt x="42" y="157"/>
                    </a:cubicBezTo>
                    <a:cubicBezTo>
                      <a:pt x="36" y="157"/>
                      <a:pt x="38" y="165"/>
                      <a:pt x="38" y="169"/>
                    </a:cubicBezTo>
                    <a:cubicBezTo>
                      <a:pt x="38" y="173"/>
                      <a:pt x="29" y="168"/>
                      <a:pt x="27" y="177"/>
                    </a:cubicBezTo>
                    <a:cubicBezTo>
                      <a:pt x="24" y="186"/>
                      <a:pt x="15" y="178"/>
                      <a:pt x="21" y="187"/>
                    </a:cubicBezTo>
                    <a:cubicBezTo>
                      <a:pt x="27" y="196"/>
                      <a:pt x="26" y="190"/>
                      <a:pt x="31" y="194"/>
                    </a:cubicBezTo>
                    <a:cubicBezTo>
                      <a:pt x="36" y="197"/>
                      <a:pt x="26" y="204"/>
                      <a:pt x="31" y="205"/>
                    </a:cubicBezTo>
                    <a:cubicBezTo>
                      <a:pt x="36" y="206"/>
                      <a:pt x="41" y="215"/>
                      <a:pt x="45" y="218"/>
                    </a:cubicBezTo>
                    <a:cubicBezTo>
                      <a:pt x="48" y="221"/>
                      <a:pt x="53" y="216"/>
                      <a:pt x="58" y="216"/>
                    </a:cubicBezTo>
                    <a:cubicBezTo>
                      <a:pt x="63" y="216"/>
                      <a:pt x="61" y="208"/>
                      <a:pt x="64" y="211"/>
                    </a:cubicBezTo>
                    <a:cubicBezTo>
                      <a:pt x="67" y="214"/>
                      <a:pt x="71" y="222"/>
                      <a:pt x="68" y="224"/>
                    </a:cubicBezTo>
                    <a:cubicBezTo>
                      <a:pt x="66" y="226"/>
                      <a:pt x="68" y="232"/>
                      <a:pt x="67" y="235"/>
                    </a:cubicBezTo>
                    <a:cubicBezTo>
                      <a:pt x="67" y="238"/>
                      <a:pt x="79" y="237"/>
                      <a:pt x="80" y="234"/>
                    </a:cubicBezTo>
                    <a:cubicBezTo>
                      <a:pt x="80" y="230"/>
                      <a:pt x="90" y="229"/>
                      <a:pt x="95" y="235"/>
                    </a:cubicBezTo>
                    <a:cubicBezTo>
                      <a:pt x="100" y="241"/>
                      <a:pt x="102" y="242"/>
                      <a:pt x="102" y="237"/>
                    </a:cubicBezTo>
                    <a:cubicBezTo>
                      <a:pt x="102" y="233"/>
                      <a:pt x="107" y="228"/>
                      <a:pt x="107" y="231"/>
                    </a:cubicBezTo>
                    <a:cubicBezTo>
                      <a:pt x="107" y="235"/>
                      <a:pt x="111" y="236"/>
                      <a:pt x="119" y="233"/>
                    </a:cubicBezTo>
                    <a:cubicBezTo>
                      <a:pt x="127" y="229"/>
                      <a:pt x="123" y="233"/>
                      <a:pt x="119" y="238"/>
                    </a:cubicBezTo>
                    <a:cubicBezTo>
                      <a:pt x="114" y="245"/>
                      <a:pt x="119" y="255"/>
                      <a:pt x="115" y="256"/>
                    </a:cubicBezTo>
                    <a:cubicBezTo>
                      <a:pt x="111" y="257"/>
                      <a:pt x="108" y="267"/>
                      <a:pt x="102" y="268"/>
                    </a:cubicBezTo>
                    <a:cubicBezTo>
                      <a:pt x="95" y="269"/>
                      <a:pt x="84" y="281"/>
                      <a:pt x="83" y="283"/>
                    </a:cubicBezTo>
                    <a:cubicBezTo>
                      <a:pt x="81" y="285"/>
                      <a:pt x="67" y="279"/>
                      <a:pt x="65" y="285"/>
                    </a:cubicBezTo>
                    <a:cubicBezTo>
                      <a:pt x="63" y="290"/>
                      <a:pt x="55" y="295"/>
                      <a:pt x="57" y="297"/>
                    </a:cubicBezTo>
                    <a:cubicBezTo>
                      <a:pt x="58" y="298"/>
                      <a:pt x="70" y="293"/>
                      <a:pt x="70" y="290"/>
                    </a:cubicBezTo>
                    <a:cubicBezTo>
                      <a:pt x="71" y="287"/>
                      <a:pt x="72" y="287"/>
                      <a:pt x="74" y="289"/>
                    </a:cubicBezTo>
                    <a:cubicBezTo>
                      <a:pt x="76" y="292"/>
                      <a:pt x="81" y="288"/>
                      <a:pt x="84" y="286"/>
                    </a:cubicBezTo>
                    <a:cubicBezTo>
                      <a:pt x="86" y="284"/>
                      <a:pt x="90" y="285"/>
                      <a:pt x="92" y="285"/>
                    </a:cubicBezTo>
                    <a:cubicBezTo>
                      <a:pt x="94" y="286"/>
                      <a:pt x="95" y="283"/>
                      <a:pt x="102" y="281"/>
                    </a:cubicBezTo>
                    <a:cubicBezTo>
                      <a:pt x="109" y="280"/>
                      <a:pt x="107" y="278"/>
                      <a:pt x="109" y="275"/>
                    </a:cubicBezTo>
                    <a:cubicBezTo>
                      <a:pt x="110" y="271"/>
                      <a:pt x="126" y="264"/>
                      <a:pt x="129" y="263"/>
                    </a:cubicBezTo>
                    <a:cubicBezTo>
                      <a:pt x="132" y="262"/>
                      <a:pt x="130" y="257"/>
                      <a:pt x="134" y="257"/>
                    </a:cubicBezTo>
                    <a:cubicBezTo>
                      <a:pt x="137" y="257"/>
                      <a:pt x="142" y="253"/>
                      <a:pt x="146" y="249"/>
                    </a:cubicBezTo>
                    <a:cubicBezTo>
                      <a:pt x="150" y="246"/>
                      <a:pt x="151" y="247"/>
                      <a:pt x="155" y="246"/>
                    </a:cubicBezTo>
                    <a:cubicBezTo>
                      <a:pt x="158" y="245"/>
                      <a:pt x="155" y="238"/>
                      <a:pt x="159" y="238"/>
                    </a:cubicBezTo>
                    <a:cubicBezTo>
                      <a:pt x="162" y="237"/>
                      <a:pt x="164" y="235"/>
                      <a:pt x="164" y="232"/>
                    </a:cubicBezTo>
                    <a:cubicBezTo>
                      <a:pt x="164" y="229"/>
                      <a:pt x="156" y="229"/>
                      <a:pt x="155" y="227"/>
                    </a:cubicBezTo>
                    <a:cubicBezTo>
                      <a:pt x="155" y="226"/>
                      <a:pt x="162" y="219"/>
                      <a:pt x="165" y="219"/>
                    </a:cubicBezTo>
                    <a:cubicBezTo>
                      <a:pt x="167" y="220"/>
                      <a:pt x="172" y="217"/>
                      <a:pt x="172" y="213"/>
                    </a:cubicBezTo>
                    <a:cubicBezTo>
                      <a:pt x="172" y="209"/>
                      <a:pt x="176" y="208"/>
                      <a:pt x="180" y="204"/>
                    </a:cubicBezTo>
                    <a:cubicBezTo>
                      <a:pt x="183" y="201"/>
                      <a:pt x="182" y="198"/>
                      <a:pt x="185" y="198"/>
                    </a:cubicBezTo>
                    <a:cubicBezTo>
                      <a:pt x="189" y="197"/>
                      <a:pt x="192" y="193"/>
                      <a:pt x="195" y="191"/>
                    </a:cubicBezTo>
                    <a:cubicBezTo>
                      <a:pt x="199" y="189"/>
                      <a:pt x="195" y="193"/>
                      <a:pt x="202" y="194"/>
                    </a:cubicBezTo>
                    <a:cubicBezTo>
                      <a:pt x="209" y="194"/>
                      <a:pt x="207" y="200"/>
                      <a:pt x="202" y="198"/>
                    </a:cubicBezTo>
                    <a:cubicBezTo>
                      <a:pt x="197" y="196"/>
                      <a:pt x="195" y="196"/>
                      <a:pt x="190" y="200"/>
                    </a:cubicBezTo>
                    <a:cubicBezTo>
                      <a:pt x="186" y="204"/>
                      <a:pt x="189" y="206"/>
                      <a:pt x="186" y="210"/>
                    </a:cubicBezTo>
                    <a:cubicBezTo>
                      <a:pt x="182" y="215"/>
                      <a:pt x="182" y="218"/>
                      <a:pt x="187" y="219"/>
                    </a:cubicBezTo>
                    <a:cubicBezTo>
                      <a:pt x="191" y="219"/>
                      <a:pt x="187" y="222"/>
                      <a:pt x="183" y="224"/>
                    </a:cubicBezTo>
                    <a:cubicBezTo>
                      <a:pt x="178" y="225"/>
                      <a:pt x="181" y="227"/>
                      <a:pt x="187" y="227"/>
                    </a:cubicBezTo>
                    <a:cubicBezTo>
                      <a:pt x="193" y="227"/>
                      <a:pt x="201" y="219"/>
                      <a:pt x="209" y="215"/>
                    </a:cubicBezTo>
                    <a:cubicBezTo>
                      <a:pt x="217" y="211"/>
                      <a:pt x="223" y="215"/>
                      <a:pt x="226" y="214"/>
                    </a:cubicBezTo>
                    <a:cubicBezTo>
                      <a:pt x="228" y="214"/>
                      <a:pt x="223" y="210"/>
                      <a:pt x="226" y="209"/>
                    </a:cubicBezTo>
                    <a:cubicBezTo>
                      <a:pt x="229" y="207"/>
                      <a:pt x="223" y="207"/>
                      <a:pt x="221" y="202"/>
                    </a:cubicBezTo>
                    <a:cubicBezTo>
                      <a:pt x="219" y="197"/>
                      <a:pt x="224" y="200"/>
                      <a:pt x="225" y="196"/>
                    </a:cubicBezTo>
                    <a:cubicBezTo>
                      <a:pt x="226" y="193"/>
                      <a:pt x="228" y="194"/>
                      <a:pt x="231" y="196"/>
                    </a:cubicBezTo>
                    <a:cubicBezTo>
                      <a:pt x="233" y="198"/>
                      <a:pt x="237" y="194"/>
                      <a:pt x="239" y="199"/>
                    </a:cubicBezTo>
                    <a:cubicBezTo>
                      <a:pt x="241" y="204"/>
                      <a:pt x="244" y="198"/>
                      <a:pt x="248" y="201"/>
                    </a:cubicBezTo>
                    <a:cubicBezTo>
                      <a:pt x="252" y="204"/>
                      <a:pt x="247" y="204"/>
                      <a:pt x="243" y="205"/>
                    </a:cubicBezTo>
                    <a:cubicBezTo>
                      <a:pt x="239" y="206"/>
                      <a:pt x="241" y="211"/>
                      <a:pt x="244" y="209"/>
                    </a:cubicBezTo>
                    <a:cubicBezTo>
                      <a:pt x="247" y="206"/>
                      <a:pt x="250" y="204"/>
                      <a:pt x="253" y="207"/>
                    </a:cubicBezTo>
                    <a:cubicBezTo>
                      <a:pt x="256" y="210"/>
                      <a:pt x="257" y="208"/>
                      <a:pt x="260" y="206"/>
                    </a:cubicBezTo>
                    <a:cubicBezTo>
                      <a:pt x="262" y="203"/>
                      <a:pt x="262" y="206"/>
                      <a:pt x="262" y="208"/>
                    </a:cubicBezTo>
                    <a:cubicBezTo>
                      <a:pt x="262" y="210"/>
                      <a:pt x="268" y="211"/>
                      <a:pt x="275" y="212"/>
                    </a:cubicBezTo>
                    <a:cubicBezTo>
                      <a:pt x="283" y="213"/>
                      <a:pt x="296" y="212"/>
                      <a:pt x="300" y="211"/>
                    </a:cubicBezTo>
                    <a:cubicBezTo>
                      <a:pt x="303" y="211"/>
                      <a:pt x="302" y="217"/>
                      <a:pt x="310" y="218"/>
                    </a:cubicBezTo>
                    <a:cubicBezTo>
                      <a:pt x="317" y="220"/>
                      <a:pt x="319" y="210"/>
                      <a:pt x="323" y="214"/>
                    </a:cubicBezTo>
                    <a:cubicBezTo>
                      <a:pt x="327" y="217"/>
                      <a:pt x="323" y="218"/>
                      <a:pt x="321" y="221"/>
                    </a:cubicBezTo>
                    <a:cubicBezTo>
                      <a:pt x="319" y="223"/>
                      <a:pt x="324" y="223"/>
                      <a:pt x="327" y="225"/>
                    </a:cubicBezTo>
                    <a:cubicBezTo>
                      <a:pt x="330" y="226"/>
                      <a:pt x="337" y="228"/>
                      <a:pt x="340" y="231"/>
                    </a:cubicBezTo>
                    <a:cubicBezTo>
                      <a:pt x="343" y="234"/>
                      <a:pt x="345" y="238"/>
                      <a:pt x="353" y="242"/>
                    </a:cubicBezTo>
                    <a:cubicBezTo>
                      <a:pt x="361" y="246"/>
                      <a:pt x="353" y="232"/>
                      <a:pt x="360" y="236"/>
                    </a:cubicBezTo>
                    <a:cubicBezTo>
                      <a:pt x="366" y="241"/>
                      <a:pt x="364" y="237"/>
                      <a:pt x="369" y="241"/>
                    </a:cubicBezTo>
                    <a:cubicBezTo>
                      <a:pt x="374" y="246"/>
                      <a:pt x="372" y="239"/>
                      <a:pt x="370" y="232"/>
                    </a:cubicBezTo>
                    <a:cubicBezTo>
                      <a:pt x="367" y="224"/>
                      <a:pt x="372" y="229"/>
                      <a:pt x="374" y="233"/>
                    </a:cubicBezTo>
                    <a:cubicBezTo>
                      <a:pt x="376" y="236"/>
                      <a:pt x="376" y="243"/>
                      <a:pt x="375" y="247"/>
                    </a:cubicBezTo>
                    <a:cubicBezTo>
                      <a:pt x="373" y="252"/>
                      <a:pt x="366" y="248"/>
                      <a:pt x="367" y="246"/>
                    </a:cubicBezTo>
                    <a:cubicBezTo>
                      <a:pt x="367" y="243"/>
                      <a:pt x="359" y="244"/>
                      <a:pt x="359" y="248"/>
                    </a:cubicBezTo>
                    <a:cubicBezTo>
                      <a:pt x="359" y="251"/>
                      <a:pt x="364" y="258"/>
                      <a:pt x="368" y="259"/>
                    </a:cubicBezTo>
                    <a:cubicBezTo>
                      <a:pt x="372" y="259"/>
                      <a:pt x="369" y="266"/>
                      <a:pt x="372" y="266"/>
                    </a:cubicBezTo>
                    <a:cubicBezTo>
                      <a:pt x="375" y="267"/>
                      <a:pt x="375" y="274"/>
                      <a:pt x="377" y="273"/>
                    </a:cubicBezTo>
                    <a:cubicBezTo>
                      <a:pt x="379" y="272"/>
                      <a:pt x="378" y="264"/>
                      <a:pt x="376" y="261"/>
                    </a:cubicBezTo>
                    <a:cubicBezTo>
                      <a:pt x="374" y="257"/>
                      <a:pt x="375" y="252"/>
                      <a:pt x="378" y="253"/>
                    </a:cubicBezTo>
                    <a:cubicBezTo>
                      <a:pt x="381" y="254"/>
                      <a:pt x="378" y="259"/>
                      <a:pt x="379" y="261"/>
                    </a:cubicBezTo>
                    <a:cubicBezTo>
                      <a:pt x="381" y="263"/>
                      <a:pt x="382" y="259"/>
                      <a:pt x="386" y="257"/>
                    </a:cubicBezTo>
                    <a:cubicBezTo>
                      <a:pt x="389" y="255"/>
                      <a:pt x="384" y="250"/>
                      <a:pt x="386" y="247"/>
                    </a:cubicBezTo>
                    <a:cubicBezTo>
                      <a:pt x="387" y="244"/>
                      <a:pt x="391" y="249"/>
                      <a:pt x="392" y="254"/>
                    </a:cubicBezTo>
                    <a:cubicBezTo>
                      <a:pt x="394" y="260"/>
                      <a:pt x="389" y="259"/>
                      <a:pt x="389" y="262"/>
                    </a:cubicBezTo>
                    <a:cubicBezTo>
                      <a:pt x="389" y="265"/>
                      <a:pt x="384" y="264"/>
                      <a:pt x="382" y="265"/>
                    </a:cubicBezTo>
                    <a:cubicBezTo>
                      <a:pt x="381" y="267"/>
                      <a:pt x="382" y="277"/>
                      <a:pt x="384" y="277"/>
                    </a:cubicBezTo>
                    <a:cubicBezTo>
                      <a:pt x="386" y="277"/>
                      <a:pt x="387" y="269"/>
                      <a:pt x="388" y="273"/>
                    </a:cubicBezTo>
                    <a:cubicBezTo>
                      <a:pt x="389" y="277"/>
                      <a:pt x="394" y="267"/>
                      <a:pt x="395" y="271"/>
                    </a:cubicBezTo>
                    <a:cubicBezTo>
                      <a:pt x="397" y="275"/>
                      <a:pt x="403" y="280"/>
                      <a:pt x="405" y="279"/>
                    </a:cubicBezTo>
                    <a:cubicBezTo>
                      <a:pt x="407" y="278"/>
                      <a:pt x="404" y="274"/>
                      <a:pt x="400" y="273"/>
                    </a:cubicBezTo>
                    <a:cubicBezTo>
                      <a:pt x="397" y="273"/>
                      <a:pt x="397" y="267"/>
                      <a:pt x="401" y="267"/>
                    </a:cubicBezTo>
                    <a:cubicBezTo>
                      <a:pt x="404" y="267"/>
                      <a:pt x="410" y="275"/>
                      <a:pt x="409" y="278"/>
                    </a:cubicBezTo>
                    <a:cubicBezTo>
                      <a:pt x="409" y="281"/>
                      <a:pt x="406" y="281"/>
                      <a:pt x="404" y="284"/>
                    </a:cubicBezTo>
                    <a:cubicBezTo>
                      <a:pt x="401" y="287"/>
                      <a:pt x="397" y="279"/>
                      <a:pt x="394" y="279"/>
                    </a:cubicBezTo>
                    <a:cubicBezTo>
                      <a:pt x="391" y="280"/>
                      <a:pt x="394" y="285"/>
                      <a:pt x="395" y="288"/>
                    </a:cubicBezTo>
                    <a:cubicBezTo>
                      <a:pt x="397" y="292"/>
                      <a:pt x="391" y="296"/>
                      <a:pt x="396" y="299"/>
                    </a:cubicBezTo>
                    <a:cubicBezTo>
                      <a:pt x="400" y="302"/>
                      <a:pt x="399" y="297"/>
                      <a:pt x="399" y="295"/>
                    </a:cubicBezTo>
                    <a:cubicBezTo>
                      <a:pt x="400" y="293"/>
                      <a:pt x="403" y="296"/>
                      <a:pt x="406" y="298"/>
                    </a:cubicBezTo>
                    <a:cubicBezTo>
                      <a:pt x="408" y="299"/>
                      <a:pt x="408" y="294"/>
                      <a:pt x="408" y="291"/>
                    </a:cubicBezTo>
                    <a:cubicBezTo>
                      <a:pt x="408" y="289"/>
                      <a:pt x="412" y="290"/>
                      <a:pt x="414" y="293"/>
                    </a:cubicBezTo>
                    <a:cubicBezTo>
                      <a:pt x="416" y="296"/>
                      <a:pt x="416" y="290"/>
                      <a:pt x="419" y="291"/>
                    </a:cubicBezTo>
                    <a:cubicBezTo>
                      <a:pt x="422" y="291"/>
                      <a:pt x="420" y="296"/>
                      <a:pt x="420" y="299"/>
                    </a:cubicBezTo>
                    <a:cubicBezTo>
                      <a:pt x="420" y="301"/>
                      <a:pt x="425" y="296"/>
                      <a:pt x="425" y="299"/>
                    </a:cubicBezTo>
                    <a:cubicBezTo>
                      <a:pt x="425" y="300"/>
                      <a:pt x="425" y="300"/>
                      <a:pt x="425" y="301"/>
                    </a:cubicBezTo>
                    <a:cubicBezTo>
                      <a:pt x="428" y="299"/>
                      <a:pt x="430" y="297"/>
                      <a:pt x="433" y="295"/>
                    </a:cubicBezTo>
                    <a:cubicBezTo>
                      <a:pt x="438" y="292"/>
                      <a:pt x="429" y="289"/>
                      <a:pt x="430" y="285"/>
                    </a:cubicBezTo>
                    <a:close/>
                    <a:moveTo>
                      <a:pt x="8" y="320"/>
                    </a:moveTo>
                    <a:cubicBezTo>
                      <a:pt x="14" y="318"/>
                      <a:pt x="17" y="315"/>
                      <a:pt x="14" y="312"/>
                    </a:cubicBezTo>
                    <a:cubicBezTo>
                      <a:pt x="12" y="309"/>
                      <a:pt x="4" y="322"/>
                      <a:pt x="8" y="320"/>
                    </a:cubicBezTo>
                    <a:close/>
                    <a:moveTo>
                      <a:pt x="51" y="298"/>
                    </a:moveTo>
                    <a:cubicBezTo>
                      <a:pt x="45" y="296"/>
                      <a:pt x="31" y="305"/>
                      <a:pt x="36" y="305"/>
                    </a:cubicBezTo>
                    <a:cubicBezTo>
                      <a:pt x="39" y="306"/>
                      <a:pt x="41" y="302"/>
                      <a:pt x="45" y="302"/>
                    </a:cubicBezTo>
                    <a:cubicBezTo>
                      <a:pt x="49" y="302"/>
                      <a:pt x="56" y="300"/>
                      <a:pt x="51" y="298"/>
                    </a:cubicBezTo>
                    <a:close/>
                    <a:moveTo>
                      <a:pt x="178" y="239"/>
                    </a:moveTo>
                    <a:cubicBezTo>
                      <a:pt x="178" y="236"/>
                      <a:pt x="174" y="237"/>
                      <a:pt x="169" y="242"/>
                    </a:cubicBezTo>
                    <a:cubicBezTo>
                      <a:pt x="164" y="248"/>
                      <a:pt x="160" y="251"/>
                      <a:pt x="159" y="254"/>
                    </a:cubicBezTo>
                    <a:cubicBezTo>
                      <a:pt x="158" y="257"/>
                      <a:pt x="152" y="253"/>
                      <a:pt x="151" y="257"/>
                    </a:cubicBezTo>
                    <a:cubicBezTo>
                      <a:pt x="149" y="260"/>
                      <a:pt x="152" y="268"/>
                      <a:pt x="155" y="266"/>
                    </a:cubicBezTo>
                    <a:cubicBezTo>
                      <a:pt x="159" y="263"/>
                      <a:pt x="159" y="266"/>
                      <a:pt x="161" y="266"/>
                    </a:cubicBezTo>
                    <a:cubicBezTo>
                      <a:pt x="164" y="266"/>
                      <a:pt x="174" y="259"/>
                      <a:pt x="176" y="255"/>
                    </a:cubicBezTo>
                    <a:cubicBezTo>
                      <a:pt x="178" y="252"/>
                      <a:pt x="172" y="251"/>
                      <a:pt x="172" y="248"/>
                    </a:cubicBezTo>
                    <a:cubicBezTo>
                      <a:pt x="172" y="246"/>
                      <a:pt x="177" y="246"/>
                      <a:pt x="180" y="245"/>
                    </a:cubicBezTo>
                    <a:cubicBezTo>
                      <a:pt x="183" y="243"/>
                      <a:pt x="177" y="242"/>
                      <a:pt x="178" y="239"/>
                    </a:cubicBezTo>
                    <a:close/>
                    <a:moveTo>
                      <a:pt x="18" y="210"/>
                    </a:moveTo>
                    <a:cubicBezTo>
                      <a:pt x="18" y="206"/>
                      <a:pt x="7" y="209"/>
                      <a:pt x="8" y="213"/>
                    </a:cubicBezTo>
                    <a:cubicBezTo>
                      <a:pt x="10" y="217"/>
                      <a:pt x="20" y="219"/>
                      <a:pt x="24" y="218"/>
                    </a:cubicBezTo>
                    <a:cubicBezTo>
                      <a:pt x="28" y="217"/>
                      <a:pt x="29" y="213"/>
                      <a:pt x="26" y="210"/>
                    </a:cubicBezTo>
                    <a:cubicBezTo>
                      <a:pt x="24" y="208"/>
                      <a:pt x="19" y="214"/>
                      <a:pt x="18" y="210"/>
                    </a:cubicBezTo>
                    <a:close/>
                    <a:moveTo>
                      <a:pt x="140" y="762"/>
                    </a:moveTo>
                    <a:cubicBezTo>
                      <a:pt x="134" y="762"/>
                      <a:pt x="137" y="778"/>
                      <a:pt x="141" y="775"/>
                    </a:cubicBezTo>
                    <a:cubicBezTo>
                      <a:pt x="143" y="774"/>
                      <a:pt x="148" y="773"/>
                      <a:pt x="149" y="771"/>
                    </a:cubicBezTo>
                    <a:cubicBezTo>
                      <a:pt x="151" y="768"/>
                      <a:pt x="146" y="761"/>
                      <a:pt x="140" y="762"/>
                    </a:cubicBezTo>
                    <a:close/>
                    <a:moveTo>
                      <a:pt x="132" y="752"/>
                    </a:moveTo>
                    <a:cubicBezTo>
                      <a:pt x="128" y="753"/>
                      <a:pt x="131" y="759"/>
                      <a:pt x="133" y="758"/>
                    </a:cubicBezTo>
                    <a:cubicBezTo>
                      <a:pt x="137" y="755"/>
                      <a:pt x="136" y="752"/>
                      <a:pt x="132" y="752"/>
                    </a:cubicBezTo>
                    <a:close/>
                    <a:moveTo>
                      <a:pt x="93" y="739"/>
                    </a:moveTo>
                    <a:cubicBezTo>
                      <a:pt x="96" y="743"/>
                      <a:pt x="99" y="742"/>
                      <a:pt x="100" y="739"/>
                    </a:cubicBezTo>
                    <a:cubicBezTo>
                      <a:pt x="100" y="736"/>
                      <a:pt x="89" y="736"/>
                      <a:pt x="93" y="739"/>
                    </a:cubicBezTo>
                    <a:close/>
                    <a:moveTo>
                      <a:pt x="111" y="747"/>
                    </a:moveTo>
                    <a:cubicBezTo>
                      <a:pt x="113" y="751"/>
                      <a:pt x="116" y="751"/>
                      <a:pt x="118" y="748"/>
                    </a:cubicBezTo>
                    <a:cubicBezTo>
                      <a:pt x="120" y="745"/>
                      <a:pt x="108" y="743"/>
                      <a:pt x="111" y="747"/>
                    </a:cubicBezTo>
                    <a:close/>
                    <a:moveTo>
                      <a:pt x="1137" y="412"/>
                    </a:moveTo>
                    <a:cubicBezTo>
                      <a:pt x="1136" y="409"/>
                      <a:pt x="1126" y="412"/>
                      <a:pt x="1122" y="408"/>
                    </a:cubicBezTo>
                    <a:cubicBezTo>
                      <a:pt x="1117" y="404"/>
                      <a:pt x="1109" y="421"/>
                      <a:pt x="1107" y="428"/>
                    </a:cubicBezTo>
                    <a:cubicBezTo>
                      <a:pt x="1106" y="435"/>
                      <a:pt x="1093" y="443"/>
                      <a:pt x="1093" y="443"/>
                    </a:cubicBezTo>
                    <a:cubicBezTo>
                      <a:pt x="1093" y="443"/>
                      <a:pt x="1058" y="443"/>
                      <a:pt x="1055" y="443"/>
                    </a:cubicBezTo>
                    <a:cubicBezTo>
                      <a:pt x="1052" y="443"/>
                      <a:pt x="1044" y="450"/>
                      <a:pt x="1039" y="454"/>
                    </a:cubicBezTo>
                    <a:cubicBezTo>
                      <a:pt x="1040" y="454"/>
                      <a:pt x="1040" y="455"/>
                      <a:pt x="1040" y="455"/>
                    </a:cubicBezTo>
                    <a:cubicBezTo>
                      <a:pt x="1043" y="461"/>
                      <a:pt x="1030" y="465"/>
                      <a:pt x="1018" y="466"/>
                    </a:cubicBezTo>
                    <a:cubicBezTo>
                      <a:pt x="1014" y="466"/>
                      <a:pt x="1011" y="466"/>
                      <a:pt x="1009" y="467"/>
                    </a:cubicBezTo>
                    <a:cubicBezTo>
                      <a:pt x="1009" y="468"/>
                      <a:pt x="1010" y="470"/>
                      <a:pt x="1010" y="471"/>
                    </a:cubicBezTo>
                    <a:cubicBezTo>
                      <a:pt x="1009" y="472"/>
                      <a:pt x="1008" y="473"/>
                      <a:pt x="1006" y="474"/>
                    </a:cubicBezTo>
                    <a:cubicBezTo>
                      <a:pt x="1004" y="478"/>
                      <a:pt x="989" y="485"/>
                      <a:pt x="980" y="490"/>
                    </a:cubicBezTo>
                    <a:cubicBezTo>
                      <a:pt x="971" y="495"/>
                      <a:pt x="958" y="492"/>
                      <a:pt x="958" y="485"/>
                    </a:cubicBezTo>
                    <a:cubicBezTo>
                      <a:pt x="958" y="477"/>
                      <a:pt x="965" y="479"/>
                      <a:pt x="966" y="482"/>
                    </a:cubicBezTo>
                    <a:cubicBezTo>
                      <a:pt x="967" y="484"/>
                      <a:pt x="969" y="483"/>
                      <a:pt x="971" y="481"/>
                    </a:cubicBezTo>
                    <a:cubicBezTo>
                      <a:pt x="969" y="479"/>
                      <a:pt x="969" y="475"/>
                      <a:pt x="969" y="472"/>
                    </a:cubicBezTo>
                    <a:cubicBezTo>
                      <a:pt x="966" y="471"/>
                      <a:pt x="971" y="460"/>
                      <a:pt x="965" y="458"/>
                    </a:cubicBezTo>
                    <a:cubicBezTo>
                      <a:pt x="959" y="456"/>
                      <a:pt x="952" y="466"/>
                      <a:pt x="953" y="460"/>
                    </a:cubicBezTo>
                    <a:cubicBezTo>
                      <a:pt x="954" y="453"/>
                      <a:pt x="963" y="448"/>
                      <a:pt x="957" y="439"/>
                    </a:cubicBezTo>
                    <a:cubicBezTo>
                      <a:pt x="952" y="431"/>
                      <a:pt x="942" y="431"/>
                      <a:pt x="940" y="437"/>
                    </a:cubicBezTo>
                    <a:cubicBezTo>
                      <a:pt x="938" y="444"/>
                      <a:pt x="931" y="441"/>
                      <a:pt x="928" y="446"/>
                    </a:cubicBezTo>
                    <a:cubicBezTo>
                      <a:pt x="926" y="451"/>
                      <a:pt x="923" y="462"/>
                      <a:pt x="925" y="470"/>
                    </a:cubicBezTo>
                    <a:cubicBezTo>
                      <a:pt x="927" y="478"/>
                      <a:pt x="925" y="482"/>
                      <a:pt x="917" y="486"/>
                    </a:cubicBezTo>
                    <a:cubicBezTo>
                      <a:pt x="910" y="491"/>
                      <a:pt x="906" y="480"/>
                      <a:pt x="909" y="465"/>
                    </a:cubicBezTo>
                    <a:cubicBezTo>
                      <a:pt x="911" y="455"/>
                      <a:pt x="916" y="445"/>
                      <a:pt x="911" y="445"/>
                    </a:cubicBezTo>
                    <a:cubicBezTo>
                      <a:pt x="906" y="445"/>
                      <a:pt x="918" y="433"/>
                      <a:pt x="928" y="431"/>
                    </a:cubicBezTo>
                    <a:cubicBezTo>
                      <a:pt x="939" y="428"/>
                      <a:pt x="952" y="429"/>
                      <a:pt x="952" y="426"/>
                    </a:cubicBezTo>
                    <a:cubicBezTo>
                      <a:pt x="952" y="426"/>
                      <a:pt x="952" y="425"/>
                      <a:pt x="953" y="425"/>
                    </a:cubicBezTo>
                    <a:cubicBezTo>
                      <a:pt x="951" y="423"/>
                      <a:pt x="949" y="422"/>
                      <a:pt x="947" y="421"/>
                    </a:cubicBezTo>
                    <a:cubicBezTo>
                      <a:pt x="947" y="421"/>
                      <a:pt x="946" y="422"/>
                      <a:pt x="945" y="422"/>
                    </a:cubicBezTo>
                    <a:cubicBezTo>
                      <a:pt x="941" y="425"/>
                      <a:pt x="942" y="418"/>
                      <a:pt x="935" y="418"/>
                    </a:cubicBezTo>
                    <a:cubicBezTo>
                      <a:pt x="927" y="418"/>
                      <a:pt x="920" y="425"/>
                      <a:pt x="914" y="422"/>
                    </a:cubicBezTo>
                    <a:cubicBezTo>
                      <a:pt x="908" y="419"/>
                      <a:pt x="911" y="415"/>
                      <a:pt x="905" y="415"/>
                    </a:cubicBezTo>
                    <a:cubicBezTo>
                      <a:pt x="900" y="415"/>
                      <a:pt x="909" y="404"/>
                      <a:pt x="901" y="409"/>
                    </a:cubicBezTo>
                    <a:cubicBezTo>
                      <a:pt x="893" y="413"/>
                      <a:pt x="881" y="424"/>
                      <a:pt x="876" y="419"/>
                    </a:cubicBezTo>
                    <a:cubicBezTo>
                      <a:pt x="870" y="414"/>
                      <a:pt x="865" y="421"/>
                      <a:pt x="861" y="417"/>
                    </a:cubicBezTo>
                    <a:cubicBezTo>
                      <a:pt x="857" y="413"/>
                      <a:pt x="875" y="402"/>
                      <a:pt x="884" y="402"/>
                    </a:cubicBezTo>
                    <a:cubicBezTo>
                      <a:pt x="886" y="403"/>
                      <a:pt x="888" y="402"/>
                      <a:pt x="890" y="400"/>
                    </a:cubicBezTo>
                    <a:cubicBezTo>
                      <a:pt x="885" y="399"/>
                      <a:pt x="876" y="395"/>
                      <a:pt x="874" y="398"/>
                    </a:cubicBezTo>
                    <a:cubicBezTo>
                      <a:pt x="871" y="402"/>
                      <a:pt x="866" y="399"/>
                      <a:pt x="864" y="396"/>
                    </a:cubicBezTo>
                    <a:cubicBezTo>
                      <a:pt x="862" y="393"/>
                      <a:pt x="859" y="397"/>
                      <a:pt x="855" y="393"/>
                    </a:cubicBezTo>
                    <a:cubicBezTo>
                      <a:pt x="851" y="388"/>
                      <a:pt x="847" y="391"/>
                      <a:pt x="844" y="392"/>
                    </a:cubicBezTo>
                    <a:cubicBezTo>
                      <a:pt x="842" y="393"/>
                      <a:pt x="839" y="391"/>
                      <a:pt x="835" y="389"/>
                    </a:cubicBezTo>
                    <a:cubicBezTo>
                      <a:pt x="830" y="387"/>
                      <a:pt x="834" y="383"/>
                      <a:pt x="830" y="380"/>
                    </a:cubicBezTo>
                    <a:cubicBezTo>
                      <a:pt x="826" y="378"/>
                      <a:pt x="826" y="385"/>
                      <a:pt x="826" y="385"/>
                    </a:cubicBezTo>
                    <a:cubicBezTo>
                      <a:pt x="515" y="387"/>
                      <a:pt x="515" y="387"/>
                      <a:pt x="515" y="387"/>
                    </a:cubicBezTo>
                    <a:cubicBezTo>
                      <a:pt x="516" y="387"/>
                      <a:pt x="516" y="388"/>
                      <a:pt x="516" y="388"/>
                    </a:cubicBezTo>
                    <a:cubicBezTo>
                      <a:pt x="520" y="392"/>
                      <a:pt x="517" y="395"/>
                      <a:pt x="518" y="400"/>
                    </a:cubicBezTo>
                    <a:cubicBezTo>
                      <a:pt x="520" y="405"/>
                      <a:pt x="519" y="412"/>
                      <a:pt x="515" y="412"/>
                    </a:cubicBezTo>
                    <a:cubicBezTo>
                      <a:pt x="511" y="412"/>
                      <a:pt x="511" y="407"/>
                      <a:pt x="513" y="406"/>
                    </a:cubicBezTo>
                    <a:cubicBezTo>
                      <a:pt x="516" y="404"/>
                      <a:pt x="515" y="399"/>
                      <a:pt x="512" y="399"/>
                    </a:cubicBezTo>
                    <a:cubicBezTo>
                      <a:pt x="510" y="399"/>
                      <a:pt x="510" y="397"/>
                      <a:pt x="510" y="395"/>
                    </a:cubicBezTo>
                    <a:cubicBezTo>
                      <a:pt x="505" y="396"/>
                      <a:pt x="499" y="396"/>
                      <a:pt x="492" y="395"/>
                    </a:cubicBezTo>
                    <a:cubicBezTo>
                      <a:pt x="492" y="395"/>
                      <a:pt x="492" y="395"/>
                      <a:pt x="492" y="396"/>
                    </a:cubicBezTo>
                    <a:cubicBezTo>
                      <a:pt x="492" y="399"/>
                      <a:pt x="494" y="405"/>
                      <a:pt x="498" y="411"/>
                    </a:cubicBezTo>
                    <a:cubicBezTo>
                      <a:pt x="502" y="416"/>
                      <a:pt x="499" y="419"/>
                      <a:pt x="503" y="421"/>
                    </a:cubicBezTo>
                    <a:cubicBezTo>
                      <a:pt x="507" y="423"/>
                      <a:pt x="506" y="425"/>
                      <a:pt x="503" y="425"/>
                    </a:cubicBezTo>
                    <a:cubicBezTo>
                      <a:pt x="499" y="424"/>
                      <a:pt x="502" y="428"/>
                      <a:pt x="501" y="435"/>
                    </a:cubicBezTo>
                    <a:cubicBezTo>
                      <a:pt x="499" y="443"/>
                      <a:pt x="500" y="458"/>
                      <a:pt x="499" y="463"/>
                    </a:cubicBezTo>
                    <a:cubicBezTo>
                      <a:pt x="498" y="468"/>
                      <a:pt x="493" y="475"/>
                      <a:pt x="496" y="480"/>
                    </a:cubicBezTo>
                    <a:cubicBezTo>
                      <a:pt x="499" y="485"/>
                      <a:pt x="501" y="492"/>
                      <a:pt x="500" y="499"/>
                    </a:cubicBezTo>
                    <a:cubicBezTo>
                      <a:pt x="498" y="505"/>
                      <a:pt x="498" y="509"/>
                      <a:pt x="501" y="513"/>
                    </a:cubicBezTo>
                    <a:cubicBezTo>
                      <a:pt x="504" y="518"/>
                      <a:pt x="501" y="526"/>
                      <a:pt x="504" y="528"/>
                    </a:cubicBezTo>
                    <a:cubicBezTo>
                      <a:pt x="507" y="530"/>
                      <a:pt x="510" y="533"/>
                      <a:pt x="513" y="538"/>
                    </a:cubicBezTo>
                    <a:cubicBezTo>
                      <a:pt x="516" y="542"/>
                      <a:pt x="518" y="540"/>
                      <a:pt x="519" y="544"/>
                    </a:cubicBezTo>
                    <a:cubicBezTo>
                      <a:pt x="519" y="549"/>
                      <a:pt x="519" y="549"/>
                      <a:pt x="523" y="551"/>
                    </a:cubicBezTo>
                    <a:cubicBezTo>
                      <a:pt x="527" y="553"/>
                      <a:pt x="525" y="557"/>
                      <a:pt x="525" y="560"/>
                    </a:cubicBezTo>
                    <a:cubicBezTo>
                      <a:pt x="525" y="562"/>
                      <a:pt x="530" y="567"/>
                      <a:pt x="536" y="573"/>
                    </a:cubicBezTo>
                    <a:cubicBezTo>
                      <a:pt x="543" y="578"/>
                      <a:pt x="537" y="583"/>
                      <a:pt x="542" y="583"/>
                    </a:cubicBezTo>
                    <a:cubicBezTo>
                      <a:pt x="547" y="583"/>
                      <a:pt x="551" y="586"/>
                      <a:pt x="556" y="589"/>
                    </a:cubicBezTo>
                    <a:cubicBezTo>
                      <a:pt x="561" y="592"/>
                      <a:pt x="562" y="590"/>
                      <a:pt x="566" y="591"/>
                    </a:cubicBezTo>
                    <a:cubicBezTo>
                      <a:pt x="569" y="592"/>
                      <a:pt x="575" y="599"/>
                      <a:pt x="576" y="603"/>
                    </a:cubicBezTo>
                    <a:cubicBezTo>
                      <a:pt x="577" y="606"/>
                      <a:pt x="577" y="608"/>
                      <a:pt x="579" y="611"/>
                    </a:cubicBezTo>
                    <a:cubicBezTo>
                      <a:pt x="605" y="607"/>
                      <a:pt x="605" y="607"/>
                      <a:pt x="605" y="607"/>
                    </a:cubicBezTo>
                    <a:cubicBezTo>
                      <a:pt x="605" y="607"/>
                      <a:pt x="613" y="613"/>
                      <a:pt x="617" y="614"/>
                    </a:cubicBezTo>
                    <a:cubicBezTo>
                      <a:pt x="622" y="615"/>
                      <a:pt x="646" y="624"/>
                      <a:pt x="646" y="624"/>
                    </a:cubicBezTo>
                    <a:cubicBezTo>
                      <a:pt x="678" y="624"/>
                      <a:pt x="678" y="624"/>
                      <a:pt x="678" y="624"/>
                    </a:cubicBezTo>
                    <a:cubicBezTo>
                      <a:pt x="682" y="619"/>
                      <a:pt x="682" y="619"/>
                      <a:pt x="682" y="619"/>
                    </a:cubicBezTo>
                    <a:cubicBezTo>
                      <a:pt x="700" y="619"/>
                      <a:pt x="700" y="619"/>
                      <a:pt x="700" y="619"/>
                    </a:cubicBezTo>
                    <a:cubicBezTo>
                      <a:pt x="700" y="619"/>
                      <a:pt x="711" y="630"/>
                      <a:pt x="712" y="630"/>
                    </a:cubicBezTo>
                    <a:cubicBezTo>
                      <a:pt x="714" y="631"/>
                      <a:pt x="720" y="636"/>
                      <a:pt x="720" y="639"/>
                    </a:cubicBezTo>
                    <a:cubicBezTo>
                      <a:pt x="720" y="642"/>
                      <a:pt x="721" y="645"/>
                      <a:pt x="724" y="646"/>
                    </a:cubicBezTo>
                    <a:cubicBezTo>
                      <a:pt x="726" y="648"/>
                      <a:pt x="735" y="654"/>
                      <a:pt x="737" y="653"/>
                    </a:cubicBezTo>
                    <a:cubicBezTo>
                      <a:pt x="738" y="653"/>
                      <a:pt x="741" y="642"/>
                      <a:pt x="746" y="643"/>
                    </a:cubicBezTo>
                    <a:cubicBezTo>
                      <a:pt x="750" y="643"/>
                      <a:pt x="763" y="647"/>
                      <a:pt x="766" y="654"/>
                    </a:cubicBezTo>
                    <a:cubicBezTo>
                      <a:pt x="768" y="662"/>
                      <a:pt x="774" y="668"/>
                      <a:pt x="776" y="669"/>
                    </a:cubicBezTo>
                    <a:cubicBezTo>
                      <a:pt x="778" y="671"/>
                      <a:pt x="777" y="675"/>
                      <a:pt x="779" y="678"/>
                    </a:cubicBezTo>
                    <a:cubicBezTo>
                      <a:pt x="781" y="680"/>
                      <a:pt x="780" y="685"/>
                      <a:pt x="782" y="685"/>
                    </a:cubicBezTo>
                    <a:cubicBezTo>
                      <a:pt x="784" y="685"/>
                      <a:pt x="794" y="691"/>
                      <a:pt x="798" y="690"/>
                    </a:cubicBezTo>
                    <a:cubicBezTo>
                      <a:pt x="799" y="690"/>
                      <a:pt x="801" y="691"/>
                      <a:pt x="803" y="692"/>
                    </a:cubicBezTo>
                    <a:cubicBezTo>
                      <a:pt x="803" y="683"/>
                      <a:pt x="794" y="682"/>
                      <a:pt x="799" y="678"/>
                    </a:cubicBezTo>
                    <a:cubicBezTo>
                      <a:pt x="806" y="673"/>
                      <a:pt x="799" y="669"/>
                      <a:pt x="802" y="667"/>
                    </a:cubicBezTo>
                    <a:cubicBezTo>
                      <a:pt x="805" y="665"/>
                      <a:pt x="810" y="663"/>
                      <a:pt x="810" y="660"/>
                    </a:cubicBezTo>
                    <a:cubicBezTo>
                      <a:pt x="810" y="657"/>
                      <a:pt x="813" y="657"/>
                      <a:pt x="817" y="657"/>
                    </a:cubicBezTo>
                    <a:cubicBezTo>
                      <a:pt x="821" y="658"/>
                      <a:pt x="829" y="651"/>
                      <a:pt x="828" y="648"/>
                    </a:cubicBezTo>
                    <a:cubicBezTo>
                      <a:pt x="828" y="645"/>
                      <a:pt x="829" y="645"/>
                      <a:pt x="834" y="646"/>
                    </a:cubicBezTo>
                    <a:cubicBezTo>
                      <a:pt x="838" y="647"/>
                      <a:pt x="838" y="640"/>
                      <a:pt x="841" y="641"/>
                    </a:cubicBezTo>
                    <a:cubicBezTo>
                      <a:pt x="844" y="642"/>
                      <a:pt x="846" y="644"/>
                      <a:pt x="846" y="642"/>
                    </a:cubicBezTo>
                    <a:cubicBezTo>
                      <a:pt x="847" y="640"/>
                      <a:pt x="850" y="640"/>
                      <a:pt x="852" y="643"/>
                    </a:cubicBezTo>
                    <a:cubicBezTo>
                      <a:pt x="854" y="646"/>
                      <a:pt x="861" y="647"/>
                      <a:pt x="861" y="643"/>
                    </a:cubicBezTo>
                    <a:cubicBezTo>
                      <a:pt x="862" y="640"/>
                      <a:pt x="865" y="643"/>
                      <a:pt x="869" y="647"/>
                    </a:cubicBezTo>
                    <a:cubicBezTo>
                      <a:pt x="872" y="650"/>
                      <a:pt x="873" y="649"/>
                      <a:pt x="878" y="650"/>
                    </a:cubicBezTo>
                    <a:cubicBezTo>
                      <a:pt x="883" y="650"/>
                      <a:pt x="883" y="649"/>
                      <a:pt x="883" y="646"/>
                    </a:cubicBezTo>
                    <a:cubicBezTo>
                      <a:pt x="883" y="643"/>
                      <a:pt x="888" y="652"/>
                      <a:pt x="893" y="653"/>
                    </a:cubicBezTo>
                    <a:cubicBezTo>
                      <a:pt x="898" y="653"/>
                      <a:pt x="894" y="650"/>
                      <a:pt x="891" y="647"/>
                    </a:cubicBezTo>
                    <a:cubicBezTo>
                      <a:pt x="887" y="644"/>
                      <a:pt x="891" y="643"/>
                      <a:pt x="888" y="641"/>
                    </a:cubicBezTo>
                    <a:cubicBezTo>
                      <a:pt x="885" y="638"/>
                      <a:pt x="892" y="635"/>
                      <a:pt x="898" y="636"/>
                    </a:cubicBezTo>
                    <a:cubicBezTo>
                      <a:pt x="904" y="636"/>
                      <a:pt x="904" y="637"/>
                      <a:pt x="906" y="634"/>
                    </a:cubicBezTo>
                    <a:cubicBezTo>
                      <a:pt x="908" y="630"/>
                      <a:pt x="911" y="634"/>
                      <a:pt x="911" y="637"/>
                    </a:cubicBezTo>
                    <a:cubicBezTo>
                      <a:pt x="911" y="640"/>
                      <a:pt x="920" y="635"/>
                      <a:pt x="926" y="635"/>
                    </a:cubicBezTo>
                    <a:cubicBezTo>
                      <a:pt x="931" y="635"/>
                      <a:pt x="936" y="640"/>
                      <a:pt x="936" y="643"/>
                    </a:cubicBezTo>
                    <a:cubicBezTo>
                      <a:pt x="937" y="646"/>
                      <a:pt x="940" y="647"/>
                      <a:pt x="944" y="644"/>
                    </a:cubicBezTo>
                    <a:cubicBezTo>
                      <a:pt x="948" y="641"/>
                      <a:pt x="951" y="637"/>
                      <a:pt x="954" y="640"/>
                    </a:cubicBezTo>
                    <a:cubicBezTo>
                      <a:pt x="958" y="644"/>
                      <a:pt x="961" y="649"/>
                      <a:pt x="966" y="653"/>
                    </a:cubicBezTo>
                    <a:cubicBezTo>
                      <a:pt x="970" y="657"/>
                      <a:pt x="964" y="662"/>
                      <a:pt x="966" y="666"/>
                    </a:cubicBezTo>
                    <a:cubicBezTo>
                      <a:pt x="968" y="669"/>
                      <a:pt x="966" y="673"/>
                      <a:pt x="971" y="677"/>
                    </a:cubicBezTo>
                    <a:cubicBezTo>
                      <a:pt x="976" y="680"/>
                      <a:pt x="971" y="688"/>
                      <a:pt x="975" y="689"/>
                    </a:cubicBezTo>
                    <a:cubicBezTo>
                      <a:pt x="979" y="690"/>
                      <a:pt x="982" y="696"/>
                      <a:pt x="983" y="698"/>
                    </a:cubicBezTo>
                    <a:cubicBezTo>
                      <a:pt x="983" y="701"/>
                      <a:pt x="991" y="704"/>
                      <a:pt x="991" y="700"/>
                    </a:cubicBezTo>
                    <a:cubicBezTo>
                      <a:pt x="992" y="696"/>
                      <a:pt x="996" y="691"/>
                      <a:pt x="996" y="687"/>
                    </a:cubicBezTo>
                    <a:cubicBezTo>
                      <a:pt x="997" y="683"/>
                      <a:pt x="993" y="668"/>
                      <a:pt x="990" y="664"/>
                    </a:cubicBezTo>
                    <a:cubicBezTo>
                      <a:pt x="987" y="659"/>
                      <a:pt x="991" y="658"/>
                      <a:pt x="987" y="653"/>
                    </a:cubicBezTo>
                    <a:cubicBezTo>
                      <a:pt x="983" y="648"/>
                      <a:pt x="980" y="639"/>
                      <a:pt x="981" y="631"/>
                    </a:cubicBezTo>
                    <a:cubicBezTo>
                      <a:pt x="981" y="624"/>
                      <a:pt x="990" y="611"/>
                      <a:pt x="994" y="608"/>
                    </a:cubicBezTo>
                    <a:cubicBezTo>
                      <a:pt x="998" y="604"/>
                      <a:pt x="1003" y="606"/>
                      <a:pt x="1004" y="602"/>
                    </a:cubicBezTo>
                    <a:cubicBezTo>
                      <a:pt x="1005" y="598"/>
                      <a:pt x="1010" y="593"/>
                      <a:pt x="1013" y="593"/>
                    </a:cubicBezTo>
                    <a:cubicBezTo>
                      <a:pt x="1016" y="593"/>
                      <a:pt x="1019" y="594"/>
                      <a:pt x="1020" y="590"/>
                    </a:cubicBezTo>
                    <a:cubicBezTo>
                      <a:pt x="1020" y="587"/>
                      <a:pt x="1025" y="583"/>
                      <a:pt x="1032" y="582"/>
                    </a:cubicBezTo>
                    <a:cubicBezTo>
                      <a:pt x="1038" y="581"/>
                      <a:pt x="1035" y="578"/>
                      <a:pt x="1033" y="575"/>
                    </a:cubicBezTo>
                    <a:cubicBezTo>
                      <a:pt x="1031" y="572"/>
                      <a:pt x="1034" y="569"/>
                      <a:pt x="1036" y="571"/>
                    </a:cubicBezTo>
                    <a:cubicBezTo>
                      <a:pt x="1037" y="573"/>
                      <a:pt x="1041" y="573"/>
                      <a:pt x="1043" y="571"/>
                    </a:cubicBezTo>
                    <a:cubicBezTo>
                      <a:pt x="1046" y="569"/>
                      <a:pt x="1052" y="565"/>
                      <a:pt x="1046" y="564"/>
                    </a:cubicBezTo>
                    <a:cubicBezTo>
                      <a:pt x="1041" y="564"/>
                      <a:pt x="1039" y="562"/>
                      <a:pt x="1043" y="561"/>
                    </a:cubicBezTo>
                    <a:cubicBezTo>
                      <a:pt x="1046" y="559"/>
                      <a:pt x="1043" y="553"/>
                      <a:pt x="1039" y="553"/>
                    </a:cubicBezTo>
                    <a:cubicBezTo>
                      <a:pt x="1034" y="552"/>
                      <a:pt x="1036" y="550"/>
                      <a:pt x="1038" y="547"/>
                    </a:cubicBezTo>
                    <a:cubicBezTo>
                      <a:pt x="1041" y="545"/>
                      <a:pt x="1034" y="540"/>
                      <a:pt x="1031" y="538"/>
                    </a:cubicBezTo>
                    <a:cubicBezTo>
                      <a:pt x="1028" y="536"/>
                      <a:pt x="1033" y="534"/>
                      <a:pt x="1036" y="534"/>
                    </a:cubicBezTo>
                    <a:cubicBezTo>
                      <a:pt x="1038" y="533"/>
                      <a:pt x="1036" y="522"/>
                      <a:pt x="1037" y="519"/>
                    </a:cubicBezTo>
                    <a:cubicBezTo>
                      <a:pt x="1039" y="516"/>
                      <a:pt x="1043" y="516"/>
                      <a:pt x="1041" y="519"/>
                    </a:cubicBezTo>
                    <a:cubicBezTo>
                      <a:pt x="1039" y="522"/>
                      <a:pt x="1037" y="526"/>
                      <a:pt x="1040" y="530"/>
                    </a:cubicBezTo>
                    <a:cubicBezTo>
                      <a:pt x="1043" y="534"/>
                      <a:pt x="1044" y="538"/>
                      <a:pt x="1043" y="544"/>
                    </a:cubicBezTo>
                    <a:cubicBezTo>
                      <a:pt x="1042" y="549"/>
                      <a:pt x="1044" y="548"/>
                      <a:pt x="1048" y="540"/>
                    </a:cubicBezTo>
                    <a:cubicBezTo>
                      <a:pt x="1052" y="533"/>
                      <a:pt x="1052" y="526"/>
                      <a:pt x="1050" y="526"/>
                    </a:cubicBezTo>
                    <a:cubicBezTo>
                      <a:pt x="1047" y="525"/>
                      <a:pt x="1048" y="517"/>
                      <a:pt x="1050" y="521"/>
                    </a:cubicBezTo>
                    <a:cubicBezTo>
                      <a:pt x="1053" y="524"/>
                      <a:pt x="1054" y="525"/>
                      <a:pt x="1058" y="520"/>
                    </a:cubicBezTo>
                    <a:cubicBezTo>
                      <a:pt x="1063" y="516"/>
                      <a:pt x="1067" y="508"/>
                      <a:pt x="1064" y="506"/>
                    </a:cubicBezTo>
                    <a:cubicBezTo>
                      <a:pt x="1062" y="505"/>
                      <a:pt x="1066" y="503"/>
                      <a:pt x="1071" y="503"/>
                    </a:cubicBezTo>
                    <a:cubicBezTo>
                      <a:pt x="1076" y="503"/>
                      <a:pt x="1086" y="500"/>
                      <a:pt x="1087" y="499"/>
                    </a:cubicBezTo>
                    <a:cubicBezTo>
                      <a:pt x="1090" y="494"/>
                      <a:pt x="1070" y="501"/>
                      <a:pt x="1070" y="498"/>
                    </a:cubicBezTo>
                    <a:cubicBezTo>
                      <a:pt x="1070" y="495"/>
                      <a:pt x="1082" y="493"/>
                      <a:pt x="1088" y="492"/>
                    </a:cubicBezTo>
                    <a:cubicBezTo>
                      <a:pt x="1094" y="492"/>
                      <a:pt x="1091" y="484"/>
                      <a:pt x="1094" y="488"/>
                    </a:cubicBezTo>
                    <a:cubicBezTo>
                      <a:pt x="1096" y="491"/>
                      <a:pt x="1100" y="490"/>
                      <a:pt x="1103" y="488"/>
                    </a:cubicBezTo>
                    <a:cubicBezTo>
                      <a:pt x="1106" y="486"/>
                      <a:pt x="1104" y="481"/>
                      <a:pt x="1100" y="480"/>
                    </a:cubicBezTo>
                    <a:cubicBezTo>
                      <a:pt x="1096" y="479"/>
                      <a:pt x="1103" y="476"/>
                      <a:pt x="1102" y="474"/>
                    </a:cubicBezTo>
                    <a:cubicBezTo>
                      <a:pt x="1100" y="472"/>
                      <a:pt x="1104" y="463"/>
                      <a:pt x="1109" y="462"/>
                    </a:cubicBezTo>
                    <a:cubicBezTo>
                      <a:pt x="1114" y="461"/>
                      <a:pt x="1111" y="458"/>
                      <a:pt x="1115" y="458"/>
                    </a:cubicBezTo>
                    <a:cubicBezTo>
                      <a:pt x="1119" y="458"/>
                      <a:pt x="1120" y="453"/>
                      <a:pt x="1124" y="449"/>
                    </a:cubicBezTo>
                    <a:cubicBezTo>
                      <a:pt x="1127" y="446"/>
                      <a:pt x="1132" y="455"/>
                      <a:pt x="1138" y="450"/>
                    </a:cubicBezTo>
                    <a:cubicBezTo>
                      <a:pt x="1140" y="448"/>
                      <a:pt x="1143" y="446"/>
                      <a:pt x="1146" y="444"/>
                    </a:cubicBezTo>
                    <a:cubicBezTo>
                      <a:pt x="1133" y="427"/>
                      <a:pt x="1137" y="415"/>
                      <a:pt x="1137" y="4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3" name="Freeform 131">
                <a:extLst>
                  <a:ext uri="{FF2B5EF4-FFF2-40B4-BE49-F238E27FC236}">
                    <a16:creationId xmlns:a16="http://schemas.microsoft.com/office/drawing/2014/main" id="{B56CCC74-E9F2-4102-9382-100E790D0B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0988" y="2947988"/>
                <a:ext cx="320675" cy="227013"/>
              </a:xfrm>
              <a:custGeom>
                <a:avLst/>
                <a:gdLst>
                  <a:gd name="T0" fmla="*/ 144 w 146"/>
                  <a:gd name="T1" fmla="*/ 18 h 103"/>
                  <a:gd name="T2" fmla="*/ 132 w 146"/>
                  <a:gd name="T3" fmla="*/ 18 h 103"/>
                  <a:gd name="T4" fmla="*/ 119 w 146"/>
                  <a:gd name="T5" fmla="*/ 15 h 103"/>
                  <a:gd name="T6" fmla="*/ 113 w 146"/>
                  <a:gd name="T7" fmla="*/ 14 h 103"/>
                  <a:gd name="T8" fmla="*/ 105 w 146"/>
                  <a:gd name="T9" fmla="*/ 14 h 103"/>
                  <a:gd name="T10" fmla="*/ 94 w 146"/>
                  <a:gd name="T11" fmla="*/ 9 h 103"/>
                  <a:gd name="T12" fmla="*/ 87 w 146"/>
                  <a:gd name="T13" fmla="*/ 6 h 103"/>
                  <a:gd name="T14" fmla="*/ 68 w 146"/>
                  <a:gd name="T15" fmla="*/ 4 h 103"/>
                  <a:gd name="T16" fmla="*/ 31 w 146"/>
                  <a:gd name="T17" fmla="*/ 4 h 103"/>
                  <a:gd name="T18" fmla="*/ 17 w 146"/>
                  <a:gd name="T19" fmla="*/ 0 h 103"/>
                  <a:gd name="T20" fmla="*/ 8 w 146"/>
                  <a:gd name="T21" fmla="*/ 6 h 103"/>
                  <a:gd name="T22" fmla="*/ 5 w 146"/>
                  <a:gd name="T23" fmla="*/ 14 h 103"/>
                  <a:gd name="T24" fmla="*/ 7 w 146"/>
                  <a:gd name="T25" fmla="*/ 25 h 103"/>
                  <a:gd name="T26" fmla="*/ 10 w 146"/>
                  <a:gd name="T27" fmla="*/ 24 h 103"/>
                  <a:gd name="T28" fmla="*/ 14 w 146"/>
                  <a:gd name="T29" fmla="*/ 24 h 103"/>
                  <a:gd name="T30" fmla="*/ 21 w 146"/>
                  <a:gd name="T31" fmla="*/ 26 h 103"/>
                  <a:gd name="T32" fmla="*/ 25 w 146"/>
                  <a:gd name="T33" fmla="*/ 26 h 103"/>
                  <a:gd name="T34" fmla="*/ 32 w 146"/>
                  <a:gd name="T35" fmla="*/ 27 h 103"/>
                  <a:gd name="T36" fmla="*/ 35 w 146"/>
                  <a:gd name="T37" fmla="*/ 32 h 103"/>
                  <a:gd name="T38" fmla="*/ 28 w 146"/>
                  <a:gd name="T39" fmla="*/ 38 h 103"/>
                  <a:gd name="T40" fmla="*/ 29 w 146"/>
                  <a:gd name="T41" fmla="*/ 49 h 103"/>
                  <a:gd name="T42" fmla="*/ 27 w 146"/>
                  <a:gd name="T43" fmla="*/ 56 h 103"/>
                  <a:gd name="T44" fmla="*/ 24 w 146"/>
                  <a:gd name="T45" fmla="*/ 61 h 103"/>
                  <a:gd name="T46" fmla="*/ 27 w 146"/>
                  <a:gd name="T47" fmla="*/ 67 h 103"/>
                  <a:gd name="T48" fmla="*/ 24 w 146"/>
                  <a:gd name="T49" fmla="*/ 73 h 103"/>
                  <a:gd name="T50" fmla="*/ 27 w 146"/>
                  <a:gd name="T51" fmla="*/ 79 h 103"/>
                  <a:gd name="T52" fmla="*/ 22 w 146"/>
                  <a:gd name="T53" fmla="*/ 85 h 103"/>
                  <a:gd name="T54" fmla="*/ 24 w 146"/>
                  <a:gd name="T55" fmla="*/ 89 h 103"/>
                  <a:gd name="T56" fmla="*/ 30 w 146"/>
                  <a:gd name="T57" fmla="*/ 90 h 103"/>
                  <a:gd name="T58" fmla="*/ 44 w 146"/>
                  <a:gd name="T59" fmla="*/ 103 h 103"/>
                  <a:gd name="T60" fmla="*/ 46 w 146"/>
                  <a:gd name="T61" fmla="*/ 99 h 103"/>
                  <a:gd name="T62" fmla="*/ 53 w 146"/>
                  <a:gd name="T63" fmla="*/ 99 h 103"/>
                  <a:gd name="T64" fmla="*/ 63 w 146"/>
                  <a:gd name="T65" fmla="*/ 95 h 103"/>
                  <a:gd name="T66" fmla="*/ 77 w 146"/>
                  <a:gd name="T67" fmla="*/ 94 h 103"/>
                  <a:gd name="T68" fmla="*/ 86 w 146"/>
                  <a:gd name="T69" fmla="*/ 90 h 103"/>
                  <a:gd name="T70" fmla="*/ 94 w 146"/>
                  <a:gd name="T71" fmla="*/ 84 h 103"/>
                  <a:gd name="T72" fmla="*/ 99 w 146"/>
                  <a:gd name="T73" fmla="*/ 76 h 103"/>
                  <a:gd name="T74" fmla="*/ 107 w 146"/>
                  <a:gd name="T75" fmla="*/ 67 h 103"/>
                  <a:gd name="T76" fmla="*/ 107 w 146"/>
                  <a:gd name="T77" fmla="*/ 51 h 103"/>
                  <a:gd name="T78" fmla="*/ 116 w 146"/>
                  <a:gd name="T79" fmla="*/ 40 h 103"/>
                  <a:gd name="T80" fmla="*/ 127 w 146"/>
                  <a:gd name="T81" fmla="*/ 34 h 103"/>
                  <a:gd name="T82" fmla="*/ 139 w 146"/>
                  <a:gd name="T83" fmla="*/ 28 h 103"/>
                  <a:gd name="T84" fmla="*/ 144 w 146"/>
                  <a:gd name="T85" fmla="*/ 18 h 103"/>
                  <a:gd name="T86" fmla="*/ 145 w 146"/>
                  <a:gd name="T87" fmla="*/ 55 h 103"/>
                  <a:gd name="T88" fmla="*/ 135 w 146"/>
                  <a:gd name="T89" fmla="*/ 58 h 103"/>
                  <a:gd name="T90" fmla="*/ 145 w 146"/>
                  <a:gd name="T91" fmla="*/ 5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103">
                    <a:moveTo>
                      <a:pt x="144" y="18"/>
                    </a:moveTo>
                    <a:cubicBezTo>
                      <a:pt x="140" y="18"/>
                      <a:pt x="135" y="19"/>
                      <a:pt x="132" y="18"/>
                    </a:cubicBezTo>
                    <a:cubicBezTo>
                      <a:pt x="128" y="17"/>
                      <a:pt x="121" y="17"/>
                      <a:pt x="119" y="15"/>
                    </a:cubicBezTo>
                    <a:cubicBezTo>
                      <a:pt x="117" y="13"/>
                      <a:pt x="113" y="11"/>
                      <a:pt x="113" y="14"/>
                    </a:cubicBezTo>
                    <a:cubicBezTo>
                      <a:pt x="113" y="16"/>
                      <a:pt x="108" y="17"/>
                      <a:pt x="105" y="14"/>
                    </a:cubicBezTo>
                    <a:cubicBezTo>
                      <a:pt x="101" y="12"/>
                      <a:pt x="96" y="11"/>
                      <a:pt x="94" y="9"/>
                    </a:cubicBezTo>
                    <a:cubicBezTo>
                      <a:pt x="92" y="8"/>
                      <a:pt x="90" y="7"/>
                      <a:pt x="87" y="6"/>
                    </a:cubicBezTo>
                    <a:cubicBezTo>
                      <a:pt x="84" y="7"/>
                      <a:pt x="74" y="3"/>
                      <a:pt x="68" y="4"/>
                    </a:cubicBezTo>
                    <a:cubicBezTo>
                      <a:pt x="61" y="5"/>
                      <a:pt x="39" y="3"/>
                      <a:pt x="31" y="4"/>
                    </a:cubicBezTo>
                    <a:cubicBezTo>
                      <a:pt x="22" y="4"/>
                      <a:pt x="22" y="0"/>
                      <a:pt x="17" y="0"/>
                    </a:cubicBezTo>
                    <a:cubicBezTo>
                      <a:pt x="12" y="0"/>
                      <a:pt x="14" y="6"/>
                      <a:pt x="8" y="6"/>
                    </a:cubicBezTo>
                    <a:cubicBezTo>
                      <a:pt x="1" y="6"/>
                      <a:pt x="0" y="10"/>
                      <a:pt x="5" y="14"/>
                    </a:cubicBezTo>
                    <a:cubicBezTo>
                      <a:pt x="8" y="16"/>
                      <a:pt x="7" y="21"/>
                      <a:pt x="7" y="25"/>
                    </a:cubicBezTo>
                    <a:cubicBezTo>
                      <a:pt x="8" y="25"/>
                      <a:pt x="9" y="25"/>
                      <a:pt x="10" y="24"/>
                    </a:cubicBezTo>
                    <a:cubicBezTo>
                      <a:pt x="12" y="21"/>
                      <a:pt x="14" y="22"/>
                      <a:pt x="14" y="24"/>
                    </a:cubicBezTo>
                    <a:cubicBezTo>
                      <a:pt x="14" y="27"/>
                      <a:pt x="19" y="26"/>
                      <a:pt x="21" y="26"/>
                    </a:cubicBezTo>
                    <a:cubicBezTo>
                      <a:pt x="23" y="26"/>
                      <a:pt x="23" y="28"/>
                      <a:pt x="25" y="26"/>
                    </a:cubicBezTo>
                    <a:cubicBezTo>
                      <a:pt x="28" y="24"/>
                      <a:pt x="32" y="25"/>
                      <a:pt x="32" y="27"/>
                    </a:cubicBezTo>
                    <a:cubicBezTo>
                      <a:pt x="32" y="30"/>
                      <a:pt x="38" y="28"/>
                      <a:pt x="35" y="32"/>
                    </a:cubicBezTo>
                    <a:cubicBezTo>
                      <a:pt x="32" y="35"/>
                      <a:pt x="28" y="36"/>
                      <a:pt x="28" y="38"/>
                    </a:cubicBezTo>
                    <a:cubicBezTo>
                      <a:pt x="28" y="40"/>
                      <a:pt x="32" y="46"/>
                      <a:pt x="29" y="49"/>
                    </a:cubicBezTo>
                    <a:cubicBezTo>
                      <a:pt x="26" y="51"/>
                      <a:pt x="30" y="56"/>
                      <a:pt x="27" y="56"/>
                    </a:cubicBezTo>
                    <a:cubicBezTo>
                      <a:pt x="24" y="56"/>
                      <a:pt x="21" y="57"/>
                      <a:pt x="24" y="61"/>
                    </a:cubicBezTo>
                    <a:cubicBezTo>
                      <a:pt x="27" y="64"/>
                      <a:pt x="30" y="67"/>
                      <a:pt x="27" y="67"/>
                    </a:cubicBezTo>
                    <a:cubicBezTo>
                      <a:pt x="25" y="67"/>
                      <a:pt x="23" y="72"/>
                      <a:pt x="24" y="73"/>
                    </a:cubicBezTo>
                    <a:cubicBezTo>
                      <a:pt x="25" y="74"/>
                      <a:pt x="31" y="78"/>
                      <a:pt x="27" y="79"/>
                    </a:cubicBezTo>
                    <a:cubicBezTo>
                      <a:pt x="22" y="79"/>
                      <a:pt x="22" y="83"/>
                      <a:pt x="22" y="85"/>
                    </a:cubicBezTo>
                    <a:cubicBezTo>
                      <a:pt x="22" y="86"/>
                      <a:pt x="23" y="88"/>
                      <a:pt x="24" y="89"/>
                    </a:cubicBezTo>
                    <a:cubicBezTo>
                      <a:pt x="26" y="89"/>
                      <a:pt x="28" y="89"/>
                      <a:pt x="30" y="90"/>
                    </a:cubicBezTo>
                    <a:cubicBezTo>
                      <a:pt x="35" y="92"/>
                      <a:pt x="37" y="103"/>
                      <a:pt x="44" y="103"/>
                    </a:cubicBezTo>
                    <a:cubicBezTo>
                      <a:pt x="46" y="102"/>
                      <a:pt x="45" y="100"/>
                      <a:pt x="46" y="99"/>
                    </a:cubicBezTo>
                    <a:cubicBezTo>
                      <a:pt x="48" y="98"/>
                      <a:pt x="50" y="99"/>
                      <a:pt x="53" y="99"/>
                    </a:cubicBezTo>
                    <a:cubicBezTo>
                      <a:pt x="55" y="99"/>
                      <a:pt x="57" y="95"/>
                      <a:pt x="63" y="95"/>
                    </a:cubicBezTo>
                    <a:cubicBezTo>
                      <a:pt x="69" y="94"/>
                      <a:pt x="73" y="94"/>
                      <a:pt x="77" y="94"/>
                    </a:cubicBezTo>
                    <a:cubicBezTo>
                      <a:pt x="81" y="94"/>
                      <a:pt x="85" y="93"/>
                      <a:pt x="86" y="90"/>
                    </a:cubicBezTo>
                    <a:cubicBezTo>
                      <a:pt x="87" y="87"/>
                      <a:pt x="90" y="85"/>
                      <a:pt x="94" y="84"/>
                    </a:cubicBezTo>
                    <a:cubicBezTo>
                      <a:pt x="99" y="83"/>
                      <a:pt x="98" y="79"/>
                      <a:pt x="99" y="76"/>
                    </a:cubicBezTo>
                    <a:cubicBezTo>
                      <a:pt x="99" y="73"/>
                      <a:pt x="106" y="69"/>
                      <a:pt x="107" y="67"/>
                    </a:cubicBezTo>
                    <a:cubicBezTo>
                      <a:pt x="107" y="65"/>
                      <a:pt x="103" y="58"/>
                      <a:pt x="107" y="51"/>
                    </a:cubicBezTo>
                    <a:cubicBezTo>
                      <a:pt x="112" y="44"/>
                      <a:pt x="116" y="44"/>
                      <a:pt x="116" y="40"/>
                    </a:cubicBezTo>
                    <a:cubicBezTo>
                      <a:pt x="116" y="36"/>
                      <a:pt x="121" y="35"/>
                      <a:pt x="127" y="34"/>
                    </a:cubicBezTo>
                    <a:cubicBezTo>
                      <a:pt x="132" y="34"/>
                      <a:pt x="134" y="30"/>
                      <a:pt x="139" y="28"/>
                    </a:cubicBezTo>
                    <a:cubicBezTo>
                      <a:pt x="143" y="26"/>
                      <a:pt x="145" y="23"/>
                      <a:pt x="144" y="18"/>
                    </a:cubicBezTo>
                    <a:close/>
                    <a:moveTo>
                      <a:pt x="145" y="55"/>
                    </a:moveTo>
                    <a:cubicBezTo>
                      <a:pt x="144" y="49"/>
                      <a:pt x="132" y="57"/>
                      <a:pt x="135" y="58"/>
                    </a:cubicBezTo>
                    <a:cubicBezTo>
                      <a:pt x="140" y="62"/>
                      <a:pt x="146" y="61"/>
                      <a:pt x="145" y="5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4" name="Freeform 132">
                <a:extLst>
                  <a:ext uri="{FF2B5EF4-FFF2-40B4-BE49-F238E27FC236}">
                    <a16:creationId xmlns:a16="http://schemas.microsoft.com/office/drawing/2014/main" id="{ADDE1B5E-F1C6-45AC-BC8C-034C5702D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5025" y="2849563"/>
                <a:ext cx="82550" cy="47625"/>
              </a:xfrm>
              <a:custGeom>
                <a:avLst/>
                <a:gdLst>
                  <a:gd name="T0" fmla="*/ 0 w 38"/>
                  <a:gd name="T1" fmla="*/ 19 h 22"/>
                  <a:gd name="T2" fmla="*/ 8 w 38"/>
                  <a:gd name="T3" fmla="*/ 18 h 22"/>
                  <a:gd name="T4" fmla="*/ 10 w 38"/>
                  <a:gd name="T5" fmla="*/ 21 h 22"/>
                  <a:gd name="T6" fmla="*/ 18 w 38"/>
                  <a:gd name="T7" fmla="*/ 20 h 22"/>
                  <a:gd name="T8" fmla="*/ 25 w 38"/>
                  <a:gd name="T9" fmla="*/ 20 h 22"/>
                  <a:gd name="T10" fmla="*/ 29 w 38"/>
                  <a:gd name="T11" fmla="*/ 15 h 22"/>
                  <a:gd name="T12" fmla="*/ 31 w 38"/>
                  <a:gd name="T13" fmla="*/ 10 h 22"/>
                  <a:gd name="T14" fmla="*/ 38 w 38"/>
                  <a:gd name="T15" fmla="*/ 5 h 22"/>
                  <a:gd name="T16" fmla="*/ 36 w 38"/>
                  <a:gd name="T17" fmla="*/ 1 h 22"/>
                  <a:gd name="T18" fmla="*/ 28 w 38"/>
                  <a:gd name="T19" fmla="*/ 3 h 22"/>
                  <a:gd name="T20" fmla="*/ 18 w 38"/>
                  <a:gd name="T21" fmla="*/ 7 h 22"/>
                  <a:gd name="T22" fmla="*/ 6 w 38"/>
                  <a:gd name="T23" fmla="*/ 4 h 22"/>
                  <a:gd name="T24" fmla="*/ 1 w 38"/>
                  <a:gd name="T25" fmla="*/ 4 h 22"/>
                  <a:gd name="T26" fmla="*/ 0 w 38"/>
                  <a:gd name="T27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22">
                    <a:moveTo>
                      <a:pt x="0" y="19"/>
                    </a:moveTo>
                    <a:cubicBezTo>
                      <a:pt x="3" y="18"/>
                      <a:pt x="6" y="17"/>
                      <a:pt x="8" y="18"/>
                    </a:cubicBezTo>
                    <a:cubicBezTo>
                      <a:pt x="9" y="19"/>
                      <a:pt x="9" y="20"/>
                      <a:pt x="10" y="21"/>
                    </a:cubicBezTo>
                    <a:cubicBezTo>
                      <a:pt x="12" y="21"/>
                      <a:pt x="16" y="20"/>
                      <a:pt x="18" y="20"/>
                    </a:cubicBezTo>
                    <a:cubicBezTo>
                      <a:pt x="20" y="19"/>
                      <a:pt x="24" y="22"/>
                      <a:pt x="25" y="20"/>
                    </a:cubicBezTo>
                    <a:cubicBezTo>
                      <a:pt x="25" y="19"/>
                      <a:pt x="27" y="15"/>
                      <a:pt x="29" y="15"/>
                    </a:cubicBezTo>
                    <a:cubicBezTo>
                      <a:pt x="31" y="15"/>
                      <a:pt x="29" y="10"/>
                      <a:pt x="31" y="10"/>
                    </a:cubicBezTo>
                    <a:cubicBezTo>
                      <a:pt x="33" y="9"/>
                      <a:pt x="38" y="5"/>
                      <a:pt x="38" y="5"/>
                    </a:cubicBezTo>
                    <a:cubicBezTo>
                      <a:pt x="38" y="5"/>
                      <a:pt x="36" y="1"/>
                      <a:pt x="36" y="1"/>
                    </a:cubicBezTo>
                    <a:cubicBezTo>
                      <a:pt x="35" y="0"/>
                      <a:pt x="32" y="3"/>
                      <a:pt x="28" y="3"/>
                    </a:cubicBezTo>
                    <a:cubicBezTo>
                      <a:pt x="23" y="3"/>
                      <a:pt x="20" y="7"/>
                      <a:pt x="18" y="7"/>
                    </a:cubicBezTo>
                    <a:cubicBezTo>
                      <a:pt x="16" y="7"/>
                      <a:pt x="10" y="5"/>
                      <a:pt x="6" y="4"/>
                    </a:cubicBezTo>
                    <a:cubicBezTo>
                      <a:pt x="4" y="4"/>
                      <a:pt x="3" y="4"/>
                      <a:pt x="1" y="4"/>
                    </a:cubicBezTo>
                    <a:cubicBezTo>
                      <a:pt x="1" y="8"/>
                      <a:pt x="0" y="14"/>
                      <a:pt x="0" y="1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5" name="Freeform 133">
                <a:extLst>
                  <a:ext uri="{FF2B5EF4-FFF2-40B4-BE49-F238E27FC236}">
                    <a16:creationId xmlns:a16="http://schemas.microsoft.com/office/drawing/2014/main" id="{1C945CC6-798A-4404-A41F-E5F9F396C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6475" y="3006725"/>
                <a:ext cx="157162" cy="196850"/>
              </a:xfrm>
              <a:custGeom>
                <a:avLst/>
                <a:gdLst>
                  <a:gd name="T0" fmla="*/ 71 w 72"/>
                  <a:gd name="T1" fmla="*/ 0 h 89"/>
                  <a:gd name="T2" fmla="*/ 66 w 72"/>
                  <a:gd name="T3" fmla="*/ 3 h 89"/>
                  <a:gd name="T4" fmla="*/ 61 w 72"/>
                  <a:gd name="T5" fmla="*/ 5 h 89"/>
                  <a:gd name="T6" fmla="*/ 49 w 72"/>
                  <a:gd name="T7" fmla="*/ 3 h 89"/>
                  <a:gd name="T8" fmla="*/ 34 w 72"/>
                  <a:gd name="T9" fmla="*/ 3 h 89"/>
                  <a:gd name="T10" fmla="*/ 34 w 72"/>
                  <a:gd name="T11" fmla="*/ 4 h 89"/>
                  <a:gd name="T12" fmla="*/ 23 w 72"/>
                  <a:gd name="T13" fmla="*/ 8 h 89"/>
                  <a:gd name="T14" fmla="*/ 18 w 72"/>
                  <a:gd name="T15" fmla="*/ 12 h 89"/>
                  <a:gd name="T16" fmla="*/ 10 w 72"/>
                  <a:gd name="T17" fmla="*/ 13 h 89"/>
                  <a:gd name="T18" fmla="*/ 6 w 72"/>
                  <a:gd name="T19" fmla="*/ 19 h 89"/>
                  <a:gd name="T20" fmla="*/ 4 w 72"/>
                  <a:gd name="T21" fmla="*/ 23 h 89"/>
                  <a:gd name="T22" fmla="*/ 0 w 72"/>
                  <a:gd name="T23" fmla="*/ 29 h 89"/>
                  <a:gd name="T24" fmla="*/ 1 w 72"/>
                  <a:gd name="T25" fmla="*/ 30 h 89"/>
                  <a:gd name="T26" fmla="*/ 7 w 72"/>
                  <a:gd name="T27" fmla="*/ 39 h 89"/>
                  <a:gd name="T28" fmla="*/ 15 w 72"/>
                  <a:gd name="T29" fmla="*/ 42 h 89"/>
                  <a:gd name="T30" fmla="*/ 25 w 72"/>
                  <a:gd name="T31" fmla="*/ 46 h 89"/>
                  <a:gd name="T32" fmla="*/ 13 w 72"/>
                  <a:gd name="T33" fmla="*/ 47 h 89"/>
                  <a:gd name="T34" fmla="*/ 15 w 72"/>
                  <a:gd name="T35" fmla="*/ 56 h 89"/>
                  <a:gd name="T36" fmla="*/ 21 w 72"/>
                  <a:gd name="T37" fmla="*/ 64 h 89"/>
                  <a:gd name="T38" fmla="*/ 32 w 72"/>
                  <a:gd name="T39" fmla="*/ 69 h 89"/>
                  <a:gd name="T40" fmla="*/ 30 w 72"/>
                  <a:gd name="T41" fmla="*/ 58 h 89"/>
                  <a:gd name="T42" fmla="*/ 38 w 72"/>
                  <a:gd name="T43" fmla="*/ 57 h 89"/>
                  <a:gd name="T44" fmla="*/ 32 w 72"/>
                  <a:gd name="T45" fmla="*/ 53 h 89"/>
                  <a:gd name="T46" fmla="*/ 36 w 72"/>
                  <a:gd name="T47" fmla="*/ 51 h 89"/>
                  <a:gd name="T48" fmla="*/ 45 w 72"/>
                  <a:gd name="T49" fmla="*/ 50 h 89"/>
                  <a:gd name="T50" fmla="*/ 41 w 72"/>
                  <a:gd name="T51" fmla="*/ 41 h 89"/>
                  <a:gd name="T52" fmla="*/ 32 w 72"/>
                  <a:gd name="T53" fmla="*/ 41 h 89"/>
                  <a:gd name="T54" fmla="*/ 35 w 72"/>
                  <a:gd name="T55" fmla="*/ 35 h 89"/>
                  <a:gd name="T56" fmla="*/ 26 w 72"/>
                  <a:gd name="T57" fmla="*/ 22 h 89"/>
                  <a:gd name="T58" fmla="*/ 32 w 72"/>
                  <a:gd name="T59" fmla="*/ 19 h 89"/>
                  <a:gd name="T60" fmla="*/ 41 w 72"/>
                  <a:gd name="T61" fmla="*/ 20 h 89"/>
                  <a:gd name="T62" fmla="*/ 43 w 72"/>
                  <a:gd name="T63" fmla="*/ 12 h 89"/>
                  <a:gd name="T64" fmla="*/ 50 w 72"/>
                  <a:gd name="T65" fmla="*/ 14 h 89"/>
                  <a:gd name="T66" fmla="*/ 58 w 72"/>
                  <a:gd name="T67" fmla="*/ 10 h 89"/>
                  <a:gd name="T68" fmla="*/ 66 w 72"/>
                  <a:gd name="T69" fmla="*/ 14 h 89"/>
                  <a:gd name="T70" fmla="*/ 69 w 72"/>
                  <a:gd name="T71" fmla="*/ 10 h 89"/>
                  <a:gd name="T72" fmla="*/ 72 w 72"/>
                  <a:gd name="T73" fmla="*/ 4 h 89"/>
                  <a:gd name="T74" fmla="*/ 71 w 72"/>
                  <a:gd name="T75" fmla="*/ 0 h 89"/>
                  <a:gd name="T76" fmla="*/ 62 w 72"/>
                  <a:gd name="T77" fmla="*/ 84 h 89"/>
                  <a:gd name="T78" fmla="*/ 44 w 72"/>
                  <a:gd name="T79" fmla="*/ 82 h 89"/>
                  <a:gd name="T80" fmla="*/ 37 w 72"/>
                  <a:gd name="T81" fmla="*/ 85 h 89"/>
                  <a:gd name="T82" fmla="*/ 53 w 72"/>
                  <a:gd name="T83" fmla="*/ 89 h 89"/>
                  <a:gd name="T84" fmla="*/ 69 w 72"/>
                  <a:gd name="T85" fmla="*/ 85 h 89"/>
                  <a:gd name="T86" fmla="*/ 62 w 72"/>
                  <a:gd name="T87" fmla="*/ 8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2" h="89">
                    <a:moveTo>
                      <a:pt x="71" y="0"/>
                    </a:moveTo>
                    <a:cubicBezTo>
                      <a:pt x="68" y="0"/>
                      <a:pt x="65" y="1"/>
                      <a:pt x="66" y="3"/>
                    </a:cubicBezTo>
                    <a:cubicBezTo>
                      <a:pt x="66" y="4"/>
                      <a:pt x="64" y="5"/>
                      <a:pt x="61" y="5"/>
                    </a:cubicBezTo>
                    <a:cubicBezTo>
                      <a:pt x="61" y="5"/>
                      <a:pt x="52" y="5"/>
                      <a:pt x="49" y="3"/>
                    </a:cubicBezTo>
                    <a:cubicBezTo>
                      <a:pt x="47" y="2"/>
                      <a:pt x="38" y="3"/>
                      <a:pt x="34" y="3"/>
                    </a:cubicBezTo>
                    <a:cubicBezTo>
                      <a:pt x="34" y="3"/>
                      <a:pt x="34" y="3"/>
                      <a:pt x="34" y="4"/>
                    </a:cubicBezTo>
                    <a:cubicBezTo>
                      <a:pt x="33" y="5"/>
                      <a:pt x="25" y="9"/>
                      <a:pt x="23" y="8"/>
                    </a:cubicBezTo>
                    <a:cubicBezTo>
                      <a:pt x="22" y="8"/>
                      <a:pt x="21" y="11"/>
                      <a:pt x="18" y="12"/>
                    </a:cubicBezTo>
                    <a:cubicBezTo>
                      <a:pt x="15" y="12"/>
                      <a:pt x="11" y="11"/>
                      <a:pt x="10" y="13"/>
                    </a:cubicBezTo>
                    <a:cubicBezTo>
                      <a:pt x="10" y="14"/>
                      <a:pt x="8" y="17"/>
                      <a:pt x="6" y="19"/>
                    </a:cubicBezTo>
                    <a:cubicBezTo>
                      <a:pt x="5" y="21"/>
                      <a:pt x="6" y="23"/>
                      <a:pt x="4" y="23"/>
                    </a:cubicBezTo>
                    <a:cubicBezTo>
                      <a:pt x="2" y="24"/>
                      <a:pt x="1" y="27"/>
                      <a:pt x="0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5" y="31"/>
                      <a:pt x="7" y="35"/>
                      <a:pt x="7" y="39"/>
                    </a:cubicBezTo>
                    <a:cubicBezTo>
                      <a:pt x="6" y="44"/>
                      <a:pt x="12" y="45"/>
                      <a:pt x="15" y="42"/>
                    </a:cubicBezTo>
                    <a:cubicBezTo>
                      <a:pt x="18" y="39"/>
                      <a:pt x="25" y="44"/>
                      <a:pt x="25" y="46"/>
                    </a:cubicBezTo>
                    <a:cubicBezTo>
                      <a:pt x="25" y="48"/>
                      <a:pt x="17" y="44"/>
                      <a:pt x="13" y="47"/>
                    </a:cubicBezTo>
                    <a:cubicBezTo>
                      <a:pt x="9" y="50"/>
                      <a:pt x="16" y="53"/>
                      <a:pt x="15" y="56"/>
                    </a:cubicBezTo>
                    <a:cubicBezTo>
                      <a:pt x="14" y="60"/>
                      <a:pt x="17" y="64"/>
                      <a:pt x="21" y="64"/>
                    </a:cubicBezTo>
                    <a:cubicBezTo>
                      <a:pt x="25" y="64"/>
                      <a:pt x="29" y="70"/>
                      <a:pt x="32" y="69"/>
                    </a:cubicBezTo>
                    <a:cubicBezTo>
                      <a:pt x="34" y="68"/>
                      <a:pt x="29" y="59"/>
                      <a:pt x="30" y="58"/>
                    </a:cubicBezTo>
                    <a:cubicBezTo>
                      <a:pt x="31" y="56"/>
                      <a:pt x="35" y="60"/>
                      <a:pt x="38" y="57"/>
                    </a:cubicBezTo>
                    <a:cubicBezTo>
                      <a:pt x="40" y="55"/>
                      <a:pt x="36" y="53"/>
                      <a:pt x="32" y="53"/>
                    </a:cubicBezTo>
                    <a:cubicBezTo>
                      <a:pt x="29" y="53"/>
                      <a:pt x="32" y="48"/>
                      <a:pt x="36" y="51"/>
                    </a:cubicBezTo>
                    <a:cubicBezTo>
                      <a:pt x="41" y="53"/>
                      <a:pt x="43" y="50"/>
                      <a:pt x="45" y="50"/>
                    </a:cubicBezTo>
                    <a:cubicBezTo>
                      <a:pt x="47" y="49"/>
                      <a:pt x="47" y="42"/>
                      <a:pt x="41" y="41"/>
                    </a:cubicBezTo>
                    <a:cubicBezTo>
                      <a:pt x="35" y="39"/>
                      <a:pt x="36" y="45"/>
                      <a:pt x="32" y="41"/>
                    </a:cubicBezTo>
                    <a:cubicBezTo>
                      <a:pt x="28" y="37"/>
                      <a:pt x="35" y="38"/>
                      <a:pt x="35" y="35"/>
                    </a:cubicBezTo>
                    <a:cubicBezTo>
                      <a:pt x="35" y="31"/>
                      <a:pt x="29" y="26"/>
                      <a:pt x="26" y="22"/>
                    </a:cubicBezTo>
                    <a:cubicBezTo>
                      <a:pt x="23" y="18"/>
                      <a:pt x="30" y="16"/>
                      <a:pt x="32" y="19"/>
                    </a:cubicBezTo>
                    <a:cubicBezTo>
                      <a:pt x="34" y="22"/>
                      <a:pt x="38" y="22"/>
                      <a:pt x="41" y="20"/>
                    </a:cubicBezTo>
                    <a:cubicBezTo>
                      <a:pt x="44" y="19"/>
                      <a:pt x="38" y="14"/>
                      <a:pt x="43" y="12"/>
                    </a:cubicBezTo>
                    <a:cubicBezTo>
                      <a:pt x="48" y="10"/>
                      <a:pt x="48" y="13"/>
                      <a:pt x="50" y="14"/>
                    </a:cubicBezTo>
                    <a:cubicBezTo>
                      <a:pt x="52" y="15"/>
                      <a:pt x="53" y="10"/>
                      <a:pt x="58" y="10"/>
                    </a:cubicBezTo>
                    <a:cubicBezTo>
                      <a:pt x="61" y="10"/>
                      <a:pt x="64" y="12"/>
                      <a:pt x="66" y="14"/>
                    </a:cubicBezTo>
                    <a:cubicBezTo>
                      <a:pt x="67" y="12"/>
                      <a:pt x="69" y="11"/>
                      <a:pt x="69" y="10"/>
                    </a:cubicBezTo>
                    <a:cubicBezTo>
                      <a:pt x="69" y="8"/>
                      <a:pt x="72" y="7"/>
                      <a:pt x="72" y="4"/>
                    </a:cubicBezTo>
                    <a:cubicBezTo>
                      <a:pt x="72" y="3"/>
                      <a:pt x="71" y="1"/>
                      <a:pt x="71" y="0"/>
                    </a:cubicBezTo>
                    <a:close/>
                    <a:moveTo>
                      <a:pt x="62" y="84"/>
                    </a:moveTo>
                    <a:cubicBezTo>
                      <a:pt x="59" y="83"/>
                      <a:pt x="47" y="85"/>
                      <a:pt x="44" y="82"/>
                    </a:cubicBezTo>
                    <a:cubicBezTo>
                      <a:pt x="41" y="79"/>
                      <a:pt x="34" y="84"/>
                      <a:pt x="37" y="85"/>
                    </a:cubicBezTo>
                    <a:cubicBezTo>
                      <a:pt x="41" y="86"/>
                      <a:pt x="47" y="89"/>
                      <a:pt x="53" y="89"/>
                    </a:cubicBezTo>
                    <a:cubicBezTo>
                      <a:pt x="60" y="89"/>
                      <a:pt x="69" y="86"/>
                      <a:pt x="69" y="85"/>
                    </a:cubicBezTo>
                    <a:cubicBezTo>
                      <a:pt x="68" y="83"/>
                      <a:pt x="64" y="86"/>
                      <a:pt x="62" y="8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6" name="Freeform 134">
                <a:extLst>
                  <a:ext uri="{FF2B5EF4-FFF2-40B4-BE49-F238E27FC236}">
                    <a16:creationId xmlns:a16="http://schemas.microsoft.com/office/drawing/2014/main" id="{1718F737-8E09-4EAD-BBFB-4423B6DFE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575" y="3176588"/>
                <a:ext cx="65087" cy="41275"/>
              </a:xfrm>
              <a:custGeom>
                <a:avLst/>
                <a:gdLst>
                  <a:gd name="T0" fmla="*/ 20 w 30"/>
                  <a:gd name="T1" fmla="*/ 12 h 19"/>
                  <a:gd name="T2" fmla="*/ 26 w 30"/>
                  <a:gd name="T3" fmla="*/ 5 h 19"/>
                  <a:gd name="T4" fmla="*/ 26 w 30"/>
                  <a:gd name="T5" fmla="*/ 2 h 19"/>
                  <a:gd name="T6" fmla="*/ 10 w 30"/>
                  <a:gd name="T7" fmla="*/ 7 h 19"/>
                  <a:gd name="T8" fmla="*/ 5 w 30"/>
                  <a:gd name="T9" fmla="*/ 15 h 19"/>
                  <a:gd name="T10" fmla="*/ 20 w 30"/>
                  <a:gd name="T11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19">
                    <a:moveTo>
                      <a:pt x="20" y="12"/>
                    </a:moveTo>
                    <a:cubicBezTo>
                      <a:pt x="20" y="10"/>
                      <a:pt x="22" y="6"/>
                      <a:pt x="26" y="5"/>
                    </a:cubicBezTo>
                    <a:cubicBezTo>
                      <a:pt x="30" y="3"/>
                      <a:pt x="28" y="0"/>
                      <a:pt x="26" y="2"/>
                    </a:cubicBezTo>
                    <a:cubicBezTo>
                      <a:pt x="23" y="5"/>
                      <a:pt x="17" y="7"/>
                      <a:pt x="10" y="7"/>
                    </a:cubicBezTo>
                    <a:cubicBezTo>
                      <a:pt x="2" y="8"/>
                      <a:pt x="0" y="13"/>
                      <a:pt x="5" y="15"/>
                    </a:cubicBezTo>
                    <a:cubicBezTo>
                      <a:pt x="11" y="19"/>
                      <a:pt x="20" y="14"/>
                      <a:pt x="20" y="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7" name="Freeform 135">
                <a:extLst>
                  <a:ext uri="{FF2B5EF4-FFF2-40B4-BE49-F238E27FC236}">
                    <a16:creationId xmlns:a16="http://schemas.microsoft.com/office/drawing/2014/main" id="{F5868854-435E-452B-B769-E450D3AD5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2144713"/>
                <a:ext cx="265112" cy="133350"/>
              </a:xfrm>
              <a:custGeom>
                <a:avLst/>
                <a:gdLst>
                  <a:gd name="T0" fmla="*/ 102 w 121"/>
                  <a:gd name="T1" fmla="*/ 43 h 61"/>
                  <a:gd name="T2" fmla="*/ 111 w 121"/>
                  <a:gd name="T3" fmla="*/ 36 h 61"/>
                  <a:gd name="T4" fmla="*/ 119 w 121"/>
                  <a:gd name="T5" fmla="*/ 27 h 61"/>
                  <a:gd name="T6" fmla="*/ 113 w 121"/>
                  <a:gd name="T7" fmla="*/ 18 h 61"/>
                  <a:gd name="T8" fmla="*/ 107 w 121"/>
                  <a:gd name="T9" fmla="*/ 13 h 61"/>
                  <a:gd name="T10" fmla="*/ 105 w 121"/>
                  <a:gd name="T11" fmla="*/ 6 h 61"/>
                  <a:gd name="T12" fmla="*/ 98 w 121"/>
                  <a:gd name="T13" fmla="*/ 6 h 61"/>
                  <a:gd name="T14" fmla="*/ 87 w 121"/>
                  <a:gd name="T15" fmla="*/ 1 h 61"/>
                  <a:gd name="T16" fmla="*/ 85 w 121"/>
                  <a:gd name="T17" fmla="*/ 8 h 61"/>
                  <a:gd name="T18" fmla="*/ 79 w 121"/>
                  <a:gd name="T19" fmla="*/ 8 h 61"/>
                  <a:gd name="T20" fmla="*/ 74 w 121"/>
                  <a:gd name="T21" fmla="*/ 8 h 61"/>
                  <a:gd name="T22" fmla="*/ 68 w 121"/>
                  <a:gd name="T23" fmla="*/ 9 h 61"/>
                  <a:gd name="T24" fmla="*/ 62 w 121"/>
                  <a:gd name="T25" fmla="*/ 7 h 61"/>
                  <a:gd name="T26" fmla="*/ 54 w 121"/>
                  <a:gd name="T27" fmla="*/ 13 h 61"/>
                  <a:gd name="T28" fmla="*/ 50 w 121"/>
                  <a:gd name="T29" fmla="*/ 10 h 61"/>
                  <a:gd name="T30" fmla="*/ 45 w 121"/>
                  <a:gd name="T31" fmla="*/ 14 h 61"/>
                  <a:gd name="T32" fmla="*/ 43 w 121"/>
                  <a:gd name="T33" fmla="*/ 19 h 61"/>
                  <a:gd name="T34" fmla="*/ 36 w 121"/>
                  <a:gd name="T35" fmla="*/ 22 h 61"/>
                  <a:gd name="T36" fmla="*/ 33 w 121"/>
                  <a:gd name="T37" fmla="*/ 13 h 61"/>
                  <a:gd name="T38" fmla="*/ 16 w 121"/>
                  <a:gd name="T39" fmla="*/ 2 h 61"/>
                  <a:gd name="T40" fmla="*/ 17 w 121"/>
                  <a:gd name="T41" fmla="*/ 8 h 61"/>
                  <a:gd name="T42" fmla="*/ 13 w 121"/>
                  <a:gd name="T43" fmla="*/ 8 h 61"/>
                  <a:gd name="T44" fmla="*/ 6 w 121"/>
                  <a:gd name="T45" fmla="*/ 11 h 61"/>
                  <a:gd name="T46" fmla="*/ 0 w 121"/>
                  <a:gd name="T47" fmla="*/ 18 h 61"/>
                  <a:gd name="T48" fmla="*/ 11 w 121"/>
                  <a:gd name="T49" fmla="*/ 21 h 61"/>
                  <a:gd name="T50" fmla="*/ 25 w 121"/>
                  <a:gd name="T51" fmla="*/ 21 h 61"/>
                  <a:gd name="T52" fmla="*/ 23 w 121"/>
                  <a:gd name="T53" fmla="*/ 26 h 61"/>
                  <a:gd name="T54" fmla="*/ 17 w 121"/>
                  <a:gd name="T55" fmla="*/ 30 h 61"/>
                  <a:gd name="T56" fmla="*/ 4 w 121"/>
                  <a:gd name="T57" fmla="*/ 33 h 61"/>
                  <a:gd name="T58" fmla="*/ 20 w 121"/>
                  <a:gd name="T59" fmla="*/ 33 h 61"/>
                  <a:gd name="T60" fmla="*/ 24 w 121"/>
                  <a:gd name="T61" fmla="*/ 38 h 61"/>
                  <a:gd name="T62" fmla="*/ 28 w 121"/>
                  <a:gd name="T63" fmla="*/ 41 h 61"/>
                  <a:gd name="T64" fmla="*/ 24 w 121"/>
                  <a:gd name="T65" fmla="*/ 47 h 61"/>
                  <a:gd name="T66" fmla="*/ 18 w 121"/>
                  <a:gd name="T67" fmla="*/ 50 h 61"/>
                  <a:gd name="T68" fmla="*/ 32 w 121"/>
                  <a:gd name="T69" fmla="*/ 50 h 61"/>
                  <a:gd name="T70" fmla="*/ 53 w 121"/>
                  <a:gd name="T71" fmla="*/ 58 h 61"/>
                  <a:gd name="T72" fmla="*/ 72 w 121"/>
                  <a:gd name="T73" fmla="*/ 53 h 61"/>
                  <a:gd name="T74" fmla="*/ 86 w 121"/>
                  <a:gd name="T75" fmla="*/ 49 h 61"/>
                  <a:gd name="T76" fmla="*/ 102 w 121"/>
                  <a:gd name="T77" fmla="*/ 43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1" h="61">
                    <a:moveTo>
                      <a:pt x="102" y="43"/>
                    </a:moveTo>
                    <a:cubicBezTo>
                      <a:pt x="108" y="43"/>
                      <a:pt x="108" y="35"/>
                      <a:pt x="111" y="36"/>
                    </a:cubicBezTo>
                    <a:cubicBezTo>
                      <a:pt x="113" y="36"/>
                      <a:pt x="118" y="31"/>
                      <a:pt x="119" y="27"/>
                    </a:cubicBezTo>
                    <a:cubicBezTo>
                      <a:pt x="121" y="24"/>
                      <a:pt x="117" y="18"/>
                      <a:pt x="113" y="18"/>
                    </a:cubicBezTo>
                    <a:cubicBezTo>
                      <a:pt x="109" y="18"/>
                      <a:pt x="106" y="15"/>
                      <a:pt x="107" y="13"/>
                    </a:cubicBezTo>
                    <a:cubicBezTo>
                      <a:pt x="108" y="10"/>
                      <a:pt x="105" y="7"/>
                      <a:pt x="105" y="6"/>
                    </a:cubicBezTo>
                    <a:cubicBezTo>
                      <a:pt x="105" y="4"/>
                      <a:pt x="100" y="5"/>
                      <a:pt x="98" y="6"/>
                    </a:cubicBezTo>
                    <a:cubicBezTo>
                      <a:pt x="95" y="7"/>
                      <a:pt x="89" y="0"/>
                      <a:pt x="87" y="1"/>
                    </a:cubicBezTo>
                    <a:cubicBezTo>
                      <a:pt x="84" y="2"/>
                      <a:pt x="86" y="6"/>
                      <a:pt x="85" y="8"/>
                    </a:cubicBezTo>
                    <a:cubicBezTo>
                      <a:pt x="85" y="10"/>
                      <a:pt x="79" y="6"/>
                      <a:pt x="79" y="8"/>
                    </a:cubicBezTo>
                    <a:cubicBezTo>
                      <a:pt x="79" y="11"/>
                      <a:pt x="76" y="11"/>
                      <a:pt x="74" y="8"/>
                    </a:cubicBezTo>
                    <a:cubicBezTo>
                      <a:pt x="72" y="6"/>
                      <a:pt x="68" y="7"/>
                      <a:pt x="68" y="9"/>
                    </a:cubicBezTo>
                    <a:cubicBezTo>
                      <a:pt x="68" y="11"/>
                      <a:pt x="66" y="10"/>
                      <a:pt x="62" y="7"/>
                    </a:cubicBezTo>
                    <a:cubicBezTo>
                      <a:pt x="58" y="5"/>
                      <a:pt x="54" y="10"/>
                      <a:pt x="54" y="13"/>
                    </a:cubicBezTo>
                    <a:cubicBezTo>
                      <a:pt x="55" y="15"/>
                      <a:pt x="53" y="16"/>
                      <a:pt x="50" y="10"/>
                    </a:cubicBezTo>
                    <a:cubicBezTo>
                      <a:pt x="47" y="5"/>
                      <a:pt x="43" y="11"/>
                      <a:pt x="45" y="14"/>
                    </a:cubicBezTo>
                    <a:cubicBezTo>
                      <a:pt x="46" y="17"/>
                      <a:pt x="46" y="20"/>
                      <a:pt x="43" y="19"/>
                    </a:cubicBezTo>
                    <a:cubicBezTo>
                      <a:pt x="41" y="17"/>
                      <a:pt x="37" y="20"/>
                      <a:pt x="36" y="22"/>
                    </a:cubicBezTo>
                    <a:cubicBezTo>
                      <a:pt x="34" y="25"/>
                      <a:pt x="29" y="15"/>
                      <a:pt x="33" y="13"/>
                    </a:cubicBezTo>
                    <a:cubicBezTo>
                      <a:pt x="37" y="11"/>
                      <a:pt x="21" y="2"/>
                      <a:pt x="16" y="2"/>
                    </a:cubicBezTo>
                    <a:cubicBezTo>
                      <a:pt x="11" y="2"/>
                      <a:pt x="14" y="6"/>
                      <a:pt x="17" y="8"/>
                    </a:cubicBezTo>
                    <a:cubicBezTo>
                      <a:pt x="21" y="11"/>
                      <a:pt x="15" y="10"/>
                      <a:pt x="13" y="8"/>
                    </a:cubicBezTo>
                    <a:cubicBezTo>
                      <a:pt x="11" y="6"/>
                      <a:pt x="8" y="7"/>
                      <a:pt x="6" y="11"/>
                    </a:cubicBezTo>
                    <a:cubicBezTo>
                      <a:pt x="4" y="14"/>
                      <a:pt x="1" y="16"/>
                      <a:pt x="0" y="18"/>
                    </a:cubicBezTo>
                    <a:cubicBezTo>
                      <a:pt x="0" y="21"/>
                      <a:pt x="6" y="23"/>
                      <a:pt x="11" y="21"/>
                    </a:cubicBezTo>
                    <a:cubicBezTo>
                      <a:pt x="16" y="19"/>
                      <a:pt x="22" y="18"/>
                      <a:pt x="25" y="21"/>
                    </a:cubicBezTo>
                    <a:cubicBezTo>
                      <a:pt x="27" y="23"/>
                      <a:pt x="20" y="24"/>
                      <a:pt x="23" y="26"/>
                    </a:cubicBezTo>
                    <a:cubicBezTo>
                      <a:pt x="25" y="28"/>
                      <a:pt x="23" y="30"/>
                      <a:pt x="17" y="30"/>
                    </a:cubicBezTo>
                    <a:cubicBezTo>
                      <a:pt x="10" y="29"/>
                      <a:pt x="3" y="31"/>
                      <a:pt x="4" y="33"/>
                    </a:cubicBezTo>
                    <a:cubicBezTo>
                      <a:pt x="5" y="35"/>
                      <a:pt x="20" y="31"/>
                      <a:pt x="20" y="33"/>
                    </a:cubicBezTo>
                    <a:cubicBezTo>
                      <a:pt x="20" y="36"/>
                      <a:pt x="20" y="39"/>
                      <a:pt x="24" y="38"/>
                    </a:cubicBezTo>
                    <a:cubicBezTo>
                      <a:pt x="28" y="36"/>
                      <a:pt x="26" y="41"/>
                      <a:pt x="28" y="41"/>
                    </a:cubicBezTo>
                    <a:cubicBezTo>
                      <a:pt x="30" y="42"/>
                      <a:pt x="29" y="46"/>
                      <a:pt x="24" y="47"/>
                    </a:cubicBezTo>
                    <a:cubicBezTo>
                      <a:pt x="18" y="47"/>
                      <a:pt x="16" y="48"/>
                      <a:pt x="18" y="50"/>
                    </a:cubicBezTo>
                    <a:cubicBezTo>
                      <a:pt x="21" y="53"/>
                      <a:pt x="27" y="51"/>
                      <a:pt x="32" y="50"/>
                    </a:cubicBezTo>
                    <a:cubicBezTo>
                      <a:pt x="38" y="48"/>
                      <a:pt x="46" y="55"/>
                      <a:pt x="53" y="58"/>
                    </a:cubicBezTo>
                    <a:cubicBezTo>
                      <a:pt x="60" y="61"/>
                      <a:pt x="71" y="57"/>
                      <a:pt x="72" y="53"/>
                    </a:cubicBezTo>
                    <a:cubicBezTo>
                      <a:pt x="74" y="50"/>
                      <a:pt x="83" y="51"/>
                      <a:pt x="86" y="49"/>
                    </a:cubicBezTo>
                    <a:cubicBezTo>
                      <a:pt x="90" y="46"/>
                      <a:pt x="95" y="43"/>
                      <a:pt x="102" y="4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8" name="Freeform 136">
                <a:extLst>
                  <a:ext uri="{FF2B5EF4-FFF2-40B4-BE49-F238E27FC236}">
                    <a16:creationId xmlns:a16="http://schemas.microsoft.com/office/drawing/2014/main" id="{2E5034C2-657B-4265-B2C5-3B71B06DB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5588" y="2576513"/>
                <a:ext cx="111125" cy="125413"/>
              </a:xfrm>
              <a:custGeom>
                <a:avLst/>
                <a:gdLst>
                  <a:gd name="T0" fmla="*/ 46 w 51"/>
                  <a:gd name="T1" fmla="*/ 18 h 57"/>
                  <a:gd name="T2" fmla="*/ 42 w 51"/>
                  <a:gd name="T3" fmla="*/ 14 h 57"/>
                  <a:gd name="T4" fmla="*/ 36 w 51"/>
                  <a:gd name="T5" fmla="*/ 16 h 57"/>
                  <a:gd name="T6" fmla="*/ 28 w 51"/>
                  <a:gd name="T7" fmla="*/ 15 h 57"/>
                  <a:gd name="T8" fmla="*/ 31 w 51"/>
                  <a:gd name="T9" fmla="*/ 8 h 57"/>
                  <a:gd name="T10" fmla="*/ 34 w 51"/>
                  <a:gd name="T11" fmla="*/ 2 h 57"/>
                  <a:gd name="T12" fmla="*/ 33 w 51"/>
                  <a:gd name="T13" fmla="*/ 2 h 57"/>
                  <a:gd name="T14" fmla="*/ 21 w 51"/>
                  <a:gd name="T15" fmla="*/ 4 h 57"/>
                  <a:gd name="T16" fmla="*/ 27 w 51"/>
                  <a:gd name="T17" fmla="*/ 9 h 57"/>
                  <a:gd name="T18" fmla="*/ 18 w 51"/>
                  <a:gd name="T19" fmla="*/ 14 h 57"/>
                  <a:gd name="T20" fmla="*/ 6 w 51"/>
                  <a:gd name="T21" fmla="*/ 14 h 57"/>
                  <a:gd name="T22" fmla="*/ 7 w 51"/>
                  <a:gd name="T23" fmla="*/ 23 h 57"/>
                  <a:gd name="T24" fmla="*/ 12 w 51"/>
                  <a:gd name="T25" fmla="*/ 31 h 57"/>
                  <a:gd name="T26" fmla="*/ 9 w 51"/>
                  <a:gd name="T27" fmla="*/ 40 h 57"/>
                  <a:gd name="T28" fmla="*/ 2 w 51"/>
                  <a:gd name="T29" fmla="*/ 48 h 57"/>
                  <a:gd name="T30" fmla="*/ 13 w 51"/>
                  <a:gd name="T31" fmla="*/ 57 h 57"/>
                  <a:gd name="T32" fmla="*/ 32 w 51"/>
                  <a:gd name="T33" fmla="*/ 49 h 57"/>
                  <a:gd name="T34" fmla="*/ 46 w 51"/>
                  <a:gd name="T35" fmla="*/ 46 h 57"/>
                  <a:gd name="T36" fmla="*/ 46 w 51"/>
                  <a:gd name="T37" fmla="*/ 20 h 57"/>
                  <a:gd name="T38" fmla="*/ 46 w 51"/>
                  <a:gd name="T39" fmla="*/ 1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57">
                    <a:moveTo>
                      <a:pt x="46" y="18"/>
                    </a:moveTo>
                    <a:cubicBezTo>
                      <a:pt x="44" y="17"/>
                      <a:pt x="43" y="16"/>
                      <a:pt x="42" y="14"/>
                    </a:cubicBezTo>
                    <a:cubicBezTo>
                      <a:pt x="38" y="9"/>
                      <a:pt x="36" y="13"/>
                      <a:pt x="36" y="16"/>
                    </a:cubicBezTo>
                    <a:cubicBezTo>
                      <a:pt x="35" y="19"/>
                      <a:pt x="31" y="15"/>
                      <a:pt x="28" y="15"/>
                    </a:cubicBezTo>
                    <a:cubicBezTo>
                      <a:pt x="26" y="14"/>
                      <a:pt x="29" y="10"/>
                      <a:pt x="31" y="8"/>
                    </a:cubicBezTo>
                    <a:cubicBezTo>
                      <a:pt x="32" y="8"/>
                      <a:pt x="33" y="5"/>
                      <a:pt x="34" y="2"/>
                    </a:cubicBezTo>
                    <a:cubicBezTo>
                      <a:pt x="34" y="2"/>
                      <a:pt x="33" y="2"/>
                      <a:pt x="33" y="2"/>
                    </a:cubicBezTo>
                    <a:cubicBezTo>
                      <a:pt x="28" y="0"/>
                      <a:pt x="22" y="0"/>
                      <a:pt x="21" y="4"/>
                    </a:cubicBezTo>
                    <a:cubicBezTo>
                      <a:pt x="21" y="8"/>
                      <a:pt x="27" y="7"/>
                      <a:pt x="27" y="9"/>
                    </a:cubicBezTo>
                    <a:cubicBezTo>
                      <a:pt x="27" y="12"/>
                      <a:pt x="21" y="11"/>
                      <a:pt x="18" y="14"/>
                    </a:cubicBezTo>
                    <a:cubicBezTo>
                      <a:pt x="14" y="17"/>
                      <a:pt x="10" y="12"/>
                      <a:pt x="6" y="14"/>
                    </a:cubicBezTo>
                    <a:cubicBezTo>
                      <a:pt x="2" y="16"/>
                      <a:pt x="10" y="19"/>
                      <a:pt x="7" y="23"/>
                    </a:cubicBezTo>
                    <a:cubicBezTo>
                      <a:pt x="4" y="27"/>
                      <a:pt x="7" y="27"/>
                      <a:pt x="12" y="31"/>
                    </a:cubicBezTo>
                    <a:cubicBezTo>
                      <a:pt x="17" y="35"/>
                      <a:pt x="9" y="36"/>
                      <a:pt x="9" y="40"/>
                    </a:cubicBezTo>
                    <a:cubicBezTo>
                      <a:pt x="9" y="45"/>
                      <a:pt x="3" y="45"/>
                      <a:pt x="2" y="48"/>
                    </a:cubicBezTo>
                    <a:cubicBezTo>
                      <a:pt x="0" y="51"/>
                      <a:pt x="7" y="57"/>
                      <a:pt x="13" y="57"/>
                    </a:cubicBezTo>
                    <a:cubicBezTo>
                      <a:pt x="17" y="57"/>
                      <a:pt x="27" y="54"/>
                      <a:pt x="32" y="49"/>
                    </a:cubicBezTo>
                    <a:cubicBezTo>
                      <a:pt x="38" y="43"/>
                      <a:pt x="41" y="48"/>
                      <a:pt x="46" y="46"/>
                    </a:cubicBezTo>
                    <a:cubicBezTo>
                      <a:pt x="51" y="43"/>
                      <a:pt x="48" y="24"/>
                      <a:pt x="46" y="20"/>
                    </a:cubicBezTo>
                    <a:cubicBezTo>
                      <a:pt x="46" y="19"/>
                      <a:pt x="46" y="18"/>
                      <a:pt x="46" y="1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59" name="Freeform 137">
                <a:extLst>
                  <a:ext uri="{FF2B5EF4-FFF2-40B4-BE49-F238E27FC236}">
                    <a16:creationId xmlns:a16="http://schemas.microsoft.com/office/drawing/2014/main" id="{CC3EA812-A84C-4E2C-B14C-4469F4D663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22738" y="2374900"/>
                <a:ext cx="249237" cy="379413"/>
              </a:xfrm>
              <a:custGeom>
                <a:avLst/>
                <a:gdLst>
                  <a:gd name="T0" fmla="*/ 8 w 114"/>
                  <a:gd name="T1" fmla="*/ 94 h 173"/>
                  <a:gd name="T2" fmla="*/ 2 w 114"/>
                  <a:gd name="T3" fmla="*/ 107 h 173"/>
                  <a:gd name="T4" fmla="*/ 16 w 114"/>
                  <a:gd name="T5" fmla="*/ 106 h 173"/>
                  <a:gd name="T6" fmla="*/ 29 w 114"/>
                  <a:gd name="T7" fmla="*/ 104 h 173"/>
                  <a:gd name="T8" fmla="*/ 113 w 114"/>
                  <a:gd name="T9" fmla="*/ 133 h 173"/>
                  <a:gd name="T10" fmla="*/ 96 w 114"/>
                  <a:gd name="T11" fmla="*/ 127 h 173"/>
                  <a:gd name="T12" fmla="*/ 92 w 114"/>
                  <a:gd name="T13" fmla="*/ 114 h 173"/>
                  <a:gd name="T14" fmla="*/ 76 w 114"/>
                  <a:gd name="T15" fmla="*/ 87 h 173"/>
                  <a:gd name="T16" fmla="*/ 59 w 114"/>
                  <a:gd name="T17" fmla="*/ 80 h 173"/>
                  <a:gd name="T18" fmla="*/ 71 w 114"/>
                  <a:gd name="T19" fmla="*/ 53 h 173"/>
                  <a:gd name="T20" fmla="*/ 47 w 114"/>
                  <a:gd name="T21" fmla="*/ 48 h 173"/>
                  <a:gd name="T22" fmla="*/ 57 w 114"/>
                  <a:gd name="T23" fmla="*/ 32 h 173"/>
                  <a:gd name="T24" fmla="*/ 40 w 114"/>
                  <a:gd name="T25" fmla="*/ 37 h 173"/>
                  <a:gd name="T26" fmla="*/ 28 w 114"/>
                  <a:gd name="T27" fmla="*/ 54 h 173"/>
                  <a:gd name="T28" fmla="*/ 18 w 114"/>
                  <a:gd name="T29" fmla="*/ 54 h 173"/>
                  <a:gd name="T30" fmla="*/ 22 w 114"/>
                  <a:gd name="T31" fmla="*/ 69 h 173"/>
                  <a:gd name="T32" fmla="*/ 19 w 114"/>
                  <a:gd name="T33" fmla="*/ 82 h 173"/>
                  <a:gd name="T34" fmla="*/ 31 w 114"/>
                  <a:gd name="T35" fmla="*/ 86 h 173"/>
                  <a:gd name="T36" fmla="*/ 39 w 114"/>
                  <a:gd name="T37" fmla="*/ 85 h 173"/>
                  <a:gd name="T38" fmla="*/ 51 w 114"/>
                  <a:gd name="T39" fmla="*/ 95 h 173"/>
                  <a:gd name="T40" fmla="*/ 56 w 114"/>
                  <a:gd name="T41" fmla="*/ 106 h 173"/>
                  <a:gd name="T42" fmla="*/ 58 w 114"/>
                  <a:gd name="T43" fmla="*/ 120 h 173"/>
                  <a:gd name="T44" fmla="*/ 43 w 114"/>
                  <a:gd name="T45" fmla="*/ 122 h 173"/>
                  <a:gd name="T46" fmla="*/ 46 w 114"/>
                  <a:gd name="T47" fmla="*/ 134 h 173"/>
                  <a:gd name="T48" fmla="*/ 39 w 114"/>
                  <a:gd name="T49" fmla="*/ 146 h 173"/>
                  <a:gd name="T50" fmla="*/ 58 w 114"/>
                  <a:gd name="T51" fmla="*/ 149 h 173"/>
                  <a:gd name="T52" fmla="*/ 46 w 114"/>
                  <a:gd name="T53" fmla="*/ 154 h 173"/>
                  <a:gd name="T54" fmla="*/ 40 w 114"/>
                  <a:gd name="T55" fmla="*/ 167 h 173"/>
                  <a:gd name="T56" fmla="*/ 54 w 114"/>
                  <a:gd name="T57" fmla="*/ 163 h 173"/>
                  <a:gd name="T58" fmla="*/ 71 w 114"/>
                  <a:gd name="T59" fmla="*/ 160 h 173"/>
                  <a:gd name="T60" fmla="*/ 92 w 114"/>
                  <a:gd name="T61" fmla="*/ 159 h 173"/>
                  <a:gd name="T62" fmla="*/ 103 w 114"/>
                  <a:gd name="T63" fmla="*/ 151 h 173"/>
                  <a:gd name="T64" fmla="*/ 113 w 114"/>
                  <a:gd name="T65" fmla="*/ 133 h 173"/>
                  <a:gd name="T66" fmla="*/ 21 w 114"/>
                  <a:gd name="T67" fmla="*/ 39 h 173"/>
                  <a:gd name="T68" fmla="*/ 78 w 114"/>
                  <a:gd name="T69" fmla="*/ 13 h 173"/>
                  <a:gd name="T70" fmla="*/ 78 w 114"/>
                  <a:gd name="T71" fmla="*/ 1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4" h="173">
                    <a:moveTo>
                      <a:pt x="22" y="92"/>
                    </a:moveTo>
                    <a:cubicBezTo>
                      <a:pt x="18" y="88"/>
                      <a:pt x="13" y="94"/>
                      <a:pt x="8" y="94"/>
                    </a:cubicBezTo>
                    <a:cubicBezTo>
                      <a:pt x="7" y="97"/>
                      <a:pt x="6" y="100"/>
                      <a:pt x="5" y="100"/>
                    </a:cubicBezTo>
                    <a:cubicBezTo>
                      <a:pt x="3" y="102"/>
                      <a:pt x="0" y="106"/>
                      <a:pt x="2" y="107"/>
                    </a:cubicBezTo>
                    <a:cubicBezTo>
                      <a:pt x="5" y="107"/>
                      <a:pt x="9" y="111"/>
                      <a:pt x="10" y="108"/>
                    </a:cubicBezTo>
                    <a:cubicBezTo>
                      <a:pt x="10" y="105"/>
                      <a:pt x="12" y="101"/>
                      <a:pt x="16" y="106"/>
                    </a:cubicBezTo>
                    <a:cubicBezTo>
                      <a:pt x="17" y="108"/>
                      <a:pt x="18" y="109"/>
                      <a:pt x="20" y="110"/>
                    </a:cubicBezTo>
                    <a:cubicBezTo>
                      <a:pt x="21" y="108"/>
                      <a:pt x="26" y="107"/>
                      <a:pt x="29" y="104"/>
                    </a:cubicBezTo>
                    <a:cubicBezTo>
                      <a:pt x="32" y="101"/>
                      <a:pt x="27" y="96"/>
                      <a:pt x="22" y="92"/>
                    </a:cubicBezTo>
                    <a:close/>
                    <a:moveTo>
                      <a:pt x="113" y="133"/>
                    </a:moveTo>
                    <a:cubicBezTo>
                      <a:pt x="114" y="128"/>
                      <a:pt x="103" y="125"/>
                      <a:pt x="102" y="127"/>
                    </a:cubicBezTo>
                    <a:cubicBezTo>
                      <a:pt x="100" y="130"/>
                      <a:pt x="98" y="130"/>
                      <a:pt x="96" y="127"/>
                    </a:cubicBezTo>
                    <a:cubicBezTo>
                      <a:pt x="94" y="124"/>
                      <a:pt x="98" y="121"/>
                      <a:pt x="96" y="120"/>
                    </a:cubicBezTo>
                    <a:cubicBezTo>
                      <a:pt x="94" y="120"/>
                      <a:pt x="92" y="116"/>
                      <a:pt x="92" y="114"/>
                    </a:cubicBezTo>
                    <a:cubicBezTo>
                      <a:pt x="93" y="113"/>
                      <a:pt x="89" y="102"/>
                      <a:pt x="84" y="101"/>
                    </a:cubicBezTo>
                    <a:cubicBezTo>
                      <a:pt x="78" y="99"/>
                      <a:pt x="77" y="91"/>
                      <a:pt x="76" y="87"/>
                    </a:cubicBezTo>
                    <a:cubicBezTo>
                      <a:pt x="75" y="83"/>
                      <a:pt x="72" y="85"/>
                      <a:pt x="69" y="81"/>
                    </a:cubicBezTo>
                    <a:cubicBezTo>
                      <a:pt x="66" y="78"/>
                      <a:pt x="61" y="79"/>
                      <a:pt x="59" y="80"/>
                    </a:cubicBezTo>
                    <a:cubicBezTo>
                      <a:pt x="56" y="80"/>
                      <a:pt x="59" y="75"/>
                      <a:pt x="63" y="72"/>
                    </a:cubicBezTo>
                    <a:cubicBezTo>
                      <a:pt x="67" y="70"/>
                      <a:pt x="71" y="55"/>
                      <a:pt x="71" y="53"/>
                    </a:cubicBezTo>
                    <a:cubicBezTo>
                      <a:pt x="71" y="50"/>
                      <a:pt x="54" y="50"/>
                      <a:pt x="50" y="52"/>
                    </a:cubicBezTo>
                    <a:cubicBezTo>
                      <a:pt x="47" y="53"/>
                      <a:pt x="44" y="49"/>
                      <a:pt x="47" y="48"/>
                    </a:cubicBezTo>
                    <a:cubicBezTo>
                      <a:pt x="49" y="47"/>
                      <a:pt x="55" y="41"/>
                      <a:pt x="55" y="39"/>
                    </a:cubicBezTo>
                    <a:cubicBezTo>
                      <a:pt x="55" y="36"/>
                      <a:pt x="59" y="34"/>
                      <a:pt x="57" y="32"/>
                    </a:cubicBezTo>
                    <a:cubicBezTo>
                      <a:pt x="54" y="30"/>
                      <a:pt x="54" y="35"/>
                      <a:pt x="52" y="36"/>
                    </a:cubicBezTo>
                    <a:cubicBezTo>
                      <a:pt x="50" y="38"/>
                      <a:pt x="45" y="38"/>
                      <a:pt x="40" y="37"/>
                    </a:cubicBezTo>
                    <a:cubicBezTo>
                      <a:pt x="34" y="36"/>
                      <a:pt x="32" y="43"/>
                      <a:pt x="33" y="46"/>
                    </a:cubicBezTo>
                    <a:cubicBezTo>
                      <a:pt x="33" y="49"/>
                      <a:pt x="27" y="51"/>
                      <a:pt x="28" y="54"/>
                    </a:cubicBezTo>
                    <a:cubicBezTo>
                      <a:pt x="29" y="56"/>
                      <a:pt x="26" y="58"/>
                      <a:pt x="25" y="57"/>
                    </a:cubicBezTo>
                    <a:cubicBezTo>
                      <a:pt x="23" y="55"/>
                      <a:pt x="21" y="52"/>
                      <a:pt x="18" y="54"/>
                    </a:cubicBezTo>
                    <a:cubicBezTo>
                      <a:pt x="15" y="57"/>
                      <a:pt x="22" y="61"/>
                      <a:pt x="26" y="61"/>
                    </a:cubicBezTo>
                    <a:cubicBezTo>
                      <a:pt x="30" y="62"/>
                      <a:pt x="23" y="65"/>
                      <a:pt x="22" y="69"/>
                    </a:cubicBezTo>
                    <a:cubicBezTo>
                      <a:pt x="21" y="74"/>
                      <a:pt x="28" y="72"/>
                      <a:pt x="28" y="75"/>
                    </a:cubicBezTo>
                    <a:cubicBezTo>
                      <a:pt x="28" y="79"/>
                      <a:pt x="19" y="79"/>
                      <a:pt x="19" y="82"/>
                    </a:cubicBezTo>
                    <a:cubicBezTo>
                      <a:pt x="19" y="86"/>
                      <a:pt x="24" y="81"/>
                      <a:pt x="27" y="80"/>
                    </a:cubicBezTo>
                    <a:cubicBezTo>
                      <a:pt x="29" y="78"/>
                      <a:pt x="25" y="87"/>
                      <a:pt x="31" y="86"/>
                    </a:cubicBezTo>
                    <a:cubicBezTo>
                      <a:pt x="37" y="85"/>
                      <a:pt x="36" y="77"/>
                      <a:pt x="38" y="78"/>
                    </a:cubicBezTo>
                    <a:cubicBezTo>
                      <a:pt x="40" y="78"/>
                      <a:pt x="37" y="82"/>
                      <a:pt x="39" y="85"/>
                    </a:cubicBezTo>
                    <a:cubicBezTo>
                      <a:pt x="40" y="89"/>
                      <a:pt x="34" y="94"/>
                      <a:pt x="35" y="97"/>
                    </a:cubicBezTo>
                    <a:cubicBezTo>
                      <a:pt x="35" y="99"/>
                      <a:pt x="47" y="99"/>
                      <a:pt x="51" y="95"/>
                    </a:cubicBezTo>
                    <a:cubicBezTo>
                      <a:pt x="55" y="91"/>
                      <a:pt x="56" y="96"/>
                      <a:pt x="54" y="99"/>
                    </a:cubicBezTo>
                    <a:cubicBezTo>
                      <a:pt x="51" y="102"/>
                      <a:pt x="52" y="104"/>
                      <a:pt x="56" y="106"/>
                    </a:cubicBezTo>
                    <a:cubicBezTo>
                      <a:pt x="59" y="107"/>
                      <a:pt x="60" y="107"/>
                      <a:pt x="59" y="110"/>
                    </a:cubicBezTo>
                    <a:cubicBezTo>
                      <a:pt x="57" y="112"/>
                      <a:pt x="58" y="117"/>
                      <a:pt x="58" y="120"/>
                    </a:cubicBezTo>
                    <a:cubicBezTo>
                      <a:pt x="57" y="122"/>
                      <a:pt x="46" y="122"/>
                      <a:pt x="46" y="120"/>
                    </a:cubicBezTo>
                    <a:cubicBezTo>
                      <a:pt x="46" y="119"/>
                      <a:pt x="41" y="120"/>
                      <a:pt x="43" y="122"/>
                    </a:cubicBezTo>
                    <a:cubicBezTo>
                      <a:pt x="44" y="125"/>
                      <a:pt x="39" y="127"/>
                      <a:pt x="39" y="129"/>
                    </a:cubicBezTo>
                    <a:cubicBezTo>
                      <a:pt x="40" y="131"/>
                      <a:pt x="46" y="131"/>
                      <a:pt x="46" y="134"/>
                    </a:cubicBezTo>
                    <a:cubicBezTo>
                      <a:pt x="46" y="136"/>
                      <a:pt x="41" y="139"/>
                      <a:pt x="35" y="141"/>
                    </a:cubicBezTo>
                    <a:cubicBezTo>
                      <a:pt x="29" y="143"/>
                      <a:pt x="36" y="148"/>
                      <a:pt x="39" y="146"/>
                    </a:cubicBezTo>
                    <a:cubicBezTo>
                      <a:pt x="42" y="144"/>
                      <a:pt x="42" y="147"/>
                      <a:pt x="46" y="147"/>
                    </a:cubicBezTo>
                    <a:cubicBezTo>
                      <a:pt x="50" y="147"/>
                      <a:pt x="53" y="151"/>
                      <a:pt x="58" y="149"/>
                    </a:cubicBezTo>
                    <a:cubicBezTo>
                      <a:pt x="63" y="147"/>
                      <a:pt x="63" y="149"/>
                      <a:pt x="59" y="152"/>
                    </a:cubicBezTo>
                    <a:cubicBezTo>
                      <a:pt x="55" y="155"/>
                      <a:pt x="50" y="152"/>
                      <a:pt x="46" y="154"/>
                    </a:cubicBezTo>
                    <a:cubicBezTo>
                      <a:pt x="43" y="155"/>
                      <a:pt x="29" y="168"/>
                      <a:pt x="32" y="171"/>
                    </a:cubicBezTo>
                    <a:cubicBezTo>
                      <a:pt x="34" y="173"/>
                      <a:pt x="36" y="169"/>
                      <a:pt x="40" y="167"/>
                    </a:cubicBezTo>
                    <a:cubicBezTo>
                      <a:pt x="45" y="165"/>
                      <a:pt x="46" y="168"/>
                      <a:pt x="49" y="168"/>
                    </a:cubicBezTo>
                    <a:cubicBezTo>
                      <a:pt x="51" y="169"/>
                      <a:pt x="52" y="163"/>
                      <a:pt x="54" y="163"/>
                    </a:cubicBezTo>
                    <a:cubicBezTo>
                      <a:pt x="56" y="164"/>
                      <a:pt x="58" y="161"/>
                      <a:pt x="62" y="162"/>
                    </a:cubicBezTo>
                    <a:cubicBezTo>
                      <a:pt x="66" y="163"/>
                      <a:pt x="69" y="161"/>
                      <a:pt x="71" y="160"/>
                    </a:cubicBezTo>
                    <a:cubicBezTo>
                      <a:pt x="73" y="158"/>
                      <a:pt x="78" y="163"/>
                      <a:pt x="80" y="162"/>
                    </a:cubicBezTo>
                    <a:cubicBezTo>
                      <a:pt x="81" y="161"/>
                      <a:pt x="89" y="159"/>
                      <a:pt x="92" y="159"/>
                    </a:cubicBezTo>
                    <a:cubicBezTo>
                      <a:pt x="96" y="160"/>
                      <a:pt x="106" y="155"/>
                      <a:pt x="108" y="153"/>
                    </a:cubicBezTo>
                    <a:cubicBezTo>
                      <a:pt x="111" y="151"/>
                      <a:pt x="107" y="150"/>
                      <a:pt x="103" y="151"/>
                    </a:cubicBezTo>
                    <a:cubicBezTo>
                      <a:pt x="100" y="151"/>
                      <a:pt x="101" y="147"/>
                      <a:pt x="104" y="144"/>
                    </a:cubicBezTo>
                    <a:cubicBezTo>
                      <a:pt x="108" y="141"/>
                      <a:pt x="113" y="138"/>
                      <a:pt x="113" y="133"/>
                    </a:cubicBezTo>
                    <a:close/>
                    <a:moveTo>
                      <a:pt x="13" y="49"/>
                    </a:moveTo>
                    <a:cubicBezTo>
                      <a:pt x="18" y="49"/>
                      <a:pt x="23" y="42"/>
                      <a:pt x="21" y="39"/>
                    </a:cubicBezTo>
                    <a:cubicBezTo>
                      <a:pt x="19" y="37"/>
                      <a:pt x="10" y="50"/>
                      <a:pt x="13" y="49"/>
                    </a:cubicBezTo>
                    <a:close/>
                    <a:moveTo>
                      <a:pt x="78" y="13"/>
                    </a:moveTo>
                    <a:cubicBezTo>
                      <a:pt x="81" y="10"/>
                      <a:pt x="84" y="0"/>
                      <a:pt x="80" y="1"/>
                    </a:cubicBezTo>
                    <a:cubicBezTo>
                      <a:pt x="75" y="2"/>
                      <a:pt x="76" y="14"/>
                      <a:pt x="78" y="1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0" name="Freeform 138">
                <a:extLst>
                  <a:ext uri="{FF2B5EF4-FFF2-40B4-BE49-F238E27FC236}">
                    <a16:creationId xmlns:a16="http://schemas.microsoft.com/office/drawing/2014/main" id="{A74E710A-7464-4937-A93D-D6D3A45C13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22738" y="2374900"/>
                <a:ext cx="249237" cy="379413"/>
              </a:xfrm>
              <a:custGeom>
                <a:avLst/>
                <a:gdLst>
                  <a:gd name="T0" fmla="*/ 8 w 114"/>
                  <a:gd name="T1" fmla="*/ 94 h 173"/>
                  <a:gd name="T2" fmla="*/ 2 w 114"/>
                  <a:gd name="T3" fmla="*/ 107 h 173"/>
                  <a:gd name="T4" fmla="*/ 16 w 114"/>
                  <a:gd name="T5" fmla="*/ 106 h 173"/>
                  <a:gd name="T6" fmla="*/ 29 w 114"/>
                  <a:gd name="T7" fmla="*/ 104 h 173"/>
                  <a:gd name="T8" fmla="*/ 113 w 114"/>
                  <a:gd name="T9" fmla="*/ 133 h 173"/>
                  <a:gd name="T10" fmla="*/ 96 w 114"/>
                  <a:gd name="T11" fmla="*/ 127 h 173"/>
                  <a:gd name="T12" fmla="*/ 92 w 114"/>
                  <a:gd name="T13" fmla="*/ 114 h 173"/>
                  <a:gd name="T14" fmla="*/ 76 w 114"/>
                  <a:gd name="T15" fmla="*/ 87 h 173"/>
                  <a:gd name="T16" fmla="*/ 59 w 114"/>
                  <a:gd name="T17" fmla="*/ 80 h 173"/>
                  <a:gd name="T18" fmla="*/ 71 w 114"/>
                  <a:gd name="T19" fmla="*/ 53 h 173"/>
                  <a:gd name="T20" fmla="*/ 47 w 114"/>
                  <a:gd name="T21" fmla="*/ 48 h 173"/>
                  <a:gd name="T22" fmla="*/ 57 w 114"/>
                  <a:gd name="T23" fmla="*/ 32 h 173"/>
                  <a:gd name="T24" fmla="*/ 40 w 114"/>
                  <a:gd name="T25" fmla="*/ 37 h 173"/>
                  <a:gd name="T26" fmla="*/ 28 w 114"/>
                  <a:gd name="T27" fmla="*/ 54 h 173"/>
                  <a:gd name="T28" fmla="*/ 18 w 114"/>
                  <a:gd name="T29" fmla="*/ 54 h 173"/>
                  <a:gd name="T30" fmla="*/ 22 w 114"/>
                  <a:gd name="T31" fmla="*/ 69 h 173"/>
                  <a:gd name="T32" fmla="*/ 19 w 114"/>
                  <a:gd name="T33" fmla="*/ 82 h 173"/>
                  <a:gd name="T34" fmla="*/ 31 w 114"/>
                  <a:gd name="T35" fmla="*/ 86 h 173"/>
                  <a:gd name="T36" fmla="*/ 39 w 114"/>
                  <a:gd name="T37" fmla="*/ 85 h 173"/>
                  <a:gd name="T38" fmla="*/ 51 w 114"/>
                  <a:gd name="T39" fmla="*/ 95 h 173"/>
                  <a:gd name="T40" fmla="*/ 56 w 114"/>
                  <a:gd name="T41" fmla="*/ 106 h 173"/>
                  <a:gd name="T42" fmla="*/ 58 w 114"/>
                  <a:gd name="T43" fmla="*/ 120 h 173"/>
                  <a:gd name="T44" fmla="*/ 43 w 114"/>
                  <a:gd name="T45" fmla="*/ 122 h 173"/>
                  <a:gd name="T46" fmla="*/ 46 w 114"/>
                  <a:gd name="T47" fmla="*/ 134 h 173"/>
                  <a:gd name="T48" fmla="*/ 39 w 114"/>
                  <a:gd name="T49" fmla="*/ 146 h 173"/>
                  <a:gd name="T50" fmla="*/ 58 w 114"/>
                  <a:gd name="T51" fmla="*/ 149 h 173"/>
                  <a:gd name="T52" fmla="*/ 46 w 114"/>
                  <a:gd name="T53" fmla="*/ 154 h 173"/>
                  <a:gd name="T54" fmla="*/ 40 w 114"/>
                  <a:gd name="T55" fmla="*/ 167 h 173"/>
                  <a:gd name="T56" fmla="*/ 54 w 114"/>
                  <a:gd name="T57" fmla="*/ 163 h 173"/>
                  <a:gd name="T58" fmla="*/ 71 w 114"/>
                  <a:gd name="T59" fmla="*/ 160 h 173"/>
                  <a:gd name="T60" fmla="*/ 92 w 114"/>
                  <a:gd name="T61" fmla="*/ 159 h 173"/>
                  <a:gd name="T62" fmla="*/ 103 w 114"/>
                  <a:gd name="T63" fmla="*/ 151 h 173"/>
                  <a:gd name="T64" fmla="*/ 113 w 114"/>
                  <a:gd name="T65" fmla="*/ 133 h 173"/>
                  <a:gd name="T66" fmla="*/ 21 w 114"/>
                  <a:gd name="T67" fmla="*/ 39 h 173"/>
                  <a:gd name="T68" fmla="*/ 78 w 114"/>
                  <a:gd name="T69" fmla="*/ 13 h 173"/>
                  <a:gd name="T70" fmla="*/ 78 w 114"/>
                  <a:gd name="T71" fmla="*/ 1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4" h="173">
                    <a:moveTo>
                      <a:pt x="22" y="92"/>
                    </a:moveTo>
                    <a:cubicBezTo>
                      <a:pt x="18" y="88"/>
                      <a:pt x="13" y="94"/>
                      <a:pt x="8" y="94"/>
                    </a:cubicBezTo>
                    <a:cubicBezTo>
                      <a:pt x="7" y="97"/>
                      <a:pt x="6" y="100"/>
                      <a:pt x="5" y="100"/>
                    </a:cubicBezTo>
                    <a:cubicBezTo>
                      <a:pt x="3" y="102"/>
                      <a:pt x="0" y="106"/>
                      <a:pt x="2" y="107"/>
                    </a:cubicBezTo>
                    <a:cubicBezTo>
                      <a:pt x="5" y="107"/>
                      <a:pt x="9" y="111"/>
                      <a:pt x="10" y="108"/>
                    </a:cubicBezTo>
                    <a:cubicBezTo>
                      <a:pt x="10" y="105"/>
                      <a:pt x="12" y="101"/>
                      <a:pt x="16" y="106"/>
                    </a:cubicBezTo>
                    <a:cubicBezTo>
                      <a:pt x="17" y="108"/>
                      <a:pt x="18" y="109"/>
                      <a:pt x="20" y="110"/>
                    </a:cubicBezTo>
                    <a:cubicBezTo>
                      <a:pt x="21" y="108"/>
                      <a:pt x="26" y="107"/>
                      <a:pt x="29" y="104"/>
                    </a:cubicBezTo>
                    <a:cubicBezTo>
                      <a:pt x="32" y="101"/>
                      <a:pt x="27" y="96"/>
                      <a:pt x="22" y="92"/>
                    </a:cubicBezTo>
                    <a:close/>
                    <a:moveTo>
                      <a:pt x="113" y="133"/>
                    </a:moveTo>
                    <a:cubicBezTo>
                      <a:pt x="114" y="128"/>
                      <a:pt x="103" y="125"/>
                      <a:pt x="102" y="127"/>
                    </a:cubicBezTo>
                    <a:cubicBezTo>
                      <a:pt x="100" y="130"/>
                      <a:pt x="98" y="130"/>
                      <a:pt x="96" y="127"/>
                    </a:cubicBezTo>
                    <a:cubicBezTo>
                      <a:pt x="94" y="124"/>
                      <a:pt x="98" y="121"/>
                      <a:pt x="96" y="120"/>
                    </a:cubicBezTo>
                    <a:cubicBezTo>
                      <a:pt x="94" y="120"/>
                      <a:pt x="92" y="116"/>
                      <a:pt x="92" y="114"/>
                    </a:cubicBezTo>
                    <a:cubicBezTo>
                      <a:pt x="93" y="113"/>
                      <a:pt x="89" y="102"/>
                      <a:pt x="84" y="101"/>
                    </a:cubicBezTo>
                    <a:cubicBezTo>
                      <a:pt x="78" y="99"/>
                      <a:pt x="77" y="91"/>
                      <a:pt x="76" y="87"/>
                    </a:cubicBezTo>
                    <a:cubicBezTo>
                      <a:pt x="75" y="83"/>
                      <a:pt x="72" y="85"/>
                      <a:pt x="69" y="81"/>
                    </a:cubicBezTo>
                    <a:cubicBezTo>
                      <a:pt x="66" y="78"/>
                      <a:pt x="61" y="79"/>
                      <a:pt x="59" y="80"/>
                    </a:cubicBezTo>
                    <a:cubicBezTo>
                      <a:pt x="56" y="80"/>
                      <a:pt x="59" y="75"/>
                      <a:pt x="63" y="72"/>
                    </a:cubicBezTo>
                    <a:cubicBezTo>
                      <a:pt x="67" y="70"/>
                      <a:pt x="71" y="55"/>
                      <a:pt x="71" y="53"/>
                    </a:cubicBezTo>
                    <a:cubicBezTo>
                      <a:pt x="71" y="50"/>
                      <a:pt x="54" y="50"/>
                      <a:pt x="50" y="52"/>
                    </a:cubicBezTo>
                    <a:cubicBezTo>
                      <a:pt x="47" y="53"/>
                      <a:pt x="44" y="49"/>
                      <a:pt x="47" y="48"/>
                    </a:cubicBezTo>
                    <a:cubicBezTo>
                      <a:pt x="49" y="47"/>
                      <a:pt x="55" y="41"/>
                      <a:pt x="55" y="39"/>
                    </a:cubicBezTo>
                    <a:cubicBezTo>
                      <a:pt x="55" y="36"/>
                      <a:pt x="59" y="34"/>
                      <a:pt x="57" y="32"/>
                    </a:cubicBezTo>
                    <a:cubicBezTo>
                      <a:pt x="54" y="30"/>
                      <a:pt x="54" y="35"/>
                      <a:pt x="52" y="36"/>
                    </a:cubicBezTo>
                    <a:cubicBezTo>
                      <a:pt x="50" y="38"/>
                      <a:pt x="45" y="38"/>
                      <a:pt x="40" y="37"/>
                    </a:cubicBezTo>
                    <a:cubicBezTo>
                      <a:pt x="34" y="36"/>
                      <a:pt x="32" y="43"/>
                      <a:pt x="33" y="46"/>
                    </a:cubicBezTo>
                    <a:cubicBezTo>
                      <a:pt x="33" y="49"/>
                      <a:pt x="27" y="51"/>
                      <a:pt x="28" y="54"/>
                    </a:cubicBezTo>
                    <a:cubicBezTo>
                      <a:pt x="29" y="56"/>
                      <a:pt x="26" y="58"/>
                      <a:pt x="25" y="57"/>
                    </a:cubicBezTo>
                    <a:cubicBezTo>
                      <a:pt x="23" y="55"/>
                      <a:pt x="21" y="52"/>
                      <a:pt x="18" y="54"/>
                    </a:cubicBezTo>
                    <a:cubicBezTo>
                      <a:pt x="15" y="57"/>
                      <a:pt x="22" y="61"/>
                      <a:pt x="26" y="61"/>
                    </a:cubicBezTo>
                    <a:cubicBezTo>
                      <a:pt x="30" y="62"/>
                      <a:pt x="23" y="65"/>
                      <a:pt x="22" y="69"/>
                    </a:cubicBezTo>
                    <a:cubicBezTo>
                      <a:pt x="21" y="74"/>
                      <a:pt x="28" y="72"/>
                      <a:pt x="28" y="75"/>
                    </a:cubicBezTo>
                    <a:cubicBezTo>
                      <a:pt x="28" y="79"/>
                      <a:pt x="19" y="79"/>
                      <a:pt x="19" y="82"/>
                    </a:cubicBezTo>
                    <a:cubicBezTo>
                      <a:pt x="19" y="86"/>
                      <a:pt x="24" y="81"/>
                      <a:pt x="27" y="80"/>
                    </a:cubicBezTo>
                    <a:cubicBezTo>
                      <a:pt x="29" y="78"/>
                      <a:pt x="25" y="87"/>
                      <a:pt x="31" y="86"/>
                    </a:cubicBezTo>
                    <a:cubicBezTo>
                      <a:pt x="37" y="85"/>
                      <a:pt x="36" y="77"/>
                      <a:pt x="38" y="78"/>
                    </a:cubicBezTo>
                    <a:cubicBezTo>
                      <a:pt x="40" y="78"/>
                      <a:pt x="37" y="82"/>
                      <a:pt x="39" y="85"/>
                    </a:cubicBezTo>
                    <a:cubicBezTo>
                      <a:pt x="40" y="89"/>
                      <a:pt x="34" y="94"/>
                      <a:pt x="35" y="97"/>
                    </a:cubicBezTo>
                    <a:cubicBezTo>
                      <a:pt x="35" y="99"/>
                      <a:pt x="47" y="99"/>
                      <a:pt x="51" y="95"/>
                    </a:cubicBezTo>
                    <a:cubicBezTo>
                      <a:pt x="55" y="91"/>
                      <a:pt x="56" y="96"/>
                      <a:pt x="54" y="99"/>
                    </a:cubicBezTo>
                    <a:cubicBezTo>
                      <a:pt x="51" y="102"/>
                      <a:pt x="52" y="104"/>
                      <a:pt x="56" y="106"/>
                    </a:cubicBezTo>
                    <a:cubicBezTo>
                      <a:pt x="59" y="107"/>
                      <a:pt x="60" y="107"/>
                      <a:pt x="59" y="110"/>
                    </a:cubicBezTo>
                    <a:cubicBezTo>
                      <a:pt x="57" y="112"/>
                      <a:pt x="58" y="117"/>
                      <a:pt x="58" y="120"/>
                    </a:cubicBezTo>
                    <a:cubicBezTo>
                      <a:pt x="57" y="122"/>
                      <a:pt x="46" y="122"/>
                      <a:pt x="46" y="120"/>
                    </a:cubicBezTo>
                    <a:cubicBezTo>
                      <a:pt x="46" y="119"/>
                      <a:pt x="41" y="120"/>
                      <a:pt x="43" y="122"/>
                    </a:cubicBezTo>
                    <a:cubicBezTo>
                      <a:pt x="44" y="125"/>
                      <a:pt x="39" y="127"/>
                      <a:pt x="39" y="129"/>
                    </a:cubicBezTo>
                    <a:cubicBezTo>
                      <a:pt x="40" y="131"/>
                      <a:pt x="46" y="131"/>
                      <a:pt x="46" y="134"/>
                    </a:cubicBezTo>
                    <a:cubicBezTo>
                      <a:pt x="46" y="136"/>
                      <a:pt x="41" y="139"/>
                      <a:pt x="35" y="141"/>
                    </a:cubicBezTo>
                    <a:cubicBezTo>
                      <a:pt x="29" y="143"/>
                      <a:pt x="36" y="148"/>
                      <a:pt x="39" y="146"/>
                    </a:cubicBezTo>
                    <a:cubicBezTo>
                      <a:pt x="42" y="144"/>
                      <a:pt x="42" y="147"/>
                      <a:pt x="46" y="147"/>
                    </a:cubicBezTo>
                    <a:cubicBezTo>
                      <a:pt x="50" y="147"/>
                      <a:pt x="53" y="151"/>
                      <a:pt x="58" y="149"/>
                    </a:cubicBezTo>
                    <a:cubicBezTo>
                      <a:pt x="63" y="147"/>
                      <a:pt x="63" y="149"/>
                      <a:pt x="59" y="152"/>
                    </a:cubicBezTo>
                    <a:cubicBezTo>
                      <a:pt x="55" y="155"/>
                      <a:pt x="50" y="152"/>
                      <a:pt x="46" y="154"/>
                    </a:cubicBezTo>
                    <a:cubicBezTo>
                      <a:pt x="43" y="155"/>
                      <a:pt x="29" y="168"/>
                      <a:pt x="32" y="171"/>
                    </a:cubicBezTo>
                    <a:cubicBezTo>
                      <a:pt x="34" y="173"/>
                      <a:pt x="36" y="169"/>
                      <a:pt x="40" y="167"/>
                    </a:cubicBezTo>
                    <a:cubicBezTo>
                      <a:pt x="45" y="165"/>
                      <a:pt x="46" y="168"/>
                      <a:pt x="49" y="168"/>
                    </a:cubicBezTo>
                    <a:cubicBezTo>
                      <a:pt x="51" y="169"/>
                      <a:pt x="52" y="163"/>
                      <a:pt x="54" y="163"/>
                    </a:cubicBezTo>
                    <a:cubicBezTo>
                      <a:pt x="56" y="164"/>
                      <a:pt x="58" y="161"/>
                      <a:pt x="62" y="162"/>
                    </a:cubicBezTo>
                    <a:cubicBezTo>
                      <a:pt x="66" y="163"/>
                      <a:pt x="69" y="161"/>
                      <a:pt x="71" y="160"/>
                    </a:cubicBezTo>
                    <a:cubicBezTo>
                      <a:pt x="73" y="158"/>
                      <a:pt x="78" y="163"/>
                      <a:pt x="80" y="162"/>
                    </a:cubicBezTo>
                    <a:cubicBezTo>
                      <a:pt x="81" y="161"/>
                      <a:pt x="89" y="159"/>
                      <a:pt x="92" y="159"/>
                    </a:cubicBezTo>
                    <a:cubicBezTo>
                      <a:pt x="96" y="160"/>
                      <a:pt x="106" y="155"/>
                      <a:pt x="108" y="153"/>
                    </a:cubicBezTo>
                    <a:cubicBezTo>
                      <a:pt x="111" y="151"/>
                      <a:pt x="107" y="150"/>
                      <a:pt x="103" y="151"/>
                    </a:cubicBezTo>
                    <a:cubicBezTo>
                      <a:pt x="100" y="151"/>
                      <a:pt x="101" y="147"/>
                      <a:pt x="104" y="144"/>
                    </a:cubicBezTo>
                    <a:cubicBezTo>
                      <a:pt x="108" y="141"/>
                      <a:pt x="113" y="138"/>
                      <a:pt x="113" y="133"/>
                    </a:cubicBezTo>
                    <a:close/>
                    <a:moveTo>
                      <a:pt x="13" y="49"/>
                    </a:moveTo>
                    <a:cubicBezTo>
                      <a:pt x="18" y="49"/>
                      <a:pt x="23" y="42"/>
                      <a:pt x="21" y="39"/>
                    </a:cubicBezTo>
                    <a:cubicBezTo>
                      <a:pt x="19" y="37"/>
                      <a:pt x="10" y="50"/>
                      <a:pt x="13" y="49"/>
                    </a:cubicBezTo>
                    <a:close/>
                    <a:moveTo>
                      <a:pt x="78" y="13"/>
                    </a:moveTo>
                    <a:cubicBezTo>
                      <a:pt x="81" y="10"/>
                      <a:pt x="84" y="0"/>
                      <a:pt x="80" y="1"/>
                    </a:cubicBezTo>
                    <a:cubicBezTo>
                      <a:pt x="75" y="2"/>
                      <a:pt x="76" y="14"/>
                      <a:pt x="78" y="1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1" name="Freeform 139">
                <a:extLst>
                  <a:ext uri="{FF2B5EF4-FFF2-40B4-BE49-F238E27FC236}">
                    <a16:creationId xmlns:a16="http://schemas.microsoft.com/office/drawing/2014/main" id="{3DD2D65C-87D0-4D88-8DBC-AD7D636626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484438"/>
                <a:ext cx="120650" cy="112713"/>
              </a:xfrm>
              <a:custGeom>
                <a:avLst/>
                <a:gdLst>
                  <a:gd name="T0" fmla="*/ 28 w 55"/>
                  <a:gd name="T1" fmla="*/ 19 h 51"/>
                  <a:gd name="T2" fmla="*/ 28 w 55"/>
                  <a:gd name="T3" fmla="*/ 11 h 51"/>
                  <a:gd name="T4" fmla="*/ 29 w 55"/>
                  <a:gd name="T5" fmla="*/ 1 h 51"/>
                  <a:gd name="T6" fmla="*/ 21 w 55"/>
                  <a:gd name="T7" fmla="*/ 6 h 51"/>
                  <a:gd name="T8" fmla="*/ 14 w 55"/>
                  <a:gd name="T9" fmla="*/ 9 h 51"/>
                  <a:gd name="T10" fmla="*/ 14 w 55"/>
                  <a:gd name="T11" fmla="*/ 14 h 51"/>
                  <a:gd name="T12" fmla="*/ 8 w 55"/>
                  <a:gd name="T13" fmla="*/ 11 h 51"/>
                  <a:gd name="T14" fmla="*/ 2 w 55"/>
                  <a:gd name="T15" fmla="*/ 19 h 51"/>
                  <a:gd name="T16" fmla="*/ 2 w 55"/>
                  <a:gd name="T17" fmla="*/ 32 h 51"/>
                  <a:gd name="T18" fmla="*/ 7 w 55"/>
                  <a:gd name="T19" fmla="*/ 42 h 51"/>
                  <a:gd name="T20" fmla="*/ 8 w 55"/>
                  <a:gd name="T21" fmla="*/ 47 h 51"/>
                  <a:gd name="T22" fmla="*/ 19 w 55"/>
                  <a:gd name="T23" fmla="*/ 48 h 51"/>
                  <a:gd name="T24" fmla="*/ 23 w 55"/>
                  <a:gd name="T25" fmla="*/ 48 h 51"/>
                  <a:gd name="T26" fmla="*/ 18 w 55"/>
                  <a:gd name="T27" fmla="*/ 42 h 51"/>
                  <a:gd name="T28" fmla="*/ 24 w 55"/>
                  <a:gd name="T29" fmla="*/ 43 h 51"/>
                  <a:gd name="T30" fmla="*/ 32 w 55"/>
                  <a:gd name="T31" fmla="*/ 43 h 51"/>
                  <a:gd name="T32" fmla="*/ 28 w 55"/>
                  <a:gd name="T33" fmla="*/ 36 h 51"/>
                  <a:gd name="T34" fmla="*/ 23 w 55"/>
                  <a:gd name="T35" fmla="*/ 35 h 51"/>
                  <a:gd name="T36" fmla="*/ 26 w 55"/>
                  <a:gd name="T37" fmla="*/ 28 h 51"/>
                  <a:gd name="T38" fmla="*/ 33 w 55"/>
                  <a:gd name="T39" fmla="*/ 24 h 51"/>
                  <a:gd name="T40" fmla="*/ 28 w 55"/>
                  <a:gd name="T41" fmla="*/ 19 h 51"/>
                  <a:gd name="T42" fmla="*/ 53 w 55"/>
                  <a:gd name="T43" fmla="*/ 29 h 51"/>
                  <a:gd name="T44" fmla="*/ 49 w 55"/>
                  <a:gd name="T45" fmla="*/ 32 h 51"/>
                  <a:gd name="T46" fmla="*/ 45 w 55"/>
                  <a:gd name="T47" fmla="*/ 29 h 51"/>
                  <a:gd name="T48" fmla="*/ 38 w 55"/>
                  <a:gd name="T49" fmla="*/ 32 h 51"/>
                  <a:gd name="T50" fmla="*/ 42 w 55"/>
                  <a:gd name="T51" fmla="*/ 43 h 51"/>
                  <a:gd name="T52" fmla="*/ 39 w 55"/>
                  <a:gd name="T53" fmla="*/ 46 h 51"/>
                  <a:gd name="T54" fmla="*/ 42 w 55"/>
                  <a:gd name="T55" fmla="*/ 51 h 51"/>
                  <a:gd name="T56" fmla="*/ 50 w 55"/>
                  <a:gd name="T57" fmla="*/ 41 h 51"/>
                  <a:gd name="T58" fmla="*/ 53 w 55"/>
                  <a:gd name="T59" fmla="*/ 2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" h="51">
                    <a:moveTo>
                      <a:pt x="28" y="19"/>
                    </a:moveTo>
                    <a:cubicBezTo>
                      <a:pt x="26" y="18"/>
                      <a:pt x="26" y="13"/>
                      <a:pt x="28" y="11"/>
                    </a:cubicBezTo>
                    <a:cubicBezTo>
                      <a:pt x="30" y="9"/>
                      <a:pt x="30" y="3"/>
                      <a:pt x="29" y="1"/>
                    </a:cubicBezTo>
                    <a:cubicBezTo>
                      <a:pt x="27" y="0"/>
                      <a:pt x="21" y="1"/>
                      <a:pt x="21" y="6"/>
                    </a:cubicBezTo>
                    <a:cubicBezTo>
                      <a:pt x="20" y="10"/>
                      <a:pt x="15" y="8"/>
                      <a:pt x="14" y="9"/>
                    </a:cubicBezTo>
                    <a:cubicBezTo>
                      <a:pt x="13" y="10"/>
                      <a:pt x="17" y="12"/>
                      <a:pt x="14" y="14"/>
                    </a:cubicBezTo>
                    <a:cubicBezTo>
                      <a:pt x="12" y="16"/>
                      <a:pt x="11" y="11"/>
                      <a:pt x="8" y="11"/>
                    </a:cubicBezTo>
                    <a:cubicBezTo>
                      <a:pt x="4" y="11"/>
                      <a:pt x="4" y="16"/>
                      <a:pt x="2" y="19"/>
                    </a:cubicBezTo>
                    <a:cubicBezTo>
                      <a:pt x="0" y="22"/>
                      <a:pt x="2" y="28"/>
                      <a:pt x="2" y="32"/>
                    </a:cubicBezTo>
                    <a:cubicBezTo>
                      <a:pt x="3" y="36"/>
                      <a:pt x="8" y="39"/>
                      <a:pt x="7" y="42"/>
                    </a:cubicBezTo>
                    <a:cubicBezTo>
                      <a:pt x="6" y="43"/>
                      <a:pt x="7" y="45"/>
                      <a:pt x="8" y="47"/>
                    </a:cubicBezTo>
                    <a:cubicBezTo>
                      <a:pt x="13" y="47"/>
                      <a:pt x="17" y="47"/>
                      <a:pt x="19" y="48"/>
                    </a:cubicBezTo>
                    <a:cubicBezTo>
                      <a:pt x="19" y="48"/>
                      <a:pt x="21" y="48"/>
                      <a:pt x="23" y="48"/>
                    </a:cubicBezTo>
                    <a:cubicBezTo>
                      <a:pt x="21" y="45"/>
                      <a:pt x="18" y="43"/>
                      <a:pt x="18" y="42"/>
                    </a:cubicBezTo>
                    <a:cubicBezTo>
                      <a:pt x="19" y="39"/>
                      <a:pt x="22" y="41"/>
                      <a:pt x="24" y="43"/>
                    </a:cubicBezTo>
                    <a:cubicBezTo>
                      <a:pt x="26" y="45"/>
                      <a:pt x="32" y="45"/>
                      <a:pt x="32" y="43"/>
                    </a:cubicBezTo>
                    <a:cubicBezTo>
                      <a:pt x="32" y="41"/>
                      <a:pt x="31" y="34"/>
                      <a:pt x="28" y="36"/>
                    </a:cubicBezTo>
                    <a:cubicBezTo>
                      <a:pt x="25" y="37"/>
                      <a:pt x="24" y="37"/>
                      <a:pt x="23" y="35"/>
                    </a:cubicBezTo>
                    <a:cubicBezTo>
                      <a:pt x="22" y="33"/>
                      <a:pt x="25" y="31"/>
                      <a:pt x="26" y="28"/>
                    </a:cubicBezTo>
                    <a:cubicBezTo>
                      <a:pt x="27" y="25"/>
                      <a:pt x="32" y="26"/>
                      <a:pt x="33" y="24"/>
                    </a:cubicBezTo>
                    <a:cubicBezTo>
                      <a:pt x="34" y="22"/>
                      <a:pt x="30" y="20"/>
                      <a:pt x="28" y="19"/>
                    </a:cubicBezTo>
                    <a:close/>
                    <a:moveTo>
                      <a:pt x="53" y="29"/>
                    </a:moveTo>
                    <a:cubicBezTo>
                      <a:pt x="52" y="28"/>
                      <a:pt x="51" y="31"/>
                      <a:pt x="49" y="32"/>
                    </a:cubicBezTo>
                    <a:cubicBezTo>
                      <a:pt x="48" y="32"/>
                      <a:pt x="46" y="25"/>
                      <a:pt x="45" y="29"/>
                    </a:cubicBezTo>
                    <a:cubicBezTo>
                      <a:pt x="45" y="33"/>
                      <a:pt x="41" y="28"/>
                      <a:pt x="38" y="32"/>
                    </a:cubicBezTo>
                    <a:cubicBezTo>
                      <a:pt x="35" y="37"/>
                      <a:pt x="40" y="41"/>
                      <a:pt x="42" y="43"/>
                    </a:cubicBezTo>
                    <a:cubicBezTo>
                      <a:pt x="45" y="44"/>
                      <a:pt x="42" y="46"/>
                      <a:pt x="39" y="46"/>
                    </a:cubicBezTo>
                    <a:cubicBezTo>
                      <a:pt x="36" y="45"/>
                      <a:pt x="38" y="50"/>
                      <a:pt x="42" y="51"/>
                    </a:cubicBezTo>
                    <a:cubicBezTo>
                      <a:pt x="46" y="51"/>
                      <a:pt x="51" y="43"/>
                      <a:pt x="50" y="41"/>
                    </a:cubicBezTo>
                    <a:cubicBezTo>
                      <a:pt x="50" y="39"/>
                      <a:pt x="55" y="30"/>
                      <a:pt x="53" y="2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2" name="Freeform 140">
                <a:extLst>
                  <a:ext uri="{FF2B5EF4-FFF2-40B4-BE49-F238E27FC236}">
                    <a16:creationId xmlns:a16="http://schemas.microsoft.com/office/drawing/2014/main" id="{E3C09AC8-13F0-4F88-9BD2-EDCC73E426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05338" y="2030413"/>
                <a:ext cx="309562" cy="542925"/>
              </a:xfrm>
              <a:custGeom>
                <a:avLst/>
                <a:gdLst>
                  <a:gd name="T0" fmla="*/ 137 w 141"/>
                  <a:gd name="T1" fmla="*/ 53 h 247"/>
                  <a:gd name="T2" fmla="*/ 135 w 141"/>
                  <a:gd name="T3" fmla="*/ 33 h 247"/>
                  <a:gd name="T4" fmla="*/ 118 w 141"/>
                  <a:gd name="T5" fmla="*/ 13 h 247"/>
                  <a:gd name="T6" fmla="*/ 99 w 141"/>
                  <a:gd name="T7" fmla="*/ 12 h 247"/>
                  <a:gd name="T8" fmla="*/ 79 w 141"/>
                  <a:gd name="T9" fmla="*/ 12 h 247"/>
                  <a:gd name="T10" fmla="*/ 68 w 141"/>
                  <a:gd name="T11" fmla="*/ 23 h 247"/>
                  <a:gd name="T12" fmla="*/ 56 w 141"/>
                  <a:gd name="T13" fmla="*/ 37 h 247"/>
                  <a:gd name="T14" fmla="*/ 48 w 141"/>
                  <a:gd name="T15" fmla="*/ 52 h 247"/>
                  <a:gd name="T16" fmla="*/ 37 w 141"/>
                  <a:gd name="T17" fmla="*/ 60 h 247"/>
                  <a:gd name="T18" fmla="*/ 29 w 141"/>
                  <a:gd name="T19" fmla="*/ 85 h 247"/>
                  <a:gd name="T20" fmla="*/ 32 w 141"/>
                  <a:gd name="T21" fmla="*/ 97 h 247"/>
                  <a:gd name="T22" fmla="*/ 13 w 141"/>
                  <a:gd name="T23" fmla="*/ 105 h 247"/>
                  <a:gd name="T24" fmla="*/ 12 w 141"/>
                  <a:gd name="T25" fmla="*/ 128 h 247"/>
                  <a:gd name="T26" fmla="*/ 19 w 141"/>
                  <a:gd name="T27" fmla="*/ 147 h 247"/>
                  <a:gd name="T28" fmla="*/ 15 w 141"/>
                  <a:gd name="T29" fmla="*/ 158 h 247"/>
                  <a:gd name="T30" fmla="*/ 8 w 141"/>
                  <a:gd name="T31" fmla="*/ 171 h 247"/>
                  <a:gd name="T32" fmla="*/ 4 w 141"/>
                  <a:gd name="T33" fmla="*/ 188 h 247"/>
                  <a:gd name="T34" fmla="*/ 0 w 141"/>
                  <a:gd name="T35" fmla="*/ 188 h 247"/>
                  <a:gd name="T36" fmla="*/ 9 w 141"/>
                  <a:gd name="T37" fmla="*/ 211 h 247"/>
                  <a:gd name="T38" fmla="*/ 17 w 141"/>
                  <a:gd name="T39" fmla="*/ 230 h 247"/>
                  <a:gd name="T40" fmla="*/ 21 w 141"/>
                  <a:gd name="T41" fmla="*/ 245 h 247"/>
                  <a:gd name="T42" fmla="*/ 34 w 141"/>
                  <a:gd name="T43" fmla="*/ 238 h 247"/>
                  <a:gd name="T44" fmla="*/ 47 w 141"/>
                  <a:gd name="T45" fmla="*/ 233 h 247"/>
                  <a:gd name="T46" fmla="*/ 57 w 141"/>
                  <a:gd name="T47" fmla="*/ 230 h 247"/>
                  <a:gd name="T48" fmla="*/ 59 w 141"/>
                  <a:gd name="T49" fmla="*/ 220 h 247"/>
                  <a:gd name="T50" fmla="*/ 61 w 141"/>
                  <a:gd name="T51" fmla="*/ 196 h 247"/>
                  <a:gd name="T52" fmla="*/ 78 w 141"/>
                  <a:gd name="T53" fmla="*/ 180 h 247"/>
                  <a:gd name="T54" fmla="*/ 74 w 141"/>
                  <a:gd name="T55" fmla="*/ 159 h 247"/>
                  <a:gd name="T56" fmla="*/ 64 w 141"/>
                  <a:gd name="T57" fmla="*/ 144 h 247"/>
                  <a:gd name="T58" fmla="*/ 71 w 141"/>
                  <a:gd name="T59" fmla="*/ 124 h 247"/>
                  <a:gd name="T60" fmla="*/ 85 w 141"/>
                  <a:gd name="T61" fmla="*/ 110 h 247"/>
                  <a:gd name="T62" fmla="*/ 113 w 141"/>
                  <a:gd name="T63" fmla="*/ 91 h 247"/>
                  <a:gd name="T64" fmla="*/ 116 w 141"/>
                  <a:gd name="T65" fmla="*/ 71 h 247"/>
                  <a:gd name="T66" fmla="*/ 135 w 141"/>
                  <a:gd name="T67" fmla="*/ 64 h 247"/>
                  <a:gd name="T68" fmla="*/ 139 w 141"/>
                  <a:gd name="T69" fmla="*/ 59 h 247"/>
                  <a:gd name="T70" fmla="*/ 75 w 141"/>
                  <a:gd name="T71" fmla="*/ 220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1" h="247">
                    <a:moveTo>
                      <a:pt x="139" y="59"/>
                    </a:moveTo>
                    <a:cubicBezTo>
                      <a:pt x="138" y="57"/>
                      <a:pt x="135" y="53"/>
                      <a:pt x="137" y="53"/>
                    </a:cubicBezTo>
                    <a:cubicBezTo>
                      <a:pt x="140" y="53"/>
                      <a:pt x="141" y="45"/>
                      <a:pt x="138" y="43"/>
                    </a:cubicBezTo>
                    <a:cubicBezTo>
                      <a:pt x="135" y="42"/>
                      <a:pt x="138" y="35"/>
                      <a:pt x="135" y="33"/>
                    </a:cubicBezTo>
                    <a:cubicBezTo>
                      <a:pt x="132" y="31"/>
                      <a:pt x="134" y="26"/>
                      <a:pt x="135" y="22"/>
                    </a:cubicBezTo>
                    <a:cubicBezTo>
                      <a:pt x="135" y="19"/>
                      <a:pt x="124" y="15"/>
                      <a:pt x="118" y="13"/>
                    </a:cubicBezTo>
                    <a:cubicBezTo>
                      <a:pt x="113" y="10"/>
                      <a:pt x="110" y="6"/>
                      <a:pt x="105" y="3"/>
                    </a:cubicBezTo>
                    <a:cubicBezTo>
                      <a:pt x="100" y="0"/>
                      <a:pt x="99" y="7"/>
                      <a:pt x="99" y="12"/>
                    </a:cubicBezTo>
                    <a:cubicBezTo>
                      <a:pt x="99" y="16"/>
                      <a:pt x="94" y="16"/>
                      <a:pt x="91" y="14"/>
                    </a:cubicBezTo>
                    <a:cubicBezTo>
                      <a:pt x="88" y="11"/>
                      <a:pt x="84" y="14"/>
                      <a:pt x="79" y="12"/>
                    </a:cubicBezTo>
                    <a:cubicBezTo>
                      <a:pt x="75" y="10"/>
                      <a:pt x="77" y="16"/>
                      <a:pt x="77" y="20"/>
                    </a:cubicBezTo>
                    <a:cubicBezTo>
                      <a:pt x="77" y="23"/>
                      <a:pt x="71" y="23"/>
                      <a:pt x="68" y="23"/>
                    </a:cubicBezTo>
                    <a:cubicBezTo>
                      <a:pt x="65" y="23"/>
                      <a:pt x="60" y="26"/>
                      <a:pt x="60" y="29"/>
                    </a:cubicBezTo>
                    <a:cubicBezTo>
                      <a:pt x="60" y="33"/>
                      <a:pt x="55" y="35"/>
                      <a:pt x="56" y="37"/>
                    </a:cubicBezTo>
                    <a:cubicBezTo>
                      <a:pt x="58" y="40"/>
                      <a:pt x="56" y="42"/>
                      <a:pt x="54" y="43"/>
                    </a:cubicBezTo>
                    <a:cubicBezTo>
                      <a:pt x="52" y="45"/>
                      <a:pt x="49" y="50"/>
                      <a:pt x="48" y="52"/>
                    </a:cubicBezTo>
                    <a:cubicBezTo>
                      <a:pt x="46" y="53"/>
                      <a:pt x="49" y="56"/>
                      <a:pt x="46" y="58"/>
                    </a:cubicBezTo>
                    <a:cubicBezTo>
                      <a:pt x="42" y="60"/>
                      <a:pt x="39" y="59"/>
                      <a:pt x="37" y="60"/>
                    </a:cubicBezTo>
                    <a:cubicBezTo>
                      <a:pt x="35" y="62"/>
                      <a:pt x="37" y="66"/>
                      <a:pt x="37" y="71"/>
                    </a:cubicBezTo>
                    <a:cubicBezTo>
                      <a:pt x="36" y="75"/>
                      <a:pt x="32" y="81"/>
                      <a:pt x="29" y="85"/>
                    </a:cubicBezTo>
                    <a:cubicBezTo>
                      <a:pt x="26" y="89"/>
                      <a:pt x="30" y="90"/>
                      <a:pt x="32" y="91"/>
                    </a:cubicBezTo>
                    <a:cubicBezTo>
                      <a:pt x="33" y="91"/>
                      <a:pt x="33" y="94"/>
                      <a:pt x="32" y="97"/>
                    </a:cubicBezTo>
                    <a:cubicBezTo>
                      <a:pt x="30" y="101"/>
                      <a:pt x="26" y="98"/>
                      <a:pt x="24" y="98"/>
                    </a:cubicBezTo>
                    <a:cubicBezTo>
                      <a:pt x="22" y="97"/>
                      <a:pt x="16" y="100"/>
                      <a:pt x="13" y="105"/>
                    </a:cubicBezTo>
                    <a:cubicBezTo>
                      <a:pt x="10" y="111"/>
                      <a:pt x="11" y="114"/>
                      <a:pt x="12" y="117"/>
                    </a:cubicBezTo>
                    <a:cubicBezTo>
                      <a:pt x="13" y="119"/>
                      <a:pt x="9" y="123"/>
                      <a:pt x="12" y="128"/>
                    </a:cubicBezTo>
                    <a:cubicBezTo>
                      <a:pt x="15" y="133"/>
                      <a:pt x="11" y="134"/>
                      <a:pt x="11" y="139"/>
                    </a:cubicBezTo>
                    <a:cubicBezTo>
                      <a:pt x="12" y="143"/>
                      <a:pt x="18" y="142"/>
                      <a:pt x="19" y="147"/>
                    </a:cubicBezTo>
                    <a:cubicBezTo>
                      <a:pt x="19" y="151"/>
                      <a:pt x="17" y="153"/>
                      <a:pt x="15" y="153"/>
                    </a:cubicBezTo>
                    <a:cubicBezTo>
                      <a:pt x="12" y="153"/>
                      <a:pt x="13" y="157"/>
                      <a:pt x="15" y="158"/>
                    </a:cubicBezTo>
                    <a:cubicBezTo>
                      <a:pt x="17" y="159"/>
                      <a:pt x="17" y="166"/>
                      <a:pt x="16" y="169"/>
                    </a:cubicBezTo>
                    <a:cubicBezTo>
                      <a:pt x="15" y="171"/>
                      <a:pt x="8" y="169"/>
                      <a:pt x="8" y="171"/>
                    </a:cubicBezTo>
                    <a:cubicBezTo>
                      <a:pt x="9" y="174"/>
                      <a:pt x="7" y="178"/>
                      <a:pt x="7" y="180"/>
                    </a:cubicBezTo>
                    <a:cubicBezTo>
                      <a:pt x="7" y="183"/>
                      <a:pt x="6" y="189"/>
                      <a:pt x="4" y="188"/>
                    </a:cubicBezTo>
                    <a:cubicBezTo>
                      <a:pt x="3" y="187"/>
                      <a:pt x="2" y="187"/>
                      <a:pt x="0" y="187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93"/>
                      <a:pt x="2" y="197"/>
                      <a:pt x="5" y="200"/>
                    </a:cubicBezTo>
                    <a:cubicBezTo>
                      <a:pt x="9" y="203"/>
                      <a:pt x="6" y="207"/>
                      <a:pt x="9" y="211"/>
                    </a:cubicBezTo>
                    <a:cubicBezTo>
                      <a:pt x="13" y="216"/>
                      <a:pt x="12" y="219"/>
                      <a:pt x="15" y="222"/>
                    </a:cubicBezTo>
                    <a:cubicBezTo>
                      <a:pt x="19" y="225"/>
                      <a:pt x="19" y="226"/>
                      <a:pt x="17" y="230"/>
                    </a:cubicBezTo>
                    <a:cubicBezTo>
                      <a:pt x="16" y="234"/>
                      <a:pt x="20" y="233"/>
                      <a:pt x="21" y="235"/>
                    </a:cubicBezTo>
                    <a:cubicBezTo>
                      <a:pt x="21" y="238"/>
                      <a:pt x="20" y="242"/>
                      <a:pt x="21" y="245"/>
                    </a:cubicBezTo>
                    <a:cubicBezTo>
                      <a:pt x="22" y="247"/>
                      <a:pt x="24" y="245"/>
                      <a:pt x="30" y="245"/>
                    </a:cubicBezTo>
                    <a:cubicBezTo>
                      <a:pt x="35" y="244"/>
                      <a:pt x="34" y="241"/>
                      <a:pt x="34" y="238"/>
                    </a:cubicBezTo>
                    <a:cubicBezTo>
                      <a:pt x="34" y="235"/>
                      <a:pt x="37" y="236"/>
                      <a:pt x="37" y="234"/>
                    </a:cubicBezTo>
                    <a:cubicBezTo>
                      <a:pt x="38" y="232"/>
                      <a:pt x="43" y="232"/>
                      <a:pt x="47" y="233"/>
                    </a:cubicBezTo>
                    <a:cubicBezTo>
                      <a:pt x="50" y="235"/>
                      <a:pt x="52" y="232"/>
                      <a:pt x="53" y="228"/>
                    </a:cubicBezTo>
                    <a:cubicBezTo>
                      <a:pt x="54" y="224"/>
                      <a:pt x="56" y="229"/>
                      <a:pt x="57" y="230"/>
                    </a:cubicBezTo>
                    <a:cubicBezTo>
                      <a:pt x="58" y="231"/>
                      <a:pt x="62" y="224"/>
                      <a:pt x="63" y="219"/>
                    </a:cubicBezTo>
                    <a:cubicBezTo>
                      <a:pt x="65" y="215"/>
                      <a:pt x="63" y="216"/>
                      <a:pt x="59" y="220"/>
                    </a:cubicBezTo>
                    <a:cubicBezTo>
                      <a:pt x="56" y="224"/>
                      <a:pt x="58" y="216"/>
                      <a:pt x="59" y="212"/>
                    </a:cubicBezTo>
                    <a:cubicBezTo>
                      <a:pt x="61" y="209"/>
                      <a:pt x="61" y="198"/>
                      <a:pt x="61" y="196"/>
                    </a:cubicBezTo>
                    <a:cubicBezTo>
                      <a:pt x="62" y="194"/>
                      <a:pt x="63" y="190"/>
                      <a:pt x="67" y="189"/>
                    </a:cubicBezTo>
                    <a:cubicBezTo>
                      <a:pt x="72" y="188"/>
                      <a:pt x="79" y="182"/>
                      <a:pt x="78" y="180"/>
                    </a:cubicBezTo>
                    <a:cubicBezTo>
                      <a:pt x="77" y="177"/>
                      <a:pt x="84" y="173"/>
                      <a:pt x="84" y="171"/>
                    </a:cubicBezTo>
                    <a:cubicBezTo>
                      <a:pt x="84" y="168"/>
                      <a:pt x="76" y="160"/>
                      <a:pt x="74" y="159"/>
                    </a:cubicBezTo>
                    <a:cubicBezTo>
                      <a:pt x="71" y="157"/>
                      <a:pt x="65" y="158"/>
                      <a:pt x="66" y="157"/>
                    </a:cubicBezTo>
                    <a:cubicBezTo>
                      <a:pt x="66" y="155"/>
                      <a:pt x="65" y="148"/>
                      <a:pt x="64" y="144"/>
                    </a:cubicBezTo>
                    <a:cubicBezTo>
                      <a:pt x="64" y="140"/>
                      <a:pt x="68" y="136"/>
                      <a:pt x="68" y="133"/>
                    </a:cubicBezTo>
                    <a:cubicBezTo>
                      <a:pt x="68" y="129"/>
                      <a:pt x="68" y="125"/>
                      <a:pt x="71" y="124"/>
                    </a:cubicBezTo>
                    <a:cubicBezTo>
                      <a:pt x="75" y="123"/>
                      <a:pt x="73" y="120"/>
                      <a:pt x="77" y="119"/>
                    </a:cubicBezTo>
                    <a:cubicBezTo>
                      <a:pt x="81" y="118"/>
                      <a:pt x="80" y="112"/>
                      <a:pt x="85" y="110"/>
                    </a:cubicBezTo>
                    <a:cubicBezTo>
                      <a:pt x="89" y="108"/>
                      <a:pt x="89" y="107"/>
                      <a:pt x="95" y="104"/>
                    </a:cubicBezTo>
                    <a:cubicBezTo>
                      <a:pt x="101" y="101"/>
                      <a:pt x="111" y="95"/>
                      <a:pt x="113" y="91"/>
                    </a:cubicBezTo>
                    <a:cubicBezTo>
                      <a:pt x="114" y="88"/>
                      <a:pt x="107" y="84"/>
                      <a:pt x="111" y="80"/>
                    </a:cubicBezTo>
                    <a:cubicBezTo>
                      <a:pt x="116" y="77"/>
                      <a:pt x="112" y="72"/>
                      <a:pt x="116" y="71"/>
                    </a:cubicBezTo>
                    <a:cubicBezTo>
                      <a:pt x="119" y="70"/>
                      <a:pt x="121" y="68"/>
                      <a:pt x="123" y="65"/>
                    </a:cubicBezTo>
                    <a:cubicBezTo>
                      <a:pt x="126" y="63"/>
                      <a:pt x="129" y="65"/>
                      <a:pt x="135" y="64"/>
                    </a:cubicBezTo>
                    <a:cubicBezTo>
                      <a:pt x="137" y="64"/>
                      <a:pt x="139" y="64"/>
                      <a:pt x="141" y="64"/>
                    </a:cubicBezTo>
                    <a:cubicBezTo>
                      <a:pt x="141" y="62"/>
                      <a:pt x="140" y="60"/>
                      <a:pt x="139" y="59"/>
                    </a:cubicBezTo>
                    <a:close/>
                    <a:moveTo>
                      <a:pt x="83" y="205"/>
                    </a:moveTo>
                    <a:cubicBezTo>
                      <a:pt x="77" y="206"/>
                      <a:pt x="74" y="218"/>
                      <a:pt x="75" y="220"/>
                    </a:cubicBezTo>
                    <a:cubicBezTo>
                      <a:pt x="77" y="222"/>
                      <a:pt x="89" y="205"/>
                      <a:pt x="83" y="20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3" name="Freeform 141">
                <a:extLst>
                  <a:ext uri="{FF2B5EF4-FFF2-40B4-BE49-F238E27FC236}">
                    <a16:creationId xmlns:a16="http://schemas.microsoft.com/office/drawing/2014/main" id="{148E7C89-3BD8-4EE7-8EFA-CA0BF906A2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9338" y="2414588"/>
                <a:ext cx="157162" cy="74613"/>
              </a:xfrm>
              <a:custGeom>
                <a:avLst/>
                <a:gdLst>
                  <a:gd name="T0" fmla="*/ 66 w 71"/>
                  <a:gd name="T1" fmla="*/ 9 h 34"/>
                  <a:gd name="T2" fmla="*/ 68 w 71"/>
                  <a:gd name="T3" fmla="*/ 2 h 34"/>
                  <a:gd name="T4" fmla="*/ 66 w 71"/>
                  <a:gd name="T5" fmla="*/ 3 h 34"/>
                  <a:gd name="T6" fmla="*/ 44 w 71"/>
                  <a:gd name="T7" fmla="*/ 1 h 34"/>
                  <a:gd name="T8" fmla="*/ 23 w 71"/>
                  <a:gd name="T9" fmla="*/ 5 h 34"/>
                  <a:gd name="T10" fmla="*/ 17 w 71"/>
                  <a:gd name="T11" fmla="*/ 11 h 34"/>
                  <a:gd name="T12" fmla="*/ 19 w 71"/>
                  <a:gd name="T13" fmla="*/ 19 h 34"/>
                  <a:gd name="T14" fmla="*/ 26 w 71"/>
                  <a:gd name="T15" fmla="*/ 22 h 34"/>
                  <a:gd name="T16" fmla="*/ 28 w 71"/>
                  <a:gd name="T17" fmla="*/ 27 h 34"/>
                  <a:gd name="T18" fmla="*/ 28 w 71"/>
                  <a:gd name="T19" fmla="*/ 27 h 34"/>
                  <a:gd name="T20" fmla="*/ 40 w 71"/>
                  <a:gd name="T21" fmla="*/ 27 h 34"/>
                  <a:gd name="T22" fmla="*/ 51 w 71"/>
                  <a:gd name="T23" fmla="*/ 34 h 34"/>
                  <a:gd name="T24" fmla="*/ 62 w 71"/>
                  <a:gd name="T25" fmla="*/ 34 h 34"/>
                  <a:gd name="T26" fmla="*/ 62 w 71"/>
                  <a:gd name="T27" fmla="*/ 31 h 34"/>
                  <a:gd name="T28" fmla="*/ 65 w 71"/>
                  <a:gd name="T29" fmla="*/ 27 h 34"/>
                  <a:gd name="T30" fmla="*/ 63 w 71"/>
                  <a:gd name="T31" fmla="*/ 21 h 34"/>
                  <a:gd name="T32" fmla="*/ 62 w 71"/>
                  <a:gd name="T33" fmla="*/ 15 h 34"/>
                  <a:gd name="T34" fmla="*/ 66 w 71"/>
                  <a:gd name="T35" fmla="*/ 9 h 34"/>
                  <a:gd name="T36" fmla="*/ 7 w 71"/>
                  <a:gd name="T37" fmla="*/ 17 h 34"/>
                  <a:gd name="T38" fmla="*/ 2 w 71"/>
                  <a:gd name="T39" fmla="*/ 27 h 34"/>
                  <a:gd name="T40" fmla="*/ 14 w 71"/>
                  <a:gd name="T41" fmla="*/ 19 h 34"/>
                  <a:gd name="T42" fmla="*/ 7 w 71"/>
                  <a:gd name="T43" fmla="*/ 17 h 34"/>
                  <a:gd name="T44" fmla="*/ 12 w 71"/>
                  <a:gd name="T45" fmla="*/ 12 h 34"/>
                  <a:gd name="T46" fmla="*/ 5 w 71"/>
                  <a:gd name="T47" fmla="*/ 13 h 34"/>
                  <a:gd name="T48" fmla="*/ 12 w 71"/>
                  <a:gd name="T4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1" h="34">
                    <a:moveTo>
                      <a:pt x="66" y="9"/>
                    </a:moveTo>
                    <a:cubicBezTo>
                      <a:pt x="67" y="6"/>
                      <a:pt x="71" y="6"/>
                      <a:pt x="68" y="2"/>
                    </a:cubicBezTo>
                    <a:cubicBezTo>
                      <a:pt x="68" y="2"/>
                      <a:pt x="67" y="3"/>
                      <a:pt x="66" y="3"/>
                    </a:cubicBezTo>
                    <a:cubicBezTo>
                      <a:pt x="61" y="4"/>
                      <a:pt x="50" y="0"/>
                      <a:pt x="44" y="1"/>
                    </a:cubicBezTo>
                    <a:cubicBezTo>
                      <a:pt x="38" y="2"/>
                      <a:pt x="26" y="2"/>
                      <a:pt x="23" y="5"/>
                    </a:cubicBezTo>
                    <a:cubicBezTo>
                      <a:pt x="21" y="8"/>
                      <a:pt x="13" y="9"/>
                      <a:pt x="17" y="11"/>
                    </a:cubicBezTo>
                    <a:cubicBezTo>
                      <a:pt x="20" y="14"/>
                      <a:pt x="17" y="15"/>
                      <a:pt x="19" y="19"/>
                    </a:cubicBezTo>
                    <a:cubicBezTo>
                      <a:pt x="21" y="22"/>
                      <a:pt x="22" y="23"/>
                      <a:pt x="26" y="22"/>
                    </a:cubicBezTo>
                    <a:cubicBezTo>
                      <a:pt x="29" y="22"/>
                      <a:pt x="31" y="23"/>
                      <a:pt x="28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33" y="27"/>
                      <a:pt x="39" y="26"/>
                      <a:pt x="40" y="27"/>
                    </a:cubicBezTo>
                    <a:cubicBezTo>
                      <a:pt x="41" y="28"/>
                      <a:pt x="49" y="34"/>
                      <a:pt x="51" y="34"/>
                    </a:cubicBezTo>
                    <a:cubicBezTo>
                      <a:pt x="52" y="33"/>
                      <a:pt x="58" y="34"/>
                      <a:pt x="62" y="34"/>
                    </a:cubicBezTo>
                    <a:cubicBezTo>
                      <a:pt x="61" y="33"/>
                      <a:pt x="62" y="32"/>
                      <a:pt x="62" y="31"/>
                    </a:cubicBezTo>
                    <a:cubicBezTo>
                      <a:pt x="64" y="30"/>
                      <a:pt x="67" y="30"/>
                      <a:pt x="65" y="27"/>
                    </a:cubicBezTo>
                    <a:cubicBezTo>
                      <a:pt x="64" y="25"/>
                      <a:pt x="63" y="24"/>
                      <a:pt x="63" y="21"/>
                    </a:cubicBezTo>
                    <a:cubicBezTo>
                      <a:pt x="63" y="18"/>
                      <a:pt x="62" y="17"/>
                      <a:pt x="62" y="15"/>
                    </a:cubicBezTo>
                    <a:cubicBezTo>
                      <a:pt x="62" y="13"/>
                      <a:pt x="64" y="12"/>
                      <a:pt x="66" y="9"/>
                    </a:cubicBezTo>
                    <a:close/>
                    <a:moveTo>
                      <a:pt x="7" y="17"/>
                    </a:moveTo>
                    <a:cubicBezTo>
                      <a:pt x="1" y="19"/>
                      <a:pt x="0" y="27"/>
                      <a:pt x="2" y="27"/>
                    </a:cubicBezTo>
                    <a:cubicBezTo>
                      <a:pt x="5" y="27"/>
                      <a:pt x="12" y="21"/>
                      <a:pt x="14" y="19"/>
                    </a:cubicBezTo>
                    <a:cubicBezTo>
                      <a:pt x="16" y="18"/>
                      <a:pt x="13" y="16"/>
                      <a:pt x="7" y="17"/>
                    </a:cubicBezTo>
                    <a:close/>
                    <a:moveTo>
                      <a:pt x="12" y="12"/>
                    </a:moveTo>
                    <a:cubicBezTo>
                      <a:pt x="13" y="10"/>
                      <a:pt x="2" y="11"/>
                      <a:pt x="5" y="13"/>
                    </a:cubicBezTo>
                    <a:cubicBezTo>
                      <a:pt x="7" y="15"/>
                      <a:pt x="11" y="15"/>
                      <a:pt x="12" y="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4" name="Freeform 142">
                <a:extLst>
                  <a:ext uri="{FF2B5EF4-FFF2-40B4-BE49-F238E27FC236}">
                    <a16:creationId xmlns:a16="http://schemas.microsoft.com/office/drawing/2014/main" id="{53071CDD-B72D-4D10-8374-E7C979A24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263" y="3990975"/>
                <a:ext cx="196850" cy="241300"/>
              </a:xfrm>
              <a:custGeom>
                <a:avLst/>
                <a:gdLst>
                  <a:gd name="T0" fmla="*/ 80 w 90"/>
                  <a:gd name="T1" fmla="*/ 25 h 110"/>
                  <a:gd name="T2" fmla="*/ 85 w 90"/>
                  <a:gd name="T3" fmla="*/ 17 h 110"/>
                  <a:gd name="T4" fmla="*/ 90 w 90"/>
                  <a:gd name="T5" fmla="*/ 9 h 110"/>
                  <a:gd name="T6" fmla="*/ 85 w 90"/>
                  <a:gd name="T7" fmla="*/ 11 h 110"/>
                  <a:gd name="T8" fmla="*/ 79 w 90"/>
                  <a:gd name="T9" fmla="*/ 9 h 110"/>
                  <a:gd name="T10" fmla="*/ 69 w 90"/>
                  <a:gd name="T11" fmla="*/ 11 h 110"/>
                  <a:gd name="T12" fmla="*/ 62 w 90"/>
                  <a:gd name="T13" fmla="*/ 17 h 110"/>
                  <a:gd name="T14" fmla="*/ 49 w 90"/>
                  <a:gd name="T15" fmla="*/ 14 h 110"/>
                  <a:gd name="T16" fmla="*/ 36 w 90"/>
                  <a:gd name="T17" fmla="*/ 7 h 110"/>
                  <a:gd name="T18" fmla="*/ 24 w 90"/>
                  <a:gd name="T19" fmla="*/ 5 h 110"/>
                  <a:gd name="T20" fmla="*/ 18 w 90"/>
                  <a:gd name="T21" fmla="*/ 1 h 110"/>
                  <a:gd name="T22" fmla="*/ 11 w 90"/>
                  <a:gd name="T23" fmla="*/ 1 h 110"/>
                  <a:gd name="T24" fmla="*/ 2 w 90"/>
                  <a:gd name="T25" fmla="*/ 7 h 110"/>
                  <a:gd name="T26" fmla="*/ 1 w 90"/>
                  <a:gd name="T27" fmla="*/ 9 h 110"/>
                  <a:gd name="T28" fmla="*/ 6 w 90"/>
                  <a:gd name="T29" fmla="*/ 13 h 110"/>
                  <a:gd name="T30" fmla="*/ 7 w 90"/>
                  <a:gd name="T31" fmla="*/ 21 h 110"/>
                  <a:gd name="T32" fmla="*/ 12 w 90"/>
                  <a:gd name="T33" fmla="*/ 25 h 110"/>
                  <a:gd name="T34" fmla="*/ 11 w 90"/>
                  <a:gd name="T35" fmla="*/ 35 h 110"/>
                  <a:gd name="T36" fmla="*/ 3 w 90"/>
                  <a:gd name="T37" fmla="*/ 48 h 110"/>
                  <a:gd name="T38" fmla="*/ 0 w 90"/>
                  <a:gd name="T39" fmla="*/ 55 h 110"/>
                  <a:gd name="T40" fmla="*/ 8 w 90"/>
                  <a:gd name="T41" fmla="*/ 59 h 110"/>
                  <a:gd name="T42" fmla="*/ 0 w 90"/>
                  <a:gd name="T43" fmla="*/ 66 h 110"/>
                  <a:gd name="T44" fmla="*/ 0 w 90"/>
                  <a:gd name="T45" fmla="*/ 67 h 110"/>
                  <a:gd name="T46" fmla="*/ 42 w 90"/>
                  <a:gd name="T47" fmla="*/ 90 h 110"/>
                  <a:gd name="T48" fmla="*/ 42 w 90"/>
                  <a:gd name="T49" fmla="*/ 97 h 110"/>
                  <a:gd name="T50" fmla="*/ 60 w 90"/>
                  <a:gd name="T51" fmla="*/ 110 h 110"/>
                  <a:gd name="T52" fmla="*/ 72 w 90"/>
                  <a:gd name="T53" fmla="*/ 86 h 110"/>
                  <a:gd name="T54" fmla="*/ 79 w 90"/>
                  <a:gd name="T55" fmla="*/ 80 h 110"/>
                  <a:gd name="T56" fmla="*/ 85 w 90"/>
                  <a:gd name="T57" fmla="*/ 76 h 110"/>
                  <a:gd name="T58" fmla="*/ 86 w 90"/>
                  <a:gd name="T59" fmla="*/ 75 h 110"/>
                  <a:gd name="T60" fmla="*/ 80 w 90"/>
                  <a:gd name="T61" fmla="*/ 66 h 110"/>
                  <a:gd name="T62" fmla="*/ 80 w 90"/>
                  <a:gd name="T63" fmla="*/ 2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0" h="110">
                    <a:moveTo>
                      <a:pt x="80" y="25"/>
                    </a:moveTo>
                    <a:cubicBezTo>
                      <a:pt x="85" y="17"/>
                      <a:pt x="85" y="17"/>
                      <a:pt x="85" y="17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88" y="10"/>
                      <a:pt x="85" y="11"/>
                      <a:pt x="85" y="11"/>
                    </a:cubicBezTo>
                    <a:cubicBezTo>
                      <a:pt x="83" y="12"/>
                      <a:pt x="80" y="10"/>
                      <a:pt x="79" y="9"/>
                    </a:cubicBezTo>
                    <a:cubicBezTo>
                      <a:pt x="78" y="7"/>
                      <a:pt x="73" y="8"/>
                      <a:pt x="69" y="11"/>
                    </a:cubicBezTo>
                    <a:cubicBezTo>
                      <a:pt x="65" y="13"/>
                      <a:pt x="63" y="18"/>
                      <a:pt x="62" y="17"/>
                    </a:cubicBezTo>
                    <a:cubicBezTo>
                      <a:pt x="60" y="16"/>
                      <a:pt x="51" y="14"/>
                      <a:pt x="49" y="14"/>
                    </a:cubicBezTo>
                    <a:cubicBezTo>
                      <a:pt x="46" y="14"/>
                      <a:pt x="38" y="9"/>
                      <a:pt x="36" y="7"/>
                    </a:cubicBezTo>
                    <a:cubicBezTo>
                      <a:pt x="33" y="5"/>
                      <a:pt x="26" y="6"/>
                      <a:pt x="24" y="5"/>
                    </a:cubicBezTo>
                    <a:cubicBezTo>
                      <a:pt x="23" y="4"/>
                      <a:pt x="19" y="3"/>
                      <a:pt x="18" y="1"/>
                    </a:cubicBezTo>
                    <a:cubicBezTo>
                      <a:pt x="17" y="0"/>
                      <a:pt x="14" y="0"/>
                      <a:pt x="11" y="1"/>
                    </a:cubicBezTo>
                    <a:cubicBezTo>
                      <a:pt x="9" y="1"/>
                      <a:pt x="3" y="5"/>
                      <a:pt x="2" y="7"/>
                    </a:cubicBezTo>
                    <a:cubicBezTo>
                      <a:pt x="2" y="7"/>
                      <a:pt x="1" y="8"/>
                      <a:pt x="1" y="9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5"/>
                      <a:pt x="12" y="30"/>
                      <a:pt x="11" y="35"/>
                    </a:cubicBezTo>
                    <a:cubicBezTo>
                      <a:pt x="10" y="39"/>
                      <a:pt x="6" y="45"/>
                      <a:pt x="3" y="48"/>
                    </a:cubicBezTo>
                    <a:cubicBezTo>
                      <a:pt x="3" y="49"/>
                      <a:pt x="1" y="51"/>
                      <a:pt x="0" y="55"/>
                    </a:cubicBezTo>
                    <a:cubicBezTo>
                      <a:pt x="5" y="56"/>
                      <a:pt x="8" y="58"/>
                      <a:pt x="8" y="59"/>
                    </a:cubicBezTo>
                    <a:cubicBezTo>
                      <a:pt x="7" y="62"/>
                      <a:pt x="0" y="60"/>
                      <a:pt x="0" y="66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42" y="97"/>
                      <a:pt x="42" y="97"/>
                      <a:pt x="42" y="97"/>
                    </a:cubicBezTo>
                    <a:cubicBezTo>
                      <a:pt x="42" y="97"/>
                      <a:pt x="51" y="104"/>
                      <a:pt x="60" y="110"/>
                    </a:cubicBezTo>
                    <a:cubicBezTo>
                      <a:pt x="65" y="100"/>
                      <a:pt x="70" y="88"/>
                      <a:pt x="72" y="86"/>
                    </a:cubicBezTo>
                    <a:cubicBezTo>
                      <a:pt x="74" y="82"/>
                      <a:pt x="77" y="83"/>
                      <a:pt x="79" y="80"/>
                    </a:cubicBezTo>
                    <a:cubicBezTo>
                      <a:pt x="81" y="77"/>
                      <a:pt x="82" y="81"/>
                      <a:pt x="85" y="76"/>
                    </a:cubicBezTo>
                    <a:cubicBezTo>
                      <a:pt x="85" y="76"/>
                      <a:pt x="85" y="75"/>
                      <a:pt x="86" y="75"/>
                    </a:cubicBezTo>
                    <a:cubicBezTo>
                      <a:pt x="80" y="66"/>
                      <a:pt x="80" y="66"/>
                      <a:pt x="80" y="66"/>
                    </a:cubicBezTo>
                    <a:lnTo>
                      <a:pt x="80" y="25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5" name="Freeform 143">
                <a:extLst>
                  <a:ext uri="{FF2B5EF4-FFF2-40B4-BE49-F238E27FC236}">
                    <a16:creationId xmlns:a16="http://schemas.microsoft.com/office/drawing/2014/main" id="{18589314-D11C-4C05-BC05-82BA3518B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138" y="4010025"/>
                <a:ext cx="136525" cy="138113"/>
              </a:xfrm>
              <a:custGeom>
                <a:avLst/>
                <a:gdLst>
                  <a:gd name="T0" fmla="*/ 57 w 62"/>
                  <a:gd name="T1" fmla="*/ 12 h 63"/>
                  <a:gd name="T2" fmla="*/ 56 w 62"/>
                  <a:gd name="T3" fmla="*/ 4 h 63"/>
                  <a:gd name="T4" fmla="*/ 51 w 62"/>
                  <a:gd name="T5" fmla="*/ 0 h 63"/>
                  <a:gd name="T6" fmla="*/ 47 w 62"/>
                  <a:gd name="T7" fmla="*/ 3 h 63"/>
                  <a:gd name="T8" fmla="*/ 40 w 62"/>
                  <a:gd name="T9" fmla="*/ 4 h 63"/>
                  <a:gd name="T10" fmla="*/ 32 w 62"/>
                  <a:gd name="T11" fmla="*/ 6 h 63"/>
                  <a:gd name="T12" fmla="*/ 25 w 62"/>
                  <a:gd name="T13" fmla="*/ 4 h 63"/>
                  <a:gd name="T14" fmla="*/ 16 w 62"/>
                  <a:gd name="T15" fmla="*/ 6 h 63"/>
                  <a:gd name="T16" fmla="*/ 15 w 62"/>
                  <a:gd name="T17" fmla="*/ 16 h 63"/>
                  <a:gd name="T18" fmla="*/ 19 w 62"/>
                  <a:gd name="T19" fmla="*/ 22 h 63"/>
                  <a:gd name="T20" fmla="*/ 16 w 62"/>
                  <a:gd name="T21" fmla="*/ 27 h 63"/>
                  <a:gd name="T22" fmla="*/ 11 w 62"/>
                  <a:gd name="T23" fmla="*/ 31 h 63"/>
                  <a:gd name="T24" fmla="*/ 7 w 62"/>
                  <a:gd name="T25" fmla="*/ 37 h 63"/>
                  <a:gd name="T26" fmla="*/ 4 w 62"/>
                  <a:gd name="T27" fmla="*/ 45 h 63"/>
                  <a:gd name="T28" fmla="*/ 2 w 62"/>
                  <a:gd name="T29" fmla="*/ 55 h 63"/>
                  <a:gd name="T30" fmla="*/ 0 w 62"/>
                  <a:gd name="T31" fmla="*/ 63 h 63"/>
                  <a:gd name="T32" fmla="*/ 6 w 62"/>
                  <a:gd name="T33" fmla="*/ 62 h 63"/>
                  <a:gd name="T34" fmla="*/ 17 w 62"/>
                  <a:gd name="T35" fmla="*/ 58 h 63"/>
                  <a:gd name="T36" fmla="*/ 27 w 62"/>
                  <a:gd name="T37" fmla="*/ 58 h 63"/>
                  <a:gd name="T38" fmla="*/ 35 w 62"/>
                  <a:gd name="T39" fmla="*/ 45 h 63"/>
                  <a:gd name="T40" fmla="*/ 50 w 62"/>
                  <a:gd name="T41" fmla="*/ 46 h 63"/>
                  <a:gd name="T42" fmla="*/ 53 w 62"/>
                  <a:gd name="T43" fmla="*/ 39 h 63"/>
                  <a:gd name="T44" fmla="*/ 61 w 62"/>
                  <a:gd name="T45" fmla="*/ 26 h 63"/>
                  <a:gd name="T46" fmla="*/ 62 w 62"/>
                  <a:gd name="T47" fmla="*/ 16 h 63"/>
                  <a:gd name="T48" fmla="*/ 57 w 62"/>
                  <a:gd name="T49" fmla="*/ 1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2" h="63">
                    <a:moveTo>
                      <a:pt x="57" y="12"/>
                    </a:moveTo>
                    <a:cubicBezTo>
                      <a:pt x="56" y="4"/>
                      <a:pt x="56" y="4"/>
                      <a:pt x="56" y="4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9" y="1"/>
                      <a:pt x="47" y="2"/>
                      <a:pt x="47" y="3"/>
                    </a:cubicBezTo>
                    <a:cubicBezTo>
                      <a:pt x="47" y="5"/>
                      <a:pt x="42" y="5"/>
                      <a:pt x="40" y="4"/>
                    </a:cubicBezTo>
                    <a:cubicBezTo>
                      <a:pt x="38" y="3"/>
                      <a:pt x="33" y="5"/>
                      <a:pt x="32" y="6"/>
                    </a:cubicBezTo>
                    <a:cubicBezTo>
                      <a:pt x="31" y="8"/>
                      <a:pt x="27" y="4"/>
                      <a:pt x="25" y="4"/>
                    </a:cubicBezTo>
                    <a:cubicBezTo>
                      <a:pt x="22" y="4"/>
                      <a:pt x="16" y="6"/>
                      <a:pt x="16" y="6"/>
                    </a:cubicBezTo>
                    <a:cubicBezTo>
                      <a:pt x="16" y="6"/>
                      <a:pt x="15" y="13"/>
                      <a:pt x="15" y="16"/>
                    </a:cubicBezTo>
                    <a:cubicBezTo>
                      <a:pt x="15" y="19"/>
                      <a:pt x="19" y="19"/>
                      <a:pt x="19" y="22"/>
                    </a:cubicBezTo>
                    <a:cubicBezTo>
                      <a:pt x="19" y="24"/>
                      <a:pt x="16" y="26"/>
                      <a:pt x="16" y="27"/>
                    </a:cubicBezTo>
                    <a:cubicBezTo>
                      <a:pt x="15" y="29"/>
                      <a:pt x="13" y="30"/>
                      <a:pt x="11" y="31"/>
                    </a:cubicBezTo>
                    <a:cubicBezTo>
                      <a:pt x="8" y="31"/>
                      <a:pt x="9" y="35"/>
                      <a:pt x="7" y="37"/>
                    </a:cubicBezTo>
                    <a:cubicBezTo>
                      <a:pt x="5" y="38"/>
                      <a:pt x="5" y="42"/>
                      <a:pt x="4" y="45"/>
                    </a:cubicBezTo>
                    <a:cubicBezTo>
                      <a:pt x="3" y="48"/>
                      <a:pt x="2" y="51"/>
                      <a:pt x="2" y="55"/>
                    </a:cubicBezTo>
                    <a:cubicBezTo>
                      <a:pt x="2" y="57"/>
                      <a:pt x="2" y="61"/>
                      <a:pt x="0" y="63"/>
                    </a:cubicBezTo>
                    <a:cubicBezTo>
                      <a:pt x="3" y="63"/>
                      <a:pt x="4" y="63"/>
                      <a:pt x="6" y="62"/>
                    </a:cubicBezTo>
                    <a:cubicBezTo>
                      <a:pt x="8" y="61"/>
                      <a:pt x="17" y="58"/>
                      <a:pt x="17" y="58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9" y="52"/>
                      <a:pt x="32" y="46"/>
                      <a:pt x="35" y="45"/>
                    </a:cubicBezTo>
                    <a:cubicBezTo>
                      <a:pt x="39" y="44"/>
                      <a:pt x="45" y="45"/>
                      <a:pt x="50" y="46"/>
                    </a:cubicBezTo>
                    <a:cubicBezTo>
                      <a:pt x="51" y="42"/>
                      <a:pt x="53" y="40"/>
                      <a:pt x="53" y="39"/>
                    </a:cubicBezTo>
                    <a:cubicBezTo>
                      <a:pt x="56" y="36"/>
                      <a:pt x="60" y="30"/>
                      <a:pt x="61" y="26"/>
                    </a:cubicBezTo>
                    <a:cubicBezTo>
                      <a:pt x="62" y="21"/>
                      <a:pt x="62" y="16"/>
                      <a:pt x="62" y="16"/>
                    </a:cubicBezTo>
                    <a:lnTo>
                      <a:pt x="57" y="12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6" name="Freeform 144">
                <a:extLst>
                  <a:ext uri="{FF2B5EF4-FFF2-40B4-BE49-F238E27FC236}">
                    <a16:creationId xmlns:a16="http://schemas.microsoft.com/office/drawing/2014/main" id="{57F7B9D5-AA8D-495D-A00B-C54A0F036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894013"/>
                <a:ext cx="436562" cy="255588"/>
              </a:xfrm>
              <a:custGeom>
                <a:avLst/>
                <a:gdLst>
                  <a:gd name="T0" fmla="*/ 194 w 199"/>
                  <a:gd name="T1" fmla="*/ 66 h 117"/>
                  <a:gd name="T2" fmla="*/ 178 w 199"/>
                  <a:gd name="T3" fmla="*/ 58 h 117"/>
                  <a:gd name="T4" fmla="*/ 169 w 199"/>
                  <a:gd name="T5" fmla="*/ 59 h 117"/>
                  <a:gd name="T6" fmla="*/ 159 w 199"/>
                  <a:gd name="T7" fmla="*/ 56 h 117"/>
                  <a:gd name="T8" fmla="*/ 147 w 199"/>
                  <a:gd name="T9" fmla="*/ 65 h 117"/>
                  <a:gd name="T10" fmla="*/ 142 w 199"/>
                  <a:gd name="T11" fmla="*/ 66 h 117"/>
                  <a:gd name="T12" fmla="*/ 132 w 199"/>
                  <a:gd name="T13" fmla="*/ 61 h 117"/>
                  <a:gd name="T14" fmla="*/ 123 w 199"/>
                  <a:gd name="T15" fmla="*/ 58 h 117"/>
                  <a:gd name="T16" fmla="*/ 116 w 199"/>
                  <a:gd name="T17" fmla="*/ 46 h 117"/>
                  <a:gd name="T18" fmla="*/ 114 w 199"/>
                  <a:gd name="T19" fmla="*/ 36 h 117"/>
                  <a:gd name="T20" fmla="*/ 105 w 199"/>
                  <a:gd name="T21" fmla="*/ 29 h 117"/>
                  <a:gd name="T22" fmla="*/ 82 w 199"/>
                  <a:gd name="T23" fmla="*/ 28 h 117"/>
                  <a:gd name="T24" fmla="*/ 67 w 199"/>
                  <a:gd name="T25" fmla="*/ 29 h 117"/>
                  <a:gd name="T26" fmla="*/ 54 w 199"/>
                  <a:gd name="T27" fmla="*/ 15 h 117"/>
                  <a:gd name="T28" fmla="*/ 51 w 199"/>
                  <a:gd name="T29" fmla="*/ 20 h 117"/>
                  <a:gd name="T30" fmla="*/ 37 w 199"/>
                  <a:gd name="T31" fmla="*/ 17 h 117"/>
                  <a:gd name="T32" fmla="*/ 36 w 199"/>
                  <a:gd name="T33" fmla="*/ 1 h 117"/>
                  <a:gd name="T34" fmla="*/ 31 w 199"/>
                  <a:gd name="T35" fmla="*/ 18 h 117"/>
                  <a:gd name="T36" fmla="*/ 30 w 199"/>
                  <a:gd name="T37" fmla="*/ 0 h 117"/>
                  <a:gd name="T38" fmla="*/ 1 w 199"/>
                  <a:gd name="T39" fmla="*/ 8 h 117"/>
                  <a:gd name="T40" fmla="*/ 0 w 199"/>
                  <a:gd name="T41" fmla="*/ 58 h 117"/>
                  <a:gd name="T42" fmla="*/ 0 w 199"/>
                  <a:gd name="T43" fmla="*/ 58 h 117"/>
                  <a:gd name="T44" fmla="*/ 8 w 199"/>
                  <a:gd name="T45" fmla="*/ 60 h 117"/>
                  <a:gd name="T46" fmla="*/ 12 w 199"/>
                  <a:gd name="T47" fmla="*/ 54 h 117"/>
                  <a:gd name="T48" fmla="*/ 20 w 199"/>
                  <a:gd name="T49" fmla="*/ 48 h 117"/>
                  <a:gd name="T50" fmla="*/ 24 w 199"/>
                  <a:gd name="T51" fmla="*/ 44 h 117"/>
                  <a:gd name="T52" fmla="*/ 28 w 199"/>
                  <a:gd name="T53" fmla="*/ 42 h 117"/>
                  <a:gd name="T54" fmla="*/ 36 w 199"/>
                  <a:gd name="T55" fmla="*/ 44 h 117"/>
                  <a:gd name="T56" fmla="*/ 45 w 199"/>
                  <a:gd name="T57" fmla="*/ 47 h 117"/>
                  <a:gd name="T58" fmla="*/ 49 w 199"/>
                  <a:gd name="T59" fmla="*/ 59 h 117"/>
                  <a:gd name="T60" fmla="*/ 66 w 199"/>
                  <a:gd name="T61" fmla="*/ 61 h 117"/>
                  <a:gd name="T62" fmla="*/ 70 w 199"/>
                  <a:gd name="T63" fmla="*/ 68 h 117"/>
                  <a:gd name="T64" fmla="*/ 75 w 199"/>
                  <a:gd name="T65" fmla="*/ 77 h 117"/>
                  <a:gd name="T66" fmla="*/ 87 w 199"/>
                  <a:gd name="T67" fmla="*/ 86 h 117"/>
                  <a:gd name="T68" fmla="*/ 100 w 199"/>
                  <a:gd name="T69" fmla="*/ 93 h 117"/>
                  <a:gd name="T70" fmla="*/ 111 w 199"/>
                  <a:gd name="T71" fmla="*/ 101 h 117"/>
                  <a:gd name="T72" fmla="*/ 121 w 199"/>
                  <a:gd name="T73" fmla="*/ 104 h 117"/>
                  <a:gd name="T74" fmla="*/ 122 w 199"/>
                  <a:gd name="T75" fmla="*/ 112 h 117"/>
                  <a:gd name="T76" fmla="*/ 123 w 199"/>
                  <a:gd name="T77" fmla="*/ 111 h 117"/>
                  <a:gd name="T78" fmla="*/ 132 w 199"/>
                  <a:gd name="T79" fmla="*/ 115 h 117"/>
                  <a:gd name="T80" fmla="*/ 137 w 199"/>
                  <a:gd name="T81" fmla="*/ 117 h 117"/>
                  <a:gd name="T82" fmla="*/ 142 w 199"/>
                  <a:gd name="T83" fmla="*/ 105 h 117"/>
                  <a:gd name="T84" fmla="*/ 140 w 199"/>
                  <a:gd name="T85" fmla="*/ 95 h 117"/>
                  <a:gd name="T86" fmla="*/ 133 w 199"/>
                  <a:gd name="T87" fmla="*/ 86 h 117"/>
                  <a:gd name="T88" fmla="*/ 144 w 199"/>
                  <a:gd name="T89" fmla="*/ 82 h 117"/>
                  <a:gd name="T90" fmla="*/ 148 w 199"/>
                  <a:gd name="T91" fmla="*/ 76 h 117"/>
                  <a:gd name="T92" fmla="*/ 153 w 199"/>
                  <a:gd name="T93" fmla="*/ 70 h 117"/>
                  <a:gd name="T94" fmla="*/ 162 w 199"/>
                  <a:gd name="T95" fmla="*/ 68 h 117"/>
                  <a:gd name="T96" fmla="*/ 169 w 199"/>
                  <a:gd name="T97" fmla="*/ 66 h 117"/>
                  <a:gd name="T98" fmla="*/ 165 w 199"/>
                  <a:gd name="T99" fmla="*/ 75 h 117"/>
                  <a:gd name="T100" fmla="*/ 178 w 199"/>
                  <a:gd name="T101" fmla="*/ 73 h 117"/>
                  <a:gd name="T102" fmla="*/ 189 w 199"/>
                  <a:gd name="T103" fmla="*/ 71 h 117"/>
                  <a:gd name="T104" fmla="*/ 194 w 199"/>
                  <a:gd name="T105" fmla="*/ 6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9" h="117">
                    <a:moveTo>
                      <a:pt x="194" y="66"/>
                    </a:moveTo>
                    <a:cubicBezTo>
                      <a:pt x="188" y="61"/>
                      <a:pt x="179" y="56"/>
                      <a:pt x="178" y="58"/>
                    </a:cubicBezTo>
                    <a:cubicBezTo>
                      <a:pt x="177" y="61"/>
                      <a:pt x="172" y="62"/>
                      <a:pt x="169" y="59"/>
                    </a:cubicBezTo>
                    <a:cubicBezTo>
                      <a:pt x="167" y="56"/>
                      <a:pt x="165" y="53"/>
                      <a:pt x="159" y="56"/>
                    </a:cubicBezTo>
                    <a:cubicBezTo>
                      <a:pt x="152" y="58"/>
                      <a:pt x="147" y="62"/>
                      <a:pt x="147" y="65"/>
                    </a:cubicBezTo>
                    <a:cubicBezTo>
                      <a:pt x="147" y="67"/>
                      <a:pt x="142" y="70"/>
                      <a:pt x="142" y="66"/>
                    </a:cubicBezTo>
                    <a:cubicBezTo>
                      <a:pt x="141" y="63"/>
                      <a:pt x="136" y="62"/>
                      <a:pt x="132" y="61"/>
                    </a:cubicBezTo>
                    <a:cubicBezTo>
                      <a:pt x="129" y="60"/>
                      <a:pt x="123" y="62"/>
                      <a:pt x="123" y="58"/>
                    </a:cubicBezTo>
                    <a:cubicBezTo>
                      <a:pt x="122" y="54"/>
                      <a:pt x="117" y="50"/>
                      <a:pt x="116" y="46"/>
                    </a:cubicBezTo>
                    <a:cubicBezTo>
                      <a:pt x="116" y="42"/>
                      <a:pt x="117" y="37"/>
                      <a:pt x="114" y="36"/>
                    </a:cubicBezTo>
                    <a:cubicBezTo>
                      <a:pt x="110" y="35"/>
                      <a:pt x="108" y="29"/>
                      <a:pt x="105" y="29"/>
                    </a:cubicBezTo>
                    <a:cubicBezTo>
                      <a:pt x="102" y="29"/>
                      <a:pt x="84" y="29"/>
                      <a:pt x="82" y="28"/>
                    </a:cubicBezTo>
                    <a:cubicBezTo>
                      <a:pt x="80" y="27"/>
                      <a:pt x="68" y="32"/>
                      <a:pt x="67" y="29"/>
                    </a:cubicBezTo>
                    <a:cubicBezTo>
                      <a:pt x="67" y="27"/>
                      <a:pt x="59" y="18"/>
                      <a:pt x="54" y="15"/>
                    </a:cubicBezTo>
                    <a:cubicBezTo>
                      <a:pt x="54" y="17"/>
                      <a:pt x="53" y="18"/>
                      <a:pt x="51" y="20"/>
                    </a:cubicBezTo>
                    <a:cubicBezTo>
                      <a:pt x="43" y="26"/>
                      <a:pt x="35" y="25"/>
                      <a:pt x="37" y="17"/>
                    </a:cubicBezTo>
                    <a:cubicBezTo>
                      <a:pt x="40" y="10"/>
                      <a:pt x="40" y="1"/>
                      <a:pt x="36" y="1"/>
                    </a:cubicBezTo>
                    <a:cubicBezTo>
                      <a:pt x="32" y="1"/>
                      <a:pt x="35" y="17"/>
                      <a:pt x="31" y="18"/>
                    </a:cubicBezTo>
                    <a:cubicBezTo>
                      <a:pt x="28" y="18"/>
                      <a:pt x="27" y="6"/>
                      <a:pt x="30" y="0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2" y="59"/>
                      <a:pt x="5" y="59"/>
                      <a:pt x="8" y="60"/>
                    </a:cubicBezTo>
                    <a:cubicBezTo>
                      <a:pt x="12" y="60"/>
                      <a:pt x="12" y="57"/>
                      <a:pt x="12" y="54"/>
                    </a:cubicBezTo>
                    <a:cubicBezTo>
                      <a:pt x="12" y="52"/>
                      <a:pt x="16" y="48"/>
                      <a:pt x="20" y="48"/>
                    </a:cubicBezTo>
                    <a:cubicBezTo>
                      <a:pt x="23" y="49"/>
                      <a:pt x="23" y="44"/>
                      <a:pt x="24" y="44"/>
                    </a:cubicBezTo>
                    <a:cubicBezTo>
                      <a:pt x="25" y="44"/>
                      <a:pt x="27" y="43"/>
                      <a:pt x="28" y="42"/>
                    </a:cubicBezTo>
                    <a:cubicBezTo>
                      <a:pt x="29" y="40"/>
                      <a:pt x="35" y="42"/>
                      <a:pt x="36" y="44"/>
                    </a:cubicBezTo>
                    <a:cubicBezTo>
                      <a:pt x="38" y="45"/>
                      <a:pt x="42" y="46"/>
                      <a:pt x="45" y="47"/>
                    </a:cubicBezTo>
                    <a:cubicBezTo>
                      <a:pt x="48" y="47"/>
                      <a:pt x="49" y="57"/>
                      <a:pt x="49" y="59"/>
                    </a:cubicBezTo>
                    <a:cubicBezTo>
                      <a:pt x="49" y="61"/>
                      <a:pt x="63" y="60"/>
                      <a:pt x="66" y="61"/>
                    </a:cubicBezTo>
                    <a:cubicBezTo>
                      <a:pt x="68" y="61"/>
                      <a:pt x="68" y="65"/>
                      <a:pt x="70" y="68"/>
                    </a:cubicBezTo>
                    <a:cubicBezTo>
                      <a:pt x="73" y="71"/>
                      <a:pt x="74" y="75"/>
                      <a:pt x="75" y="77"/>
                    </a:cubicBezTo>
                    <a:cubicBezTo>
                      <a:pt x="76" y="80"/>
                      <a:pt x="85" y="83"/>
                      <a:pt x="87" y="86"/>
                    </a:cubicBezTo>
                    <a:cubicBezTo>
                      <a:pt x="89" y="89"/>
                      <a:pt x="95" y="92"/>
                      <a:pt x="100" y="93"/>
                    </a:cubicBezTo>
                    <a:cubicBezTo>
                      <a:pt x="104" y="95"/>
                      <a:pt x="109" y="101"/>
                      <a:pt x="111" y="101"/>
                    </a:cubicBezTo>
                    <a:cubicBezTo>
                      <a:pt x="114" y="101"/>
                      <a:pt x="121" y="104"/>
                      <a:pt x="121" y="104"/>
                    </a:cubicBezTo>
                    <a:cubicBezTo>
                      <a:pt x="122" y="112"/>
                      <a:pt x="122" y="112"/>
                      <a:pt x="122" y="112"/>
                    </a:cubicBezTo>
                    <a:cubicBezTo>
                      <a:pt x="122" y="112"/>
                      <a:pt x="123" y="112"/>
                      <a:pt x="123" y="111"/>
                    </a:cubicBezTo>
                    <a:cubicBezTo>
                      <a:pt x="127" y="110"/>
                      <a:pt x="129" y="115"/>
                      <a:pt x="132" y="115"/>
                    </a:cubicBezTo>
                    <a:cubicBezTo>
                      <a:pt x="134" y="115"/>
                      <a:pt x="135" y="116"/>
                      <a:pt x="137" y="117"/>
                    </a:cubicBezTo>
                    <a:cubicBezTo>
                      <a:pt x="137" y="110"/>
                      <a:pt x="139" y="107"/>
                      <a:pt x="142" y="105"/>
                    </a:cubicBezTo>
                    <a:cubicBezTo>
                      <a:pt x="145" y="103"/>
                      <a:pt x="140" y="99"/>
                      <a:pt x="140" y="95"/>
                    </a:cubicBezTo>
                    <a:cubicBezTo>
                      <a:pt x="141" y="91"/>
                      <a:pt x="133" y="89"/>
                      <a:pt x="133" y="86"/>
                    </a:cubicBezTo>
                    <a:cubicBezTo>
                      <a:pt x="134" y="83"/>
                      <a:pt x="141" y="84"/>
                      <a:pt x="144" y="82"/>
                    </a:cubicBezTo>
                    <a:cubicBezTo>
                      <a:pt x="147" y="81"/>
                      <a:pt x="145" y="76"/>
                      <a:pt x="148" y="76"/>
                    </a:cubicBezTo>
                    <a:cubicBezTo>
                      <a:pt x="151" y="76"/>
                      <a:pt x="152" y="73"/>
                      <a:pt x="153" y="70"/>
                    </a:cubicBezTo>
                    <a:cubicBezTo>
                      <a:pt x="154" y="67"/>
                      <a:pt x="159" y="70"/>
                      <a:pt x="162" y="68"/>
                    </a:cubicBezTo>
                    <a:cubicBezTo>
                      <a:pt x="164" y="66"/>
                      <a:pt x="168" y="65"/>
                      <a:pt x="169" y="66"/>
                    </a:cubicBezTo>
                    <a:cubicBezTo>
                      <a:pt x="170" y="68"/>
                      <a:pt x="167" y="73"/>
                      <a:pt x="165" y="75"/>
                    </a:cubicBezTo>
                    <a:cubicBezTo>
                      <a:pt x="170" y="75"/>
                      <a:pt x="177" y="75"/>
                      <a:pt x="178" y="73"/>
                    </a:cubicBezTo>
                    <a:cubicBezTo>
                      <a:pt x="180" y="71"/>
                      <a:pt x="187" y="76"/>
                      <a:pt x="189" y="71"/>
                    </a:cubicBezTo>
                    <a:cubicBezTo>
                      <a:pt x="191" y="67"/>
                      <a:pt x="199" y="70"/>
                      <a:pt x="194" y="6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7" name="Freeform 145">
                <a:extLst>
                  <a:ext uri="{FF2B5EF4-FFF2-40B4-BE49-F238E27FC236}">
                    <a16:creationId xmlns:a16="http://schemas.microsoft.com/office/drawing/2014/main" id="{C9824EDC-BFE2-4617-9127-25D890445E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6588" y="1462088"/>
                <a:ext cx="641350" cy="1011238"/>
              </a:xfrm>
              <a:custGeom>
                <a:avLst/>
                <a:gdLst>
                  <a:gd name="T0" fmla="*/ 277 w 292"/>
                  <a:gd name="T1" fmla="*/ 241 h 461"/>
                  <a:gd name="T2" fmla="*/ 277 w 292"/>
                  <a:gd name="T3" fmla="*/ 227 h 461"/>
                  <a:gd name="T4" fmla="*/ 261 w 292"/>
                  <a:gd name="T5" fmla="*/ 225 h 461"/>
                  <a:gd name="T6" fmla="*/ 243 w 292"/>
                  <a:gd name="T7" fmla="*/ 224 h 461"/>
                  <a:gd name="T8" fmla="*/ 234 w 292"/>
                  <a:gd name="T9" fmla="*/ 223 h 461"/>
                  <a:gd name="T10" fmla="*/ 217 w 292"/>
                  <a:gd name="T11" fmla="*/ 227 h 461"/>
                  <a:gd name="T12" fmla="*/ 203 w 292"/>
                  <a:gd name="T13" fmla="*/ 242 h 461"/>
                  <a:gd name="T14" fmla="*/ 203 w 292"/>
                  <a:gd name="T15" fmla="*/ 226 h 461"/>
                  <a:gd name="T16" fmla="*/ 183 w 292"/>
                  <a:gd name="T17" fmla="*/ 237 h 461"/>
                  <a:gd name="T18" fmla="*/ 174 w 292"/>
                  <a:gd name="T19" fmla="*/ 241 h 461"/>
                  <a:gd name="T20" fmla="*/ 166 w 292"/>
                  <a:gd name="T21" fmla="*/ 239 h 461"/>
                  <a:gd name="T22" fmla="*/ 150 w 292"/>
                  <a:gd name="T23" fmla="*/ 251 h 461"/>
                  <a:gd name="T24" fmla="*/ 140 w 292"/>
                  <a:gd name="T25" fmla="*/ 259 h 461"/>
                  <a:gd name="T26" fmla="*/ 129 w 292"/>
                  <a:gd name="T27" fmla="*/ 264 h 461"/>
                  <a:gd name="T28" fmla="*/ 112 w 292"/>
                  <a:gd name="T29" fmla="*/ 268 h 461"/>
                  <a:gd name="T30" fmla="*/ 106 w 292"/>
                  <a:gd name="T31" fmla="*/ 278 h 461"/>
                  <a:gd name="T32" fmla="*/ 129 w 292"/>
                  <a:gd name="T33" fmla="*/ 279 h 461"/>
                  <a:gd name="T34" fmla="*/ 112 w 292"/>
                  <a:gd name="T35" fmla="*/ 291 h 461"/>
                  <a:gd name="T36" fmla="*/ 87 w 292"/>
                  <a:gd name="T37" fmla="*/ 319 h 461"/>
                  <a:gd name="T38" fmla="*/ 70 w 292"/>
                  <a:gd name="T39" fmla="*/ 340 h 461"/>
                  <a:gd name="T40" fmla="*/ 56 w 292"/>
                  <a:gd name="T41" fmla="*/ 360 h 461"/>
                  <a:gd name="T42" fmla="*/ 37 w 292"/>
                  <a:gd name="T43" fmla="*/ 374 h 461"/>
                  <a:gd name="T44" fmla="*/ 16 w 292"/>
                  <a:gd name="T45" fmla="*/ 386 h 461"/>
                  <a:gd name="T46" fmla="*/ 6 w 292"/>
                  <a:gd name="T47" fmla="*/ 403 h 461"/>
                  <a:gd name="T48" fmla="*/ 3 w 292"/>
                  <a:gd name="T49" fmla="*/ 424 h 461"/>
                  <a:gd name="T50" fmla="*/ 13 w 292"/>
                  <a:gd name="T51" fmla="*/ 431 h 461"/>
                  <a:gd name="T52" fmla="*/ 10 w 292"/>
                  <a:gd name="T53" fmla="*/ 439 h 461"/>
                  <a:gd name="T54" fmla="*/ 20 w 292"/>
                  <a:gd name="T55" fmla="*/ 457 h 461"/>
                  <a:gd name="T56" fmla="*/ 65 w 292"/>
                  <a:gd name="T57" fmla="*/ 435 h 461"/>
                  <a:gd name="T58" fmla="*/ 79 w 292"/>
                  <a:gd name="T59" fmla="*/ 439 h 461"/>
                  <a:gd name="T60" fmla="*/ 87 w 292"/>
                  <a:gd name="T61" fmla="*/ 412 h 461"/>
                  <a:gd name="T62" fmla="*/ 84 w 292"/>
                  <a:gd name="T63" fmla="*/ 376 h 461"/>
                  <a:gd name="T64" fmla="*/ 104 w 292"/>
                  <a:gd name="T65" fmla="*/ 350 h 461"/>
                  <a:gd name="T66" fmla="*/ 118 w 292"/>
                  <a:gd name="T67" fmla="*/ 317 h 461"/>
                  <a:gd name="T68" fmla="*/ 132 w 292"/>
                  <a:gd name="T69" fmla="*/ 288 h 461"/>
                  <a:gd name="T70" fmla="*/ 163 w 292"/>
                  <a:gd name="T71" fmla="*/ 273 h 461"/>
                  <a:gd name="T72" fmla="*/ 186 w 292"/>
                  <a:gd name="T73" fmla="*/ 257 h 461"/>
                  <a:gd name="T74" fmla="*/ 225 w 292"/>
                  <a:gd name="T75" fmla="*/ 269 h 461"/>
                  <a:gd name="T76" fmla="*/ 250 w 292"/>
                  <a:gd name="T77" fmla="*/ 243 h 461"/>
                  <a:gd name="T78" fmla="*/ 277 w 292"/>
                  <a:gd name="T79" fmla="*/ 255 h 461"/>
                  <a:gd name="T80" fmla="*/ 82 w 292"/>
                  <a:gd name="T81" fmla="*/ 33 h 461"/>
                  <a:gd name="T82" fmla="*/ 109 w 292"/>
                  <a:gd name="T83" fmla="*/ 49 h 461"/>
                  <a:gd name="T84" fmla="*/ 130 w 292"/>
                  <a:gd name="T85" fmla="*/ 53 h 461"/>
                  <a:gd name="T86" fmla="*/ 131 w 292"/>
                  <a:gd name="T87" fmla="*/ 68 h 461"/>
                  <a:gd name="T88" fmla="*/ 111 w 292"/>
                  <a:gd name="T89" fmla="*/ 86 h 461"/>
                  <a:gd name="T90" fmla="*/ 134 w 292"/>
                  <a:gd name="T91" fmla="*/ 95 h 461"/>
                  <a:gd name="T92" fmla="*/ 160 w 292"/>
                  <a:gd name="T93" fmla="*/ 52 h 461"/>
                  <a:gd name="T94" fmla="*/ 182 w 292"/>
                  <a:gd name="T95" fmla="*/ 63 h 461"/>
                  <a:gd name="T96" fmla="*/ 211 w 292"/>
                  <a:gd name="T97" fmla="*/ 75 h 461"/>
                  <a:gd name="T98" fmla="*/ 201 w 292"/>
                  <a:gd name="T99" fmla="*/ 59 h 461"/>
                  <a:gd name="T100" fmla="*/ 176 w 292"/>
                  <a:gd name="T101" fmla="*/ 38 h 461"/>
                  <a:gd name="T102" fmla="*/ 151 w 292"/>
                  <a:gd name="T103" fmla="*/ 25 h 461"/>
                  <a:gd name="T104" fmla="*/ 127 w 292"/>
                  <a:gd name="T105" fmla="*/ 12 h 461"/>
                  <a:gd name="T106" fmla="*/ 117 w 292"/>
                  <a:gd name="T107" fmla="*/ 25 h 461"/>
                  <a:gd name="T108" fmla="*/ 93 w 292"/>
                  <a:gd name="T109" fmla="*/ 24 h 461"/>
                  <a:gd name="T110" fmla="*/ 79 w 292"/>
                  <a:gd name="T111" fmla="*/ 19 h 461"/>
                  <a:gd name="T112" fmla="*/ 71 w 292"/>
                  <a:gd name="T113" fmla="*/ 53 h 461"/>
                  <a:gd name="T114" fmla="*/ 71 w 292"/>
                  <a:gd name="T115" fmla="*/ 53 h 461"/>
                  <a:gd name="T116" fmla="*/ 167 w 292"/>
                  <a:gd name="T117" fmla="*/ 26 h 461"/>
                  <a:gd name="T118" fmla="*/ 234 w 292"/>
                  <a:gd name="T119" fmla="*/ 25 h 461"/>
                  <a:gd name="T120" fmla="*/ 205 w 292"/>
                  <a:gd name="T121" fmla="*/ 9 h 461"/>
                  <a:gd name="T122" fmla="*/ 178 w 292"/>
                  <a:gd name="T123" fmla="*/ 7 h 461"/>
                  <a:gd name="T124" fmla="*/ 158 w 292"/>
                  <a:gd name="T125" fmla="*/ 9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92" h="461">
                    <a:moveTo>
                      <a:pt x="283" y="247"/>
                    </a:moveTo>
                    <a:cubicBezTo>
                      <a:pt x="283" y="249"/>
                      <a:pt x="278" y="249"/>
                      <a:pt x="278" y="246"/>
                    </a:cubicBezTo>
                    <a:cubicBezTo>
                      <a:pt x="278" y="244"/>
                      <a:pt x="271" y="242"/>
                      <a:pt x="271" y="240"/>
                    </a:cubicBezTo>
                    <a:cubicBezTo>
                      <a:pt x="271" y="239"/>
                      <a:pt x="274" y="239"/>
                      <a:pt x="277" y="241"/>
                    </a:cubicBezTo>
                    <a:cubicBezTo>
                      <a:pt x="279" y="242"/>
                      <a:pt x="281" y="241"/>
                      <a:pt x="284" y="239"/>
                    </a:cubicBezTo>
                    <a:cubicBezTo>
                      <a:pt x="287" y="236"/>
                      <a:pt x="291" y="238"/>
                      <a:pt x="292" y="236"/>
                    </a:cubicBezTo>
                    <a:cubicBezTo>
                      <a:pt x="292" y="233"/>
                      <a:pt x="287" y="231"/>
                      <a:pt x="286" y="230"/>
                    </a:cubicBezTo>
                    <a:cubicBezTo>
                      <a:pt x="285" y="228"/>
                      <a:pt x="281" y="226"/>
                      <a:pt x="277" y="227"/>
                    </a:cubicBezTo>
                    <a:cubicBezTo>
                      <a:pt x="274" y="228"/>
                      <a:pt x="274" y="226"/>
                      <a:pt x="271" y="224"/>
                    </a:cubicBezTo>
                    <a:cubicBezTo>
                      <a:pt x="269" y="222"/>
                      <a:pt x="263" y="226"/>
                      <a:pt x="263" y="230"/>
                    </a:cubicBezTo>
                    <a:cubicBezTo>
                      <a:pt x="263" y="235"/>
                      <a:pt x="258" y="234"/>
                      <a:pt x="260" y="231"/>
                    </a:cubicBezTo>
                    <a:cubicBezTo>
                      <a:pt x="261" y="229"/>
                      <a:pt x="258" y="226"/>
                      <a:pt x="261" y="225"/>
                    </a:cubicBezTo>
                    <a:cubicBezTo>
                      <a:pt x="265" y="224"/>
                      <a:pt x="263" y="219"/>
                      <a:pt x="257" y="219"/>
                    </a:cubicBezTo>
                    <a:cubicBezTo>
                      <a:pt x="250" y="218"/>
                      <a:pt x="248" y="223"/>
                      <a:pt x="250" y="225"/>
                    </a:cubicBezTo>
                    <a:cubicBezTo>
                      <a:pt x="251" y="227"/>
                      <a:pt x="245" y="234"/>
                      <a:pt x="243" y="234"/>
                    </a:cubicBezTo>
                    <a:cubicBezTo>
                      <a:pt x="240" y="234"/>
                      <a:pt x="243" y="228"/>
                      <a:pt x="243" y="224"/>
                    </a:cubicBezTo>
                    <a:cubicBezTo>
                      <a:pt x="243" y="221"/>
                      <a:pt x="241" y="223"/>
                      <a:pt x="236" y="228"/>
                    </a:cubicBezTo>
                    <a:cubicBezTo>
                      <a:pt x="231" y="233"/>
                      <a:pt x="228" y="238"/>
                      <a:pt x="225" y="239"/>
                    </a:cubicBezTo>
                    <a:cubicBezTo>
                      <a:pt x="222" y="239"/>
                      <a:pt x="223" y="234"/>
                      <a:pt x="227" y="232"/>
                    </a:cubicBezTo>
                    <a:cubicBezTo>
                      <a:pt x="231" y="229"/>
                      <a:pt x="232" y="223"/>
                      <a:pt x="234" y="223"/>
                    </a:cubicBezTo>
                    <a:cubicBezTo>
                      <a:pt x="237" y="223"/>
                      <a:pt x="237" y="220"/>
                      <a:pt x="233" y="219"/>
                    </a:cubicBezTo>
                    <a:cubicBezTo>
                      <a:pt x="229" y="218"/>
                      <a:pt x="228" y="222"/>
                      <a:pt x="227" y="224"/>
                    </a:cubicBezTo>
                    <a:cubicBezTo>
                      <a:pt x="226" y="225"/>
                      <a:pt x="219" y="221"/>
                      <a:pt x="219" y="223"/>
                    </a:cubicBezTo>
                    <a:cubicBezTo>
                      <a:pt x="219" y="224"/>
                      <a:pt x="215" y="224"/>
                      <a:pt x="217" y="227"/>
                    </a:cubicBezTo>
                    <a:cubicBezTo>
                      <a:pt x="219" y="229"/>
                      <a:pt x="216" y="232"/>
                      <a:pt x="214" y="229"/>
                    </a:cubicBezTo>
                    <a:cubicBezTo>
                      <a:pt x="213" y="226"/>
                      <a:pt x="209" y="228"/>
                      <a:pt x="207" y="231"/>
                    </a:cubicBezTo>
                    <a:cubicBezTo>
                      <a:pt x="205" y="235"/>
                      <a:pt x="202" y="234"/>
                      <a:pt x="204" y="236"/>
                    </a:cubicBezTo>
                    <a:cubicBezTo>
                      <a:pt x="206" y="237"/>
                      <a:pt x="206" y="241"/>
                      <a:pt x="203" y="242"/>
                    </a:cubicBezTo>
                    <a:cubicBezTo>
                      <a:pt x="200" y="243"/>
                      <a:pt x="201" y="234"/>
                      <a:pt x="199" y="235"/>
                    </a:cubicBezTo>
                    <a:cubicBezTo>
                      <a:pt x="196" y="236"/>
                      <a:pt x="198" y="230"/>
                      <a:pt x="201" y="230"/>
                    </a:cubicBezTo>
                    <a:cubicBezTo>
                      <a:pt x="204" y="230"/>
                      <a:pt x="207" y="226"/>
                      <a:pt x="207" y="225"/>
                    </a:cubicBezTo>
                    <a:cubicBezTo>
                      <a:pt x="206" y="223"/>
                      <a:pt x="203" y="223"/>
                      <a:pt x="203" y="226"/>
                    </a:cubicBezTo>
                    <a:cubicBezTo>
                      <a:pt x="203" y="228"/>
                      <a:pt x="198" y="228"/>
                      <a:pt x="194" y="227"/>
                    </a:cubicBezTo>
                    <a:cubicBezTo>
                      <a:pt x="190" y="227"/>
                      <a:pt x="190" y="232"/>
                      <a:pt x="194" y="235"/>
                    </a:cubicBezTo>
                    <a:cubicBezTo>
                      <a:pt x="199" y="238"/>
                      <a:pt x="194" y="239"/>
                      <a:pt x="191" y="237"/>
                    </a:cubicBezTo>
                    <a:cubicBezTo>
                      <a:pt x="189" y="235"/>
                      <a:pt x="185" y="236"/>
                      <a:pt x="183" y="237"/>
                    </a:cubicBezTo>
                    <a:cubicBezTo>
                      <a:pt x="180" y="239"/>
                      <a:pt x="189" y="242"/>
                      <a:pt x="189" y="243"/>
                    </a:cubicBezTo>
                    <a:cubicBezTo>
                      <a:pt x="189" y="245"/>
                      <a:pt x="185" y="241"/>
                      <a:pt x="184" y="242"/>
                    </a:cubicBezTo>
                    <a:cubicBezTo>
                      <a:pt x="183" y="244"/>
                      <a:pt x="178" y="242"/>
                      <a:pt x="178" y="239"/>
                    </a:cubicBezTo>
                    <a:cubicBezTo>
                      <a:pt x="177" y="236"/>
                      <a:pt x="170" y="240"/>
                      <a:pt x="174" y="241"/>
                    </a:cubicBezTo>
                    <a:cubicBezTo>
                      <a:pt x="178" y="242"/>
                      <a:pt x="177" y="245"/>
                      <a:pt x="177" y="248"/>
                    </a:cubicBezTo>
                    <a:cubicBezTo>
                      <a:pt x="177" y="252"/>
                      <a:pt x="172" y="249"/>
                      <a:pt x="173" y="246"/>
                    </a:cubicBezTo>
                    <a:cubicBezTo>
                      <a:pt x="174" y="243"/>
                      <a:pt x="170" y="243"/>
                      <a:pt x="167" y="245"/>
                    </a:cubicBezTo>
                    <a:cubicBezTo>
                      <a:pt x="163" y="247"/>
                      <a:pt x="167" y="242"/>
                      <a:pt x="166" y="239"/>
                    </a:cubicBezTo>
                    <a:cubicBezTo>
                      <a:pt x="164" y="236"/>
                      <a:pt x="161" y="239"/>
                      <a:pt x="158" y="240"/>
                    </a:cubicBezTo>
                    <a:cubicBezTo>
                      <a:pt x="154" y="240"/>
                      <a:pt x="153" y="240"/>
                      <a:pt x="155" y="243"/>
                    </a:cubicBezTo>
                    <a:cubicBezTo>
                      <a:pt x="157" y="245"/>
                      <a:pt x="157" y="248"/>
                      <a:pt x="154" y="248"/>
                    </a:cubicBezTo>
                    <a:cubicBezTo>
                      <a:pt x="151" y="247"/>
                      <a:pt x="150" y="248"/>
                      <a:pt x="150" y="251"/>
                    </a:cubicBezTo>
                    <a:cubicBezTo>
                      <a:pt x="150" y="253"/>
                      <a:pt x="146" y="253"/>
                      <a:pt x="146" y="251"/>
                    </a:cubicBezTo>
                    <a:cubicBezTo>
                      <a:pt x="146" y="249"/>
                      <a:pt x="140" y="249"/>
                      <a:pt x="138" y="252"/>
                    </a:cubicBezTo>
                    <a:cubicBezTo>
                      <a:pt x="137" y="255"/>
                      <a:pt x="132" y="257"/>
                      <a:pt x="133" y="260"/>
                    </a:cubicBezTo>
                    <a:cubicBezTo>
                      <a:pt x="133" y="263"/>
                      <a:pt x="137" y="258"/>
                      <a:pt x="140" y="259"/>
                    </a:cubicBezTo>
                    <a:cubicBezTo>
                      <a:pt x="143" y="260"/>
                      <a:pt x="140" y="262"/>
                      <a:pt x="141" y="263"/>
                    </a:cubicBezTo>
                    <a:cubicBezTo>
                      <a:pt x="143" y="265"/>
                      <a:pt x="143" y="268"/>
                      <a:pt x="140" y="266"/>
                    </a:cubicBezTo>
                    <a:cubicBezTo>
                      <a:pt x="138" y="264"/>
                      <a:pt x="135" y="263"/>
                      <a:pt x="134" y="267"/>
                    </a:cubicBezTo>
                    <a:cubicBezTo>
                      <a:pt x="134" y="270"/>
                      <a:pt x="131" y="266"/>
                      <a:pt x="129" y="264"/>
                    </a:cubicBezTo>
                    <a:cubicBezTo>
                      <a:pt x="127" y="261"/>
                      <a:pt x="125" y="269"/>
                      <a:pt x="123" y="267"/>
                    </a:cubicBezTo>
                    <a:cubicBezTo>
                      <a:pt x="121" y="265"/>
                      <a:pt x="128" y="260"/>
                      <a:pt x="126" y="258"/>
                    </a:cubicBezTo>
                    <a:cubicBezTo>
                      <a:pt x="124" y="255"/>
                      <a:pt x="123" y="259"/>
                      <a:pt x="119" y="263"/>
                    </a:cubicBezTo>
                    <a:cubicBezTo>
                      <a:pt x="115" y="267"/>
                      <a:pt x="110" y="267"/>
                      <a:pt x="112" y="268"/>
                    </a:cubicBezTo>
                    <a:cubicBezTo>
                      <a:pt x="114" y="270"/>
                      <a:pt x="108" y="271"/>
                      <a:pt x="107" y="274"/>
                    </a:cubicBezTo>
                    <a:cubicBezTo>
                      <a:pt x="106" y="278"/>
                      <a:pt x="98" y="279"/>
                      <a:pt x="93" y="282"/>
                    </a:cubicBezTo>
                    <a:cubicBezTo>
                      <a:pt x="88" y="285"/>
                      <a:pt x="94" y="286"/>
                      <a:pt x="97" y="282"/>
                    </a:cubicBezTo>
                    <a:cubicBezTo>
                      <a:pt x="100" y="279"/>
                      <a:pt x="101" y="281"/>
                      <a:pt x="106" y="278"/>
                    </a:cubicBezTo>
                    <a:cubicBezTo>
                      <a:pt x="110" y="275"/>
                      <a:pt x="115" y="273"/>
                      <a:pt x="117" y="274"/>
                    </a:cubicBezTo>
                    <a:cubicBezTo>
                      <a:pt x="118" y="275"/>
                      <a:pt x="121" y="276"/>
                      <a:pt x="123" y="273"/>
                    </a:cubicBezTo>
                    <a:cubicBezTo>
                      <a:pt x="125" y="270"/>
                      <a:pt x="128" y="271"/>
                      <a:pt x="130" y="273"/>
                    </a:cubicBezTo>
                    <a:cubicBezTo>
                      <a:pt x="132" y="275"/>
                      <a:pt x="127" y="276"/>
                      <a:pt x="129" y="279"/>
                    </a:cubicBezTo>
                    <a:cubicBezTo>
                      <a:pt x="132" y="281"/>
                      <a:pt x="126" y="283"/>
                      <a:pt x="126" y="281"/>
                    </a:cubicBezTo>
                    <a:cubicBezTo>
                      <a:pt x="126" y="278"/>
                      <a:pt x="123" y="276"/>
                      <a:pt x="122" y="278"/>
                    </a:cubicBezTo>
                    <a:cubicBezTo>
                      <a:pt x="120" y="281"/>
                      <a:pt x="118" y="283"/>
                      <a:pt x="116" y="283"/>
                    </a:cubicBezTo>
                    <a:cubicBezTo>
                      <a:pt x="114" y="283"/>
                      <a:pt x="112" y="287"/>
                      <a:pt x="112" y="291"/>
                    </a:cubicBezTo>
                    <a:cubicBezTo>
                      <a:pt x="112" y="295"/>
                      <a:pt x="108" y="291"/>
                      <a:pt x="108" y="295"/>
                    </a:cubicBezTo>
                    <a:cubicBezTo>
                      <a:pt x="107" y="298"/>
                      <a:pt x="102" y="304"/>
                      <a:pt x="97" y="309"/>
                    </a:cubicBezTo>
                    <a:cubicBezTo>
                      <a:pt x="93" y="313"/>
                      <a:pt x="97" y="314"/>
                      <a:pt x="95" y="317"/>
                    </a:cubicBezTo>
                    <a:cubicBezTo>
                      <a:pt x="94" y="320"/>
                      <a:pt x="88" y="318"/>
                      <a:pt x="87" y="319"/>
                    </a:cubicBezTo>
                    <a:cubicBezTo>
                      <a:pt x="85" y="320"/>
                      <a:pt x="88" y="327"/>
                      <a:pt x="85" y="329"/>
                    </a:cubicBezTo>
                    <a:cubicBezTo>
                      <a:pt x="83" y="331"/>
                      <a:pt x="85" y="334"/>
                      <a:pt x="85" y="337"/>
                    </a:cubicBezTo>
                    <a:cubicBezTo>
                      <a:pt x="85" y="339"/>
                      <a:pt x="79" y="335"/>
                      <a:pt x="78" y="338"/>
                    </a:cubicBezTo>
                    <a:cubicBezTo>
                      <a:pt x="78" y="340"/>
                      <a:pt x="72" y="340"/>
                      <a:pt x="70" y="340"/>
                    </a:cubicBezTo>
                    <a:cubicBezTo>
                      <a:pt x="69" y="341"/>
                      <a:pt x="74" y="345"/>
                      <a:pt x="77" y="347"/>
                    </a:cubicBezTo>
                    <a:cubicBezTo>
                      <a:pt x="80" y="350"/>
                      <a:pt x="74" y="351"/>
                      <a:pt x="73" y="349"/>
                    </a:cubicBezTo>
                    <a:cubicBezTo>
                      <a:pt x="72" y="346"/>
                      <a:pt x="68" y="350"/>
                      <a:pt x="63" y="353"/>
                    </a:cubicBezTo>
                    <a:cubicBezTo>
                      <a:pt x="58" y="355"/>
                      <a:pt x="60" y="360"/>
                      <a:pt x="56" y="360"/>
                    </a:cubicBezTo>
                    <a:cubicBezTo>
                      <a:pt x="52" y="360"/>
                      <a:pt x="53" y="366"/>
                      <a:pt x="51" y="368"/>
                    </a:cubicBezTo>
                    <a:cubicBezTo>
                      <a:pt x="48" y="370"/>
                      <a:pt x="49" y="364"/>
                      <a:pt x="44" y="364"/>
                    </a:cubicBezTo>
                    <a:cubicBezTo>
                      <a:pt x="40" y="363"/>
                      <a:pt x="41" y="366"/>
                      <a:pt x="43" y="370"/>
                    </a:cubicBezTo>
                    <a:cubicBezTo>
                      <a:pt x="46" y="373"/>
                      <a:pt x="39" y="371"/>
                      <a:pt x="37" y="374"/>
                    </a:cubicBezTo>
                    <a:cubicBezTo>
                      <a:pt x="35" y="377"/>
                      <a:pt x="28" y="375"/>
                      <a:pt x="26" y="378"/>
                    </a:cubicBezTo>
                    <a:cubicBezTo>
                      <a:pt x="24" y="380"/>
                      <a:pt x="31" y="380"/>
                      <a:pt x="32" y="382"/>
                    </a:cubicBezTo>
                    <a:cubicBezTo>
                      <a:pt x="33" y="384"/>
                      <a:pt x="26" y="383"/>
                      <a:pt x="22" y="382"/>
                    </a:cubicBezTo>
                    <a:cubicBezTo>
                      <a:pt x="19" y="382"/>
                      <a:pt x="20" y="387"/>
                      <a:pt x="16" y="386"/>
                    </a:cubicBezTo>
                    <a:cubicBezTo>
                      <a:pt x="13" y="386"/>
                      <a:pt x="9" y="389"/>
                      <a:pt x="11" y="392"/>
                    </a:cubicBezTo>
                    <a:cubicBezTo>
                      <a:pt x="14" y="394"/>
                      <a:pt x="9" y="394"/>
                      <a:pt x="7" y="393"/>
                    </a:cubicBezTo>
                    <a:cubicBezTo>
                      <a:pt x="5" y="391"/>
                      <a:pt x="3" y="395"/>
                      <a:pt x="2" y="398"/>
                    </a:cubicBezTo>
                    <a:cubicBezTo>
                      <a:pt x="1" y="401"/>
                      <a:pt x="6" y="402"/>
                      <a:pt x="6" y="403"/>
                    </a:cubicBezTo>
                    <a:cubicBezTo>
                      <a:pt x="6" y="405"/>
                      <a:pt x="2" y="407"/>
                      <a:pt x="5" y="408"/>
                    </a:cubicBezTo>
                    <a:cubicBezTo>
                      <a:pt x="8" y="408"/>
                      <a:pt x="6" y="411"/>
                      <a:pt x="4" y="412"/>
                    </a:cubicBezTo>
                    <a:cubicBezTo>
                      <a:pt x="2" y="413"/>
                      <a:pt x="2" y="415"/>
                      <a:pt x="4" y="417"/>
                    </a:cubicBezTo>
                    <a:cubicBezTo>
                      <a:pt x="6" y="420"/>
                      <a:pt x="0" y="420"/>
                      <a:pt x="3" y="424"/>
                    </a:cubicBezTo>
                    <a:cubicBezTo>
                      <a:pt x="6" y="428"/>
                      <a:pt x="8" y="423"/>
                      <a:pt x="9" y="426"/>
                    </a:cubicBezTo>
                    <a:cubicBezTo>
                      <a:pt x="10" y="429"/>
                      <a:pt x="13" y="426"/>
                      <a:pt x="17" y="423"/>
                    </a:cubicBezTo>
                    <a:cubicBezTo>
                      <a:pt x="20" y="419"/>
                      <a:pt x="22" y="426"/>
                      <a:pt x="19" y="426"/>
                    </a:cubicBezTo>
                    <a:cubicBezTo>
                      <a:pt x="16" y="426"/>
                      <a:pt x="12" y="428"/>
                      <a:pt x="13" y="431"/>
                    </a:cubicBezTo>
                    <a:cubicBezTo>
                      <a:pt x="14" y="434"/>
                      <a:pt x="8" y="433"/>
                      <a:pt x="8" y="430"/>
                    </a:cubicBezTo>
                    <a:cubicBezTo>
                      <a:pt x="9" y="426"/>
                      <a:pt x="2" y="430"/>
                      <a:pt x="5" y="433"/>
                    </a:cubicBezTo>
                    <a:cubicBezTo>
                      <a:pt x="7" y="436"/>
                      <a:pt x="4" y="437"/>
                      <a:pt x="4" y="440"/>
                    </a:cubicBezTo>
                    <a:cubicBezTo>
                      <a:pt x="4" y="442"/>
                      <a:pt x="8" y="442"/>
                      <a:pt x="10" y="439"/>
                    </a:cubicBezTo>
                    <a:cubicBezTo>
                      <a:pt x="12" y="436"/>
                      <a:pt x="15" y="437"/>
                      <a:pt x="16" y="440"/>
                    </a:cubicBezTo>
                    <a:cubicBezTo>
                      <a:pt x="17" y="442"/>
                      <a:pt x="13" y="440"/>
                      <a:pt x="13" y="444"/>
                    </a:cubicBezTo>
                    <a:cubicBezTo>
                      <a:pt x="13" y="448"/>
                      <a:pt x="11" y="445"/>
                      <a:pt x="9" y="448"/>
                    </a:cubicBezTo>
                    <a:cubicBezTo>
                      <a:pt x="6" y="451"/>
                      <a:pt x="17" y="456"/>
                      <a:pt x="20" y="457"/>
                    </a:cubicBezTo>
                    <a:cubicBezTo>
                      <a:pt x="24" y="458"/>
                      <a:pt x="27" y="461"/>
                      <a:pt x="34" y="460"/>
                    </a:cubicBezTo>
                    <a:cubicBezTo>
                      <a:pt x="40" y="459"/>
                      <a:pt x="53" y="447"/>
                      <a:pt x="55" y="445"/>
                    </a:cubicBezTo>
                    <a:cubicBezTo>
                      <a:pt x="56" y="443"/>
                      <a:pt x="60" y="445"/>
                      <a:pt x="62" y="443"/>
                    </a:cubicBezTo>
                    <a:cubicBezTo>
                      <a:pt x="65" y="441"/>
                      <a:pt x="63" y="436"/>
                      <a:pt x="65" y="435"/>
                    </a:cubicBezTo>
                    <a:cubicBezTo>
                      <a:pt x="67" y="434"/>
                      <a:pt x="68" y="441"/>
                      <a:pt x="70" y="441"/>
                    </a:cubicBezTo>
                    <a:cubicBezTo>
                      <a:pt x="71" y="442"/>
                      <a:pt x="72" y="443"/>
                      <a:pt x="72" y="446"/>
                    </a:cubicBezTo>
                    <a:cubicBezTo>
                      <a:pt x="74" y="446"/>
                      <a:pt x="75" y="446"/>
                      <a:pt x="76" y="447"/>
                    </a:cubicBezTo>
                    <a:cubicBezTo>
                      <a:pt x="78" y="448"/>
                      <a:pt x="79" y="442"/>
                      <a:pt x="79" y="439"/>
                    </a:cubicBezTo>
                    <a:cubicBezTo>
                      <a:pt x="79" y="437"/>
                      <a:pt x="81" y="433"/>
                      <a:pt x="80" y="430"/>
                    </a:cubicBezTo>
                    <a:cubicBezTo>
                      <a:pt x="80" y="428"/>
                      <a:pt x="87" y="430"/>
                      <a:pt x="88" y="428"/>
                    </a:cubicBezTo>
                    <a:cubicBezTo>
                      <a:pt x="89" y="425"/>
                      <a:pt x="89" y="418"/>
                      <a:pt x="87" y="417"/>
                    </a:cubicBezTo>
                    <a:cubicBezTo>
                      <a:pt x="85" y="416"/>
                      <a:pt x="84" y="412"/>
                      <a:pt x="87" y="412"/>
                    </a:cubicBezTo>
                    <a:cubicBezTo>
                      <a:pt x="89" y="412"/>
                      <a:pt x="91" y="410"/>
                      <a:pt x="91" y="406"/>
                    </a:cubicBezTo>
                    <a:cubicBezTo>
                      <a:pt x="90" y="401"/>
                      <a:pt x="84" y="402"/>
                      <a:pt x="83" y="398"/>
                    </a:cubicBezTo>
                    <a:cubicBezTo>
                      <a:pt x="83" y="393"/>
                      <a:pt x="87" y="392"/>
                      <a:pt x="84" y="387"/>
                    </a:cubicBezTo>
                    <a:cubicBezTo>
                      <a:pt x="81" y="382"/>
                      <a:pt x="85" y="378"/>
                      <a:pt x="84" y="376"/>
                    </a:cubicBezTo>
                    <a:cubicBezTo>
                      <a:pt x="83" y="373"/>
                      <a:pt x="82" y="370"/>
                      <a:pt x="85" y="364"/>
                    </a:cubicBezTo>
                    <a:cubicBezTo>
                      <a:pt x="88" y="359"/>
                      <a:pt x="94" y="356"/>
                      <a:pt x="96" y="357"/>
                    </a:cubicBezTo>
                    <a:cubicBezTo>
                      <a:pt x="98" y="357"/>
                      <a:pt x="102" y="360"/>
                      <a:pt x="104" y="356"/>
                    </a:cubicBezTo>
                    <a:cubicBezTo>
                      <a:pt x="105" y="353"/>
                      <a:pt x="105" y="350"/>
                      <a:pt x="104" y="350"/>
                    </a:cubicBezTo>
                    <a:cubicBezTo>
                      <a:pt x="102" y="349"/>
                      <a:pt x="98" y="348"/>
                      <a:pt x="101" y="344"/>
                    </a:cubicBezTo>
                    <a:cubicBezTo>
                      <a:pt x="104" y="340"/>
                      <a:pt x="108" y="334"/>
                      <a:pt x="109" y="330"/>
                    </a:cubicBezTo>
                    <a:cubicBezTo>
                      <a:pt x="109" y="325"/>
                      <a:pt x="107" y="321"/>
                      <a:pt x="109" y="319"/>
                    </a:cubicBezTo>
                    <a:cubicBezTo>
                      <a:pt x="111" y="318"/>
                      <a:pt x="114" y="319"/>
                      <a:pt x="118" y="317"/>
                    </a:cubicBezTo>
                    <a:cubicBezTo>
                      <a:pt x="121" y="315"/>
                      <a:pt x="118" y="312"/>
                      <a:pt x="120" y="311"/>
                    </a:cubicBezTo>
                    <a:cubicBezTo>
                      <a:pt x="121" y="309"/>
                      <a:pt x="124" y="304"/>
                      <a:pt x="126" y="302"/>
                    </a:cubicBezTo>
                    <a:cubicBezTo>
                      <a:pt x="128" y="301"/>
                      <a:pt x="130" y="299"/>
                      <a:pt x="128" y="296"/>
                    </a:cubicBezTo>
                    <a:cubicBezTo>
                      <a:pt x="127" y="294"/>
                      <a:pt x="132" y="292"/>
                      <a:pt x="132" y="288"/>
                    </a:cubicBezTo>
                    <a:cubicBezTo>
                      <a:pt x="132" y="285"/>
                      <a:pt x="137" y="282"/>
                      <a:pt x="140" y="282"/>
                    </a:cubicBezTo>
                    <a:cubicBezTo>
                      <a:pt x="143" y="282"/>
                      <a:pt x="149" y="282"/>
                      <a:pt x="149" y="279"/>
                    </a:cubicBezTo>
                    <a:cubicBezTo>
                      <a:pt x="149" y="275"/>
                      <a:pt x="147" y="269"/>
                      <a:pt x="151" y="271"/>
                    </a:cubicBezTo>
                    <a:cubicBezTo>
                      <a:pt x="156" y="273"/>
                      <a:pt x="160" y="270"/>
                      <a:pt x="163" y="273"/>
                    </a:cubicBezTo>
                    <a:cubicBezTo>
                      <a:pt x="166" y="275"/>
                      <a:pt x="171" y="275"/>
                      <a:pt x="171" y="271"/>
                    </a:cubicBezTo>
                    <a:cubicBezTo>
                      <a:pt x="171" y="266"/>
                      <a:pt x="172" y="259"/>
                      <a:pt x="177" y="262"/>
                    </a:cubicBezTo>
                    <a:cubicBezTo>
                      <a:pt x="177" y="262"/>
                      <a:pt x="178" y="263"/>
                      <a:pt x="178" y="263"/>
                    </a:cubicBezTo>
                    <a:cubicBezTo>
                      <a:pt x="180" y="259"/>
                      <a:pt x="183" y="257"/>
                      <a:pt x="186" y="257"/>
                    </a:cubicBezTo>
                    <a:cubicBezTo>
                      <a:pt x="190" y="258"/>
                      <a:pt x="193" y="265"/>
                      <a:pt x="198" y="266"/>
                    </a:cubicBezTo>
                    <a:cubicBezTo>
                      <a:pt x="203" y="267"/>
                      <a:pt x="209" y="270"/>
                      <a:pt x="210" y="267"/>
                    </a:cubicBezTo>
                    <a:cubicBezTo>
                      <a:pt x="212" y="264"/>
                      <a:pt x="216" y="269"/>
                      <a:pt x="219" y="267"/>
                    </a:cubicBezTo>
                    <a:cubicBezTo>
                      <a:pt x="222" y="266"/>
                      <a:pt x="222" y="273"/>
                      <a:pt x="225" y="269"/>
                    </a:cubicBezTo>
                    <a:cubicBezTo>
                      <a:pt x="228" y="265"/>
                      <a:pt x="225" y="262"/>
                      <a:pt x="230" y="263"/>
                    </a:cubicBezTo>
                    <a:cubicBezTo>
                      <a:pt x="235" y="263"/>
                      <a:pt x="232" y="257"/>
                      <a:pt x="232" y="253"/>
                    </a:cubicBezTo>
                    <a:cubicBezTo>
                      <a:pt x="232" y="249"/>
                      <a:pt x="239" y="249"/>
                      <a:pt x="239" y="246"/>
                    </a:cubicBezTo>
                    <a:cubicBezTo>
                      <a:pt x="239" y="242"/>
                      <a:pt x="249" y="245"/>
                      <a:pt x="250" y="243"/>
                    </a:cubicBezTo>
                    <a:cubicBezTo>
                      <a:pt x="252" y="241"/>
                      <a:pt x="257" y="239"/>
                      <a:pt x="260" y="243"/>
                    </a:cubicBezTo>
                    <a:cubicBezTo>
                      <a:pt x="262" y="247"/>
                      <a:pt x="271" y="248"/>
                      <a:pt x="271" y="251"/>
                    </a:cubicBezTo>
                    <a:cubicBezTo>
                      <a:pt x="272" y="252"/>
                      <a:pt x="271" y="255"/>
                      <a:pt x="271" y="257"/>
                    </a:cubicBezTo>
                    <a:cubicBezTo>
                      <a:pt x="273" y="256"/>
                      <a:pt x="275" y="255"/>
                      <a:pt x="277" y="255"/>
                    </a:cubicBezTo>
                    <a:cubicBezTo>
                      <a:pt x="280" y="255"/>
                      <a:pt x="283" y="250"/>
                      <a:pt x="286" y="250"/>
                    </a:cubicBezTo>
                    <a:cubicBezTo>
                      <a:pt x="288" y="251"/>
                      <a:pt x="291" y="250"/>
                      <a:pt x="292" y="246"/>
                    </a:cubicBezTo>
                    <a:cubicBezTo>
                      <a:pt x="289" y="245"/>
                      <a:pt x="284" y="244"/>
                      <a:pt x="283" y="247"/>
                    </a:cubicBezTo>
                    <a:close/>
                    <a:moveTo>
                      <a:pt x="82" y="33"/>
                    </a:moveTo>
                    <a:cubicBezTo>
                      <a:pt x="86" y="34"/>
                      <a:pt x="77" y="39"/>
                      <a:pt x="75" y="44"/>
                    </a:cubicBezTo>
                    <a:cubicBezTo>
                      <a:pt x="74" y="49"/>
                      <a:pt x="83" y="53"/>
                      <a:pt x="86" y="56"/>
                    </a:cubicBezTo>
                    <a:cubicBezTo>
                      <a:pt x="90" y="60"/>
                      <a:pt x="99" y="59"/>
                      <a:pt x="102" y="57"/>
                    </a:cubicBezTo>
                    <a:cubicBezTo>
                      <a:pt x="106" y="55"/>
                      <a:pt x="105" y="48"/>
                      <a:pt x="109" y="49"/>
                    </a:cubicBezTo>
                    <a:cubicBezTo>
                      <a:pt x="113" y="49"/>
                      <a:pt x="111" y="45"/>
                      <a:pt x="114" y="44"/>
                    </a:cubicBezTo>
                    <a:cubicBezTo>
                      <a:pt x="118" y="42"/>
                      <a:pt x="118" y="47"/>
                      <a:pt x="115" y="50"/>
                    </a:cubicBezTo>
                    <a:cubicBezTo>
                      <a:pt x="112" y="54"/>
                      <a:pt x="121" y="54"/>
                      <a:pt x="125" y="49"/>
                    </a:cubicBezTo>
                    <a:cubicBezTo>
                      <a:pt x="130" y="45"/>
                      <a:pt x="131" y="49"/>
                      <a:pt x="130" y="53"/>
                    </a:cubicBezTo>
                    <a:cubicBezTo>
                      <a:pt x="129" y="57"/>
                      <a:pt x="119" y="55"/>
                      <a:pt x="116" y="59"/>
                    </a:cubicBezTo>
                    <a:cubicBezTo>
                      <a:pt x="113" y="64"/>
                      <a:pt x="103" y="60"/>
                      <a:pt x="98" y="65"/>
                    </a:cubicBezTo>
                    <a:cubicBezTo>
                      <a:pt x="94" y="70"/>
                      <a:pt x="102" y="71"/>
                      <a:pt x="109" y="69"/>
                    </a:cubicBezTo>
                    <a:cubicBezTo>
                      <a:pt x="115" y="68"/>
                      <a:pt x="127" y="67"/>
                      <a:pt x="131" y="68"/>
                    </a:cubicBezTo>
                    <a:cubicBezTo>
                      <a:pt x="136" y="69"/>
                      <a:pt x="128" y="71"/>
                      <a:pt x="121" y="71"/>
                    </a:cubicBezTo>
                    <a:cubicBezTo>
                      <a:pt x="113" y="71"/>
                      <a:pt x="111" y="73"/>
                      <a:pt x="111" y="75"/>
                    </a:cubicBezTo>
                    <a:cubicBezTo>
                      <a:pt x="111" y="77"/>
                      <a:pt x="101" y="73"/>
                      <a:pt x="100" y="77"/>
                    </a:cubicBezTo>
                    <a:cubicBezTo>
                      <a:pt x="100" y="82"/>
                      <a:pt x="110" y="84"/>
                      <a:pt x="111" y="86"/>
                    </a:cubicBezTo>
                    <a:cubicBezTo>
                      <a:pt x="113" y="89"/>
                      <a:pt x="120" y="87"/>
                      <a:pt x="122" y="88"/>
                    </a:cubicBezTo>
                    <a:cubicBezTo>
                      <a:pt x="125" y="89"/>
                      <a:pt x="118" y="91"/>
                      <a:pt x="117" y="92"/>
                    </a:cubicBezTo>
                    <a:cubicBezTo>
                      <a:pt x="116" y="93"/>
                      <a:pt x="125" y="95"/>
                      <a:pt x="126" y="97"/>
                    </a:cubicBezTo>
                    <a:cubicBezTo>
                      <a:pt x="128" y="100"/>
                      <a:pt x="134" y="99"/>
                      <a:pt x="134" y="95"/>
                    </a:cubicBezTo>
                    <a:cubicBezTo>
                      <a:pt x="133" y="91"/>
                      <a:pt x="139" y="78"/>
                      <a:pt x="147" y="75"/>
                    </a:cubicBezTo>
                    <a:cubicBezTo>
                      <a:pt x="154" y="72"/>
                      <a:pt x="150" y="70"/>
                      <a:pt x="151" y="65"/>
                    </a:cubicBezTo>
                    <a:cubicBezTo>
                      <a:pt x="152" y="61"/>
                      <a:pt x="158" y="65"/>
                      <a:pt x="156" y="61"/>
                    </a:cubicBezTo>
                    <a:cubicBezTo>
                      <a:pt x="154" y="58"/>
                      <a:pt x="155" y="56"/>
                      <a:pt x="160" y="52"/>
                    </a:cubicBezTo>
                    <a:cubicBezTo>
                      <a:pt x="165" y="47"/>
                      <a:pt x="168" y="50"/>
                      <a:pt x="174" y="48"/>
                    </a:cubicBezTo>
                    <a:cubicBezTo>
                      <a:pt x="179" y="45"/>
                      <a:pt x="182" y="50"/>
                      <a:pt x="176" y="50"/>
                    </a:cubicBezTo>
                    <a:cubicBezTo>
                      <a:pt x="170" y="51"/>
                      <a:pt x="173" y="57"/>
                      <a:pt x="178" y="59"/>
                    </a:cubicBezTo>
                    <a:cubicBezTo>
                      <a:pt x="182" y="60"/>
                      <a:pt x="178" y="62"/>
                      <a:pt x="182" y="63"/>
                    </a:cubicBezTo>
                    <a:cubicBezTo>
                      <a:pt x="185" y="63"/>
                      <a:pt x="184" y="69"/>
                      <a:pt x="180" y="73"/>
                    </a:cubicBezTo>
                    <a:cubicBezTo>
                      <a:pt x="175" y="78"/>
                      <a:pt x="181" y="79"/>
                      <a:pt x="190" y="76"/>
                    </a:cubicBezTo>
                    <a:cubicBezTo>
                      <a:pt x="200" y="72"/>
                      <a:pt x="194" y="79"/>
                      <a:pt x="197" y="81"/>
                    </a:cubicBezTo>
                    <a:cubicBezTo>
                      <a:pt x="199" y="84"/>
                      <a:pt x="207" y="79"/>
                      <a:pt x="211" y="75"/>
                    </a:cubicBezTo>
                    <a:cubicBezTo>
                      <a:pt x="215" y="70"/>
                      <a:pt x="221" y="71"/>
                      <a:pt x="221" y="68"/>
                    </a:cubicBezTo>
                    <a:cubicBezTo>
                      <a:pt x="220" y="65"/>
                      <a:pt x="216" y="65"/>
                      <a:pt x="213" y="66"/>
                    </a:cubicBezTo>
                    <a:cubicBezTo>
                      <a:pt x="209" y="68"/>
                      <a:pt x="200" y="67"/>
                      <a:pt x="203" y="64"/>
                    </a:cubicBezTo>
                    <a:cubicBezTo>
                      <a:pt x="206" y="61"/>
                      <a:pt x="206" y="59"/>
                      <a:pt x="201" y="59"/>
                    </a:cubicBezTo>
                    <a:cubicBezTo>
                      <a:pt x="197" y="60"/>
                      <a:pt x="189" y="58"/>
                      <a:pt x="193" y="56"/>
                    </a:cubicBezTo>
                    <a:cubicBezTo>
                      <a:pt x="196" y="55"/>
                      <a:pt x="190" y="50"/>
                      <a:pt x="186" y="50"/>
                    </a:cubicBezTo>
                    <a:cubicBezTo>
                      <a:pt x="183" y="50"/>
                      <a:pt x="184" y="46"/>
                      <a:pt x="184" y="43"/>
                    </a:cubicBezTo>
                    <a:cubicBezTo>
                      <a:pt x="184" y="41"/>
                      <a:pt x="174" y="39"/>
                      <a:pt x="176" y="38"/>
                    </a:cubicBezTo>
                    <a:cubicBezTo>
                      <a:pt x="178" y="37"/>
                      <a:pt x="172" y="35"/>
                      <a:pt x="170" y="37"/>
                    </a:cubicBezTo>
                    <a:cubicBezTo>
                      <a:pt x="169" y="39"/>
                      <a:pt x="166" y="39"/>
                      <a:pt x="166" y="36"/>
                    </a:cubicBezTo>
                    <a:cubicBezTo>
                      <a:pt x="166" y="33"/>
                      <a:pt x="158" y="33"/>
                      <a:pt x="155" y="34"/>
                    </a:cubicBezTo>
                    <a:cubicBezTo>
                      <a:pt x="152" y="34"/>
                      <a:pt x="154" y="27"/>
                      <a:pt x="151" y="25"/>
                    </a:cubicBezTo>
                    <a:cubicBezTo>
                      <a:pt x="148" y="23"/>
                      <a:pt x="144" y="29"/>
                      <a:pt x="142" y="29"/>
                    </a:cubicBezTo>
                    <a:cubicBezTo>
                      <a:pt x="139" y="28"/>
                      <a:pt x="143" y="24"/>
                      <a:pt x="145" y="21"/>
                    </a:cubicBezTo>
                    <a:cubicBezTo>
                      <a:pt x="146" y="18"/>
                      <a:pt x="134" y="14"/>
                      <a:pt x="133" y="17"/>
                    </a:cubicBezTo>
                    <a:cubicBezTo>
                      <a:pt x="132" y="20"/>
                      <a:pt x="129" y="12"/>
                      <a:pt x="127" y="12"/>
                    </a:cubicBezTo>
                    <a:cubicBezTo>
                      <a:pt x="124" y="11"/>
                      <a:pt x="126" y="17"/>
                      <a:pt x="124" y="17"/>
                    </a:cubicBezTo>
                    <a:cubicBezTo>
                      <a:pt x="122" y="18"/>
                      <a:pt x="119" y="20"/>
                      <a:pt x="123" y="22"/>
                    </a:cubicBezTo>
                    <a:cubicBezTo>
                      <a:pt x="126" y="25"/>
                      <a:pt x="130" y="37"/>
                      <a:pt x="130" y="39"/>
                    </a:cubicBezTo>
                    <a:cubicBezTo>
                      <a:pt x="129" y="41"/>
                      <a:pt x="118" y="30"/>
                      <a:pt x="117" y="25"/>
                    </a:cubicBezTo>
                    <a:cubicBezTo>
                      <a:pt x="117" y="20"/>
                      <a:pt x="111" y="16"/>
                      <a:pt x="109" y="19"/>
                    </a:cubicBezTo>
                    <a:cubicBezTo>
                      <a:pt x="108" y="23"/>
                      <a:pt x="104" y="25"/>
                      <a:pt x="105" y="28"/>
                    </a:cubicBezTo>
                    <a:cubicBezTo>
                      <a:pt x="106" y="32"/>
                      <a:pt x="102" y="33"/>
                      <a:pt x="102" y="30"/>
                    </a:cubicBezTo>
                    <a:cubicBezTo>
                      <a:pt x="102" y="27"/>
                      <a:pt x="96" y="24"/>
                      <a:pt x="93" y="24"/>
                    </a:cubicBezTo>
                    <a:cubicBezTo>
                      <a:pt x="91" y="23"/>
                      <a:pt x="99" y="22"/>
                      <a:pt x="103" y="20"/>
                    </a:cubicBezTo>
                    <a:cubicBezTo>
                      <a:pt x="107" y="18"/>
                      <a:pt x="100" y="16"/>
                      <a:pt x="96" y="18"/>
                    </a:cubicBezTo>
                    <a:cubicBezTo>
                      <a:pt x="93" y="20"/>
                      <a:pt x="89" y="17"/>
                      <a:pt x="87" y="19"/>
                    </a:cubicBezTo>
                    <a:cubicBezTo>
                      <a:pt x="85" y="22"/>
                      <a:pt x="82" y="19"/>
                      <a:pt x="79" y="19"/>
                    </a:cubicBezTo>
                    <a:cubicBezTo>
                      <a:pt x="75" y="18"/>
                      <a:pt x="72" y="24"/>
                      <a:pt x="70" y="23"/>
                    </a:cubicBezTo>
                    <a:cubicBezTo>
                      <a:pt x="67" y="22"/>
                      <a:pt x="66" y="28"/>
                      <a:pt x="70" y="34"/>
                    </a:cubicBezTo>
                    <a:cubicBezTo>
                      <a:pt x="74" y="40"/>
                      <a:pt x="77" y="32"/>
                      <a:pt x="82" y="33"/>
                    </a:cubicBezTo>
                    <a:close/>
                    <a:moveTo>
                      <a:pt x="71" y="53"/>
                    </a:moveTo>
                    <a:cubicBezTo>
                      <a:pt x="74" y="54"/>
                      <a:pt x="77" y="59"/>
                      <a:pt x="79" y="59"/>
                    </a:cubicBezTo>
                    <a:cubicBezTo>
                      <a:pt x="81" y="59"/>
                      <a:pt x="75" y="52"/>
                      <a:pt x="72" y="49"/>
                    </a:cubicBezTo>
                    <a:cubicBezTo>
                      <a:pt x="69" y="45"/>
                      <a:pt x="69" y="42"/>
                      <a:pt x="64" y="43"/>
                    </a:cubicBezTo>
                    <a:cubicBezTo>
                      <a:pt x="60" y="44"/>
                      <a:pt x="68" y="52"/>
                      <a:pt x="71" y="53"/>
                    </a:cubicBezTo>
                    <a:close/>
                    <a:moveTo>
                      <a:pt x="151" y="13"/>
                    </a:moveTo>
                    <a:cubicBezTo>
                      <a:pt x="153" y="14"/>
                      <a:pt x="147" y="14"/>
                      <a:pt x="150" y="17"/>
                    </a:cubicBezTo>
                    <a:cubicBezTo>
                      <a:pt x="157" y="24"/>
                      <a:pt x="187" y="16"/>
                      <a:pt x="191" y="18"/>
                    </a:cubicBezTo>
                    <a:cubicBezTo>
                      <a:pt x="195" y="20"/>
                      <a:pt x="166" y="23"/>
                      <a:pt x="167" y="26"/>
                    </a:cubicBezTo>
                    <a:cubicBezTo>
                      <a:pt x="168" y="29"/>
                      <a:pt x="192" y="32"/>
                      <a:pt x="194" y="30"/>
                    </a:cubicBezTo>
                    <a:cubicBezTo>
                      <a:pt x="195" y="28"/>
                      <a:pt x="199" y="34"/>
                      <a:pt x="207" y="34"/>
                    </a:cubicBezTo>
                    <a:cubicBezTo>
                      <a:pt x="215" y="35"/>
                      <a:pt x="214" y="31"/>
                      <a:pt x="220" y="31"/>
                    </a:cubicBezTo>
                    <a:cubicBezTo>
                      <a:pt x="226" y="31"/>
                      <a:pt x="234" y="28"/>
                      <a:pt x="234" y="25"/>
                    </a:cubicBezTo>
                    <a:cubicBezTo>
                      <a:pt x="235" y="21"/>
                      <a:pt x="251" y="17"/>
                      <a:pt x="250" y="12"/>
                    </a:cubicBezTo>
                    <a:cubicBezTo>
                      <a:pt x="248" y="6"/>
                      <a:pt x="232" y="10"/>
                      <a:pt x="228" y="8"/>
                    </a:cubicBezTo>
                    <a:cubicBezTo>
                      <a:pt x="223" y="6"/>
                      <a:pt x="213" y="3"/>
                      <a:pt x="211" y="6"/>
                    </a:cubicBezTo>
                    <a:cubicBezTo>
                      <a:pt x="209" y="10"/>
                      <a:pt x="206" y="11"/>
                      <a:pt x="205" y="9"/>
                    </a:cubicBezTo>
                    <a:cubicBezTo>
                      <a:pt x="203" y="8"/>
                      <a:pt x="205" y="0"/>
                      <a:pt x="198" y="2"/>
                    </a:cubicBezTo>
                    <a:cubicBezTo>
                      <a:pt x="191" y="4"/>
                      <a:pt x="198" y="12"/>
                      <a:pt x="196" y="13"/>
                    </a:cubicBezTo>
                    <a:cubicBezTo>
                      <a:pt x="195" y="14"/>
                      <a:pt x="188" y="11"/>
                      <a:pt x="187" y="8"/>
                    </a:cubicBezTo>
                    <a:cubicBezTo>
                      <a:pt x="187" y="4"/>
                      <a:pt x="179" y="12"/>
                      <a:pt x="178" y="7"/>
                    </a:cubicBezTo>
                    <a:cubicBezTo>
                      <a:pt x="177" y="3"/>
                      <a:pt x="168" y="0"/>
                      <a:pt x="166" y="0"/>
                    </a:cubicBezTo>
                    <a:cubicBezTo>
                      <a:pt x="164" y="1"/>
                      <a:pt x="168" y="3"/>
                      <a:pt x="166" y="5"/>
                    </a:cubicBezTo>
                    <a:cubicBezTo>
                      <a:pt x="165" y="7"/>
                      <a:pt x="160" y="3"/>
                      <a:pt x="158" y="3"/>
                    </a:cubicBezTo>
                    <a:cubicBezTo>
                      <a:pt x="156" y="3"/>
                      <a:pt x="159" y="7"/>
                      <a:pt x="158" y="9"/>
                    </a:cubicBezTo>
                    <a:cubicBezTo>
                      <a:pt x="157" y="11"/>
                      <a:pt x="153" y="3"/>
                      <a:pt x="150" y="3"/>
                    </a:cubicBezTo>
                    <a:cubicBezTo>
                      <a:pt x="146" y="3"/>
                      <a:pt x="148" y="7"/>
                      <a:pt x="145" y="8"/>
                    </a:cubicBezTo>
                    <a:cubicBezTo>
                      <a:pt x="143" y="8"/>
                      <a:pt x="149" y="11"/>
                      <a:pt x="151" y="1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8" name="Freeform 146">
                <a:extLst>
                  <a:ext uri="{FF2B5EF4-FFF2-40B4-BE49-F238E27FC236}">
                    <a16:creationId xmlns:a16="http://schemas.microsoft.com/office/drawing/2014/main" id="{87189AD1-8E9A-4C74-82F1-FAAD087772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0963" y="2270125"/>
                <a:ext cx="84137" cy="30163"/>
              </a:xfrm>
              <a:custGeom>
                <a:avLst/>
                <a:gdLst>
                  <a:gd name="T0" fmla="*/ 18 w 38"/>
                  <a:gd name="T1" fmla="*/ 2 h 14"/>
                  <a:gd name="T2" fmla="*/ 4 w 38"/>
                  <a:gd name="T3" fmla="*/ 6 h 14"/>
                  <a:gd name="T4" fmla="*/ 25 w 38"/>
                  <a:gd name="T5" fmla="*/ 11 h 14"/>
                  <a:gd name="T6" fmla="*/ 38 w 38"/>
                  <a:gd name="T7" fmla="*/ 9 h 14"/>
                  <a:gd name="T8" fmla="*/ 18 w 38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4">
                    <a:moveTo>
                      <a:pt x="18" y="2"/>
                    </a:moveTo>
                    <a:cubicBezTo>
                      <a:pt x="15" y="4"/>
                      <a:pt x="0" y="3"/>
                      <a:pt x="4" y="6"/>
                    </a:cubicBezTo>
                    <a:cubicBezTo>
                      <a:pt x="6" y="9"/>
                      <a:pt x="19" y="8"/>
                      <a:pt x="25" y="11"/>
                    </a:cubicBezTo>
                    <a:cubicBezTo>
                      <a:pt x="30" y="14"/>
                      <a:pt x="38" y="12"/>
                      <a:pt x="38" y="9"/>
                    </a:cubicBezTo>
                    <a:cubicBezTo>
                      <a:pt x="38" y="6"/>
                      <a:pt x="20" y="0"/>
                      <a:pt x="18" y="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69" name="Freeform 147">
                <a:extLst>
                  <a:ext uri="{FF2B5EF4-FFF2-40B4-BE49-F238E27FC236}">
                    <a16:creationId xmlns:a16="http://schemas.microsoft.com/office/drawing/2014/main" id="{94A9BC06-5A5D-47B1-8847-075CC322EA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7288" y="2895600"/>
                <a:ext cx="423862" cy="425450"/>
              </a:xfrm>
              <a:custGeom>
                <a:avLst/>
                <a:gdLst>
                  <a:gd name="T0" fmla="*/ 171 w 193"/>
                  <a:gd name="T1" fmla="*/ 24 h 194"/>
                  <a:gd name="T2" fmla="*/ 139 w 193"/>
                  <a:gd name="T3" fmla="*/ 9 h 194"/>
                  <a:gd name="T4" fmla="*/ 135 w 193"/>
                  <a:gd name="T5" fmla="*/ 31 h 194"/>
                  <a:gd name="T6" fmla="*/ 121 w 193"/>
                  <a:gd name="T7" fmla="*/ 42 h 194"/>
                  <a:gd name="T8" fmla="*/ 119 w 193"/>
                  <a:gd name="T9" fmla="*/ 57 h 194"/>
                  <a:gd name="T10" fmla="*/ 131 w 193"/>
                  <a:gd name="T11" fmla="*/ 53 h 194"/>
                  <a:gd name="T12" fmla="*/ 133 w 193"/>
                  <a:gd name="T13" fmla="*/ 44 h 194"/>
                  <a:gd name="T14" fmla="*/ 158 w 193"/>
                  <a:gd name="T15" fmla="*/ 45 h 194"/>
                  <a:gd name="T16" fmla="*/ 180 w 193"/>
                  <a:gd name="T17" fmla="*/ 32 h 194"/>
                  <a:gd name="T18" fmla="*/ 182 w 193"/>
                  <a:gd name="T19" fmla="*/ 21 h 194"/>
                  <a:gd name="T20" fmla="*/ 119 w 193"/>
                  <a:gd name="T21" fmla="*/ 82 h 194"/>
                  <a:gd name="T22" fmla="*/ 106 w 193"/>
                  <a:gd name="T23" fmla="*/ 108 h 194"/>
                  <a:gd name="T24" fmla="*/ 88 w 193"/>
                  <a:gd name="T25" fmla="*/ 112 h 194"/>
                  <a:gd name="T26" fmla="*/ 73 w 193"/>
                  <a:gd name="T27" fmla="*/ 133 h 194"/>
                  <a:gd name="T28" fmla="*/ 52 w 193"/>
                  <a:gd name="T29" fmla="*/ 137 h 194"/>
                  <a:gd name="T30" fmla="*/ 18 w 193"/>
                  <a:gd name="T31" fmla="*/ 151 h 194"/>
                  <a:gd name="T32" fmla="*/ 31 w 193"/>
                  <a:gd name="T33" fmla="*/ 154 h 194"/>
                  <a:gd name="T34" fmla="*/ 64 w 193"/>
                  <a:gd name="T35" fmla="*/ 157 h 194"/>
                  <a:gd name="T36" fmla="*/ 81 w 193"/>
                  <a:gd name="T37" fmla="*/ 149 h 194"/>
                  <a:gd name="T38" fmla="*/ 99 w 193"/>
                  <a:gd name="T39" fmla="*/ 146 h 194"/>
                  <a:gd name="T40" fmla="*/ 114 w 193"/>
                  <a:gd name="T41" fmla="*/ 140 h 194"/>
                  <a:gd name="T42" fmla="*/ 127 w 193"/>
                  <a:gd name="T43" fmla="*/ 123 h 194"/>
                  <a:gd name="T44" fmla="*/ 140 w 193"/>
                  <a:gd name="T45" fmla="*/ 93 h 194"/>
                  <a:gd name="T46" fmla="*/ 121 w 193"/>
                  <a:gd name="T47" fmla="*/ 67 h 194"/>
                  <a:gd name="T48" fmla="*/ 37 w 193"/>
                  <a:gd name="T49" fmla="*/ 157 h 194"/>
                  <a:gd name="T50" fmla="*/ 41 w 193"/>
                  <a:gd name="T51" fmla="*/ 169 h 194"/>
                  <a:gd name="T52" fmla="*/ 59 w 193"/>
                  <a:gd name="T53" fmla="*/ 155 h 194"/>
                  <a:gd name="T54" fmla="*/ 24 w 193"/>
                  <a:gd name="T55" fmla="*/ 167 h 194"/>
                  <a:gd name="T56" fmla="*/ 6 w 193"/>
                  <a:gd name="T57" fmla="*/ 163 h 194"/>
                  <a:gd name="T58" fmla="*/ 8 w 193"/>
                  <a:gd name="T59" fmla="*/ 168 h 194"/>
                  <a:gd name="T60" fmla="*/ 14 w 193"/>
                  <a:gd name="T61" fmla="*/ 193 h 194"/>
                  <a:gd name="T62" fmla="*/ 24 w 193"/>
                  <a:gd name="T63" fmla="*/ 167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3" h="194">
                    <a:moveTo>
                      <a:pt x="182" y="21"/>
                    </a:moveTo>
                    <a:cubicBezTo>
                      <a:pt x="180" y="18"/>
                      <a:pt x="176" y="23"/>
                      <a:pt x="171" y="24"/>
                    </a:cubicBezTo>
                    <a:cubicBezTo>
                      <a:pt x="166" y="25"/>
                      <a:pt x="150" y="12"/>
                      <a:pt x="146" y="6"/>
                    </a:cubicBezTo>
                    <a:cubicBezTo>
                      <a:pt x="142" y="0"/>
                      <a:pt x="135" y="5"/>
                      <a:pt x="139" y="9"/>
                    </a:cubicBezTo>
                    <a:cubicBezTo>
                      <a:pt x="142" y="14"/>
                      <a:pt x="138" y="15"/>
                      <a:pt x="138" y="21"/>
                    </a:cubicBezTo>
                    <a:cubicBezTo>
                      <a:pt x="138" y="27"/>
                      <a:pt x="134" y="27"/>
                      <a:pt x="135" y="31"/>
                    </a:cubicBezTo>
                    <a:cubicBezTo>
                      <a:pt x="135" y="35"/>
                      <a:pt x="129" y="34"/>
                      <a:pt x="125" y="35"/>
                    </a:cubicBezTo>
                    <a:cubicBezTo>
                      <a:pt x="121" y="36"/>
                      <a:pt x="126" y="40"/>
                      <a:pt x="121" y="42"/>
                    </a:cubicBezTo>
                    <a:cubicBezTo>
                      <a:pt x="116" y="44"/>
                      <a:pt x="117" y="47"/>
                      <a:pt x="119" y="48"/>
                    </a:cubicBezTo>
                    <a:cubicBezTo>
                      <a:pt x="121" y="50"/>
                      <a:pt x="120" y="54"/>
                      <a:pt x="119" y="57"/>
                    </a:cubicBezTo>
                    <a:cubicBezTo>
                      <a:pt x="118" y="60"/>
                      <a:pt x="122" y="58"/>
                      <a:pt x="125" y="55"/>
                    </a:cubicBezTo>
                    <a:cubicBezTo>
                      <a:pt x="127" y="52"/>
                      <a:pt x="130" y="56"/>
                      <a:pt x="131" y="53"/>
                    </a:cubicBezTo>
                    <a:cubicBezTo>
                      <a:pt x="131" y="50"/>
                      <a:pt x="124" y="48"/>
                      <a:pt x="124" y="45"/>
                    </a:cubicBezTo>
                    <a:cubicBezTo>
                      <a:pt x="124" y="42"/>
                      <a:pt x="129" y="46"/>
                      <a:pt x="133" y="44"/>
                    </a:cubicBezTo>
                    <a:cubicBezTo>
                      <a:pt x="137" y="42"/>
                      <a:pt x="145" y="44"/>
                      <a:pt x="150" y="48"/>
                    </a:cubicBezTo>
                    <a:cubicBezTo>
                      <a:pt x="155" y="52"/>
                      <a:pt x="157" y="51"/>
                      <a:pt x="158" y="45"/>
                    </a:cubicBezTo>
                    <a:cubicBezTo>
                      <a:pt x="159" y="40"/>
                      <a:pt x="166" y="38"/>
                      <a:pt x="174" y="38"/>
                    </a:cubicBezTo>
                    <a:cubicBezTo>
                      <a:pt x="182" y="38"/>
                      <a:pt x="182" y="34"/>
                      <a:pt x="180" y="32"/>
                    </a:cubicBezTo>
                    <a:cubicBezTo>
                      <a:pt x="178" y="31"/>
                      <a:pt x="193" y="21"/>
                      <a:pt x="192" y="18"/>
                    </a:cubicBezTo>
                    <a:cubicBezTo>
                      <a:pt x="192" y="16"/>
                      <a:pt x="184" y="24"/>
                      <a:pt x="182" y="21"/>
                    </a:cubicBezTo>
                    <a:close/>
                    <a:moveTo>
                      <a:pt x="121" y="67"/>
                    </a:moveTo>
                    <a:cubicBezTo>
                      <a:pt x="117" y="69"/>
                      <a:pt x="115" y="79"/>
                      <a:pt x="119" y="82"/>
                    </a:cubicBezTo>
                    <a:cubicBezTo>
                      <a:pt x="122" y="85"/>
                      <a:pt x="113" y="91"/>
                      <a:pt x="113" y="97"/>
                    </a:cubicBezTo>
                    <a:cubicBezTo>
                      <a:pt x="113" y="103"/>
                      <a:pt x="107" y="103"/>
                      <a:pt x="106" y="108"/>
                    </a:cubicBezTo>
                    <a:cubicBezTo>
                      <a:pt x="105" y="113"/>
                      <a:pt x="101" y="112"/>
                      <a:pt x="96" y="116"/>
                    </a:cubicBezTo>
                    <a:cubicBezTo>
                      <a:pt x="90" y="120"/>
                      <a:pt x="87" y="115"/>
                      <a:pt x="88" y="112"/>
                    </a:cubicBezTo>
                    <a:cubicBezTo>
                      <a:pt x="90" y="109"/>
                      <a:pt x="80" y="114"/>
                      <a:pt x="80" y="121"/>
                    </a:cubicBezTo>
                    <a:cubicBezTo>
                      <a:pt x="80" y="129"/>
                      <a:pt x="71" y="129"/>
                      <a:pt x="73" y="133"/>
                    </a:cubicBezTo>
                    <a:cubicBezTo>
                      <a:pt x="75" y="136"/>
                      <a:pt x="66" y="138"/>
                      <a:pt x="66" y="135"/>
                    </a:cubicBezTo>
                    <a:cubicBezTo>
                      <a:pt x="66" y="132"/>
                      <a:pt x="60" y="134"/>
                      <a:pt x="52" y="137"/>
                    </a:cubicBezTo>
                    <a:cubicBezTo>
                      <a:pt x="45" y="140"/>
                      <a:pt x="40" y="133"/>
                      <a:pt x="36" y="138"/>
                    </a:cubicBezTo>
                    <a:cubicBezTo>
                      <a:pt x="31" y="142"/>
                      <a:pt x="24" y="150"/>
                      <a:pt x="18" y="151"/>
                    </a:cubicBezTo>
                    <a:cubicBezTo>
                      <a:pt x="13" y="152"/>
                      <a:pt x="16" y="158"/>
                      <a:pt x="18" y="157"/>
                    </a:cubicBezTo>
                    <a:cubicBezTo>
                      <a:pt x="22" y="155"/>
                      <a:pt x="29" y="157"/>
                      <a:pt x="31" y="154"/>
                    </a:cubicBezTo>
                    <a:cubicBezTo>
                      <a:pt x="33" y="151"/>
                      <a:pt x="49" y="148"/>
                      <a:pt x="59" y="147"/>
                    </a:cubicBezTo>
                    <a:cubicBezTo>
                      <a:pt x="69" y="147"/>
                      <a:pt x="63" y="152"/>
                      <a:pt x="64" y="157"/>
                    </a:cubicBezTo>
                    <a:cubicBezTo>
                      <a:pt x="64" y="163"/>
                      <a:pt x="73" y="162"/>
                      <a:pt x="77" y="157"/>
                    </a:cubicBezTo>
                    <a:cubicBezTo>
                      <a:pt x="81" y="152"/>
                      <a:pt x="85" y="152"/>
                      <a:pt x="81" y="149"/>
                    </a:cubicBezTo>
                    <a:cubicBezTo>
                      <a:pt x="77" y="146"/>
                      <a:pt x="82" y="143"/>
                      <a:pt x="84" y="147"/>
                    </a:cubicBezTo>
                    <a:cubicBezTo>
                      <a:pt x="87" y="151"/>
                      <a:pt x="95" y="152"/>
                      <a:pt x="99" y="146"/>
                    </a:cubicBezTo>
                    <a:cubicBezTo>
                      <a:pt x="102" y="141"/>
                      <a:pt x="103" y="147"/>
                      <a:pt x="107" y="147"/>
                    </a:cubicBezTo>
                    <a:cubicBezTo>
                      <a:pt x="111" y="147"/>
                      <a:pt x="113" y="137"/>
                      <a:pt x="114" y="140"/>
                    </a:cubicBezTo>
                    <a:cubicBezTo>
                      <a:pt x="114" y="144"/>
                      <a:pt x="120" y="143"/>
                      <a:pt x="124" y="139"/>
                    </a:cubicBezTo>
                    <a:cubicBezTo>
                      <a:pt x="128" y="134"/>
                      <a:pt x="125" y="127"/>
                      <a:pt x="127" y="123"/>
                    </a:cubicBezTo>
                    <a:cubicBezTo>
                      <a:pt x="130" y="119"/>
                      <a:pt x="133" y="110"/>
                      <a:pt x="130" y="105"/>
                    </a:cubicBezTo>
                    <a:cubicBezTo>
                      <a:pt x="127" y="100"/>
                      <a:pt x="136" y="97"/>
                      <a:pt x="140" y="93"/>
                    </a:cubicBezTo>
                    <a:cubicBezTo>
                      <a:pt x="145" y="89"/>
                      <a:pt x="135" y="69"/>
                      <a:pt x="135" y="63"/>
                    </a:cubicBezTo>
                    <a:cubicBezTo>
                      <a:pt x="135" y="57"/>
                      <a:pt x="124" y="65"/>
                      <a:pt x="121" y="67"/>
                    </a:cubicBezTo>
                    <a:close/>
                    <a:moveTo>
                      <a:pt x="47" y="154"/>
                    </a:moveTo>
                    <a:cubicBezTo>
                      <a:pt x="46" y="157"/>
                      <a:pt x="42" y="156"/>
                      <a:pt x="37" y="157"/>
                    </a:cubicBezTo>
                    <a:cubicBezTo>
                      <a:pt x="31" y="158"/>
                      <a:pt x="31" y="170"/>
                      <a:pt x="35" y="172"/>
                    </a:cubicBezTo>
                    <a:cubicBezTo>
                      <a:pt x="38" y="173"/>
                      <a:pt x="40" y="173"/>
                      <a:pt x="41" y="169"/>
                    </a:cubicBezTo>
                    <a:cubicBezTo>
                      <a:pt x="42" y="165"/>
                      <a:pt x="48" y="163"/>
                      <a:pt x="51" y="165"/>
                    </a:cubicBezTo>
                    <a:cubicBezTo>
                      <a:pt x="54" y="167"/>
                      <a:pt x="59" y="160"/>
                      <a:pt x="59" y="155"/>
                    </a:cubicBezTo>
                    <a:cubicBezTo>
                      <a:pt x="59" y="150"/>
                      <a:pt x="49" y="150"/>
                      <a:pt x="47" y="154"/>
                    </a:cubicBezTo>
                    <a:close/>
                    <a:moveTo>
                      <a:pt x="24" y="167"/>
                    </a:moveTo>
                    <a:cubicBezTo>
                      <a:pt x="24" y="163"/>
                      <a:pt x="17" y="164"/>
                      <a:pt x="17" y="161"/>
                    </a:cubicBezTo>
                    <a:cubicBezTo>
                      <a:pt x="16" y="158"/>
                      <a:pt x="11" y="160"/>
                      <a:pt x="6" y="163"/>
                    </a:cubicBezTo>
                    <a:cubicBezTo>
                      <a:pt x="1" y="167"/>
                      <a:pt x="0" y="168"/>
                      <a:pt x="2" y="171"/>
                    </a:cubicBezTo>
                    <a:cubicBezTo>
                      <a:pt x="4" y="175"/>
                      <a:pt x="7" y="172"/>
                      <a:pt x="8" y="168"/>
                    </a:cubicBezTo>
                    <a:cubicBezTo>
                      <a:pt x="9" y="164"/>
                      <a:pt x="13" y="173"/>
                      <a:pt x="10" y="179"/>
                    </a:cubicBezTo>
                    <a:cubicBezTo>
                      <a:pt x="7" y="185"/>
                      <a:pt x="10" y="194"/>
                      <a:pt x="14" y="193"/>
                    </a:cubicBezTo>
                    <a:cubicBezTo>
                      <a:pt x="17" y="192"/>
                      <a:pt x="22" y="180"/>
                      <a:pt x="27" y="174"/>
                    </a:cubicBezTo>
                    <a:cubicBezTo>
                      <a:pt x="32" y="168"/>
                      <a:pt x="24" y="170"/>
                      <a:pt x="24" y="16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0" name="Freeform 148">
                <a:extLst>
                  <a:ext uri="{FF2B5EF4-FFF2-40B4-BE49-F238E27FC236}">
                    <a16:creationId xmlns:a16="http://schemas.microsoft.com/office/drawing/2014/main" id="{95341525-A76A-4320-B10D-343D1B70B4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0" y="2638425"/>
                <a:ext cx="1485900" cy="1030288"/>
              </a:xfrm>
              <a:custGeom>
                <a:avLst/>
                <a:gdLst>
                  <a:gd name="T0" fmla="*/ 644 w 677"/>
                  <a:gd name="T1" fmla="*/ 88 h 469"/>
                  <a:gd name="T2" fmla="*/ 611 w 677"/>
                  <a:gd name="T3" fmla="*/ 63 h 469"/>
                  <a:gd name="T4" fmla="*/ 583 w 677"/>
                  <a:gd name="T5" fmla="*/ 26 h 469"/>
                  <a:gd name="T6" fmla="*/ 544 w 677"/>
                  <a:gd name="T7" fmla="*/ 1 h 469"/>
                  <a:gd name="T8" fmla="*/ 518 w 677"/>
                  <a:gd name="T9" fmla="*/ 21 h 469"/>
                  <a:gd name="T10" fmla="*/ 495 w 677"/>
                  <a:gd name="T11" fmla="*/ 54 h 469"/>
                  <a:gd name="T12" fmla="*/ 462 w 677"/>
                  <a:gd name="T13" fmla="*/ 73 h 469"/>
                  <a:gd name="T14" fmla="*/ 482 w 677"/>
                  <a:gd name="T15" fmla="*/ 87 h 469"/>
                  <a:gd name="T16" fmla="*/ 482 w 677"/>
                  <a:gd name="T17" fmla="*/ 105 h 469"/>
                  <a:gd name="T18" fmla="*/ 423 w 677"/>
                  <a:gd name="T19" fmla="*/ 127 h 469"/>
                  <a:gd name="T20" fmla="*/ 381 w 677"/>
                  <a:gd name="T21" fmla="*/ 162 h 469"/>
                  <a:gd name="T22" fmla="*/ 315 w 677"/>
                  <a:gd name="T23" fmla="*/ 166 h 469"/>
                  <a:gd name="T24" fmla="*/ 241 w 677"/>
                  <a:gd name="T25" fmla="*/ 157 h 469"/>
                  <a:gd name="T26" fmla="*/ 210 w 677"/>
                  <a:gd name="T27" fmla="*/ 125 h 469"/>
                  <a:gd name="T28" fmla="*/ 182 w 677"/>
                  <a:gd name="T29" fmla="*/ 90 h 469"/>
                  <a:gd name="T30" fmla="*/ 154 w 677"/>
                  <a:gd name="T31" fmla="*/ 65 h 469"/>
                  <a:gd name="T32" fmla="*/ 138 w 677"/>
                  <a:gd name="T33" fmla="*/ 76 h 469"/>
                  <a:gd name="T34" fmla="*/ 111 w 677"/>
                  <a:gd name="T35" fmla="*/ 97 h 469"/>
                  <a:gd name="T36" fmla="*/ 88 w 677"/>
                  <a:gd name="T37" fmla="*/ 121 h 469"/>
                  <a:gd name="T38" fmla="*/ 78 w 677"/>
                  <a:gd name="T39" fmla="*/ 150 h 469"/>
                  <a:gd name="T40" fmla="*/ 53 w 677"/>
                  <a:gd name="T41" fmla="*/ 176 h 469"/>
                  <a:gd name="T42" fmla="*/ 20 w 677"/>
                  <a:gd name="T43" fmla="*/ 186 h 469"/>
                  <a:gd name="T44" fmla="*/ 0 w 677"/>
                  <a:gd name="T45" fmla="*/ 201 h 469"/>
                  <a:gd name="T46" fmla="*/ 15 w 677"/>
                  <a:gd name="T47" fmla="*/ 233 h 469"/>
                  <a:gd name="T48" fmla="*/ 40 w 677"/>
                  <a:gd name="T49" fmla="*/ 254 h 469"/>
                  <a:gd name="T50" fmla="*/ 60 w 677"/>
                  <a:gd name="T51" fmla="*/ 248 h 469"/>
                  <a:gd name="T52" fmla="*/ 56 w 677"/>
                  <a:gd name="T53" fmla="*/ 276 h 469"/>
                  <a:gd name="T54" fmla="*/ 57 w 677"/>
                  <a:gd name="T55" fmla="*/ 304 h 469"/>
                  <a:gd name="T56" fmla="*/ 78 w 677"/>
                  <a:gd name="T57" fmla="*/ 322 h 469"/>
                  <a:gd name="T58" fmla="*/ 138 w 677"/>
                  <a:gd name="T59" fmla="*/ 347 h 469"/>
                  <a:gd name="T60" fmla="*/ 163 w 677"/>
                  <a:gd name="T61" fmla="*/ 353 h 469"/>
                  <a:gd name="T62" fmla="*/ 183 w 677"/>
                  <a:gd name="T63" fmla="*/ 348 h 469"/>
                  <a:gd name="T64" fmla="*/ 210 w 677"/>
                  <a:gd name="T65" fmla="*/ 341 h 469"/>
                  <a:gd name="T66" fmla="*/ 243 w 677"/>
                  <a:gd name="T67" fmla="*/ 341 h 469"/>
                  <a:gd name="T68" fmla="*/ 262 w 677"/>
                  <a:gd name="T69" fmla="*/ 352 h 469"/>
                  <a:gd name="T70" fmla="*/ 256 w 677"/>
                  <a:gd name="T71" fmla="*/ 396 h 469"/>
                  <a:gd name="T72" fmla="*/ 274 w 677"/>
                  <a:gd name="T73" fmla="*/ 419 h 469"/>
                  <a:gd name="T74" fmla="*/ 298 w 677"/>
                  <a:gd name="T75" fmla="*/ 430 h 469"/>
                  <a:gd name="T76" fmla="*/ 316 w 677"/>
                  <a:gd name="T77" fmla="*/ 412 h 469"/>
                  <a:gd name="T78" fmla="*/ 352 w 677"/>
                  <a:gd name="T79" fmla="*/ 410 h 469"/>
                  <a:gd name="T80" fmla="*/ 376 w 677"/>
                  <a:gd name="T81" fmla="*/ 425 h 469"/>
                  <a:gd name="T82" fmla="*/ 394 w 677"/>
                  <a:gd name="T83" fmla="*/ 440 h 469"/>
                  <a:gd name="T84" fmla="*/ 446 w 677"/>
                  <a:gd name="T85" fmla="*/ 413 h 469"/>
                  <a:gd name="T86" fmla="*/ 485 w 677"/>
                  <a:gd name="T87" fmla="*/ 392 h 469"/>
                  <a:gd name="T88" fmla="*/ 505 w 677"/>
                  <a:gd name="T89" fmla="*/ 369 h 469"/>
                  <a:gd name="T90" fmla="*/ 523 w 677"/>
                  <a:gd name="T91" fmla="*/ 345 h 469"/>
                  <a:gd name="T92" fmla="*/ 528 w 677"/>
                  <a:gd name="T93" fmla="*/ 323 h 469"/>
                  <a:gd name="T94" fmla="*/ 522 w 677"/>
                  <a:gd name="T95" fmla="*/ 307 h 469"/>
                  <a:gd name="T96" fmla="*/ 519 w 677"/>
                  <a:gd name="T97" fmla="*/ 290 h 469"/>
                  <a:gd name="T98" fmla="*/ 505 w 677"/>
                  <a:gd name="T99" fmla="*/ 252 h 469"/>
                  <a:gd name="T100" fmla="*/ 536 w 677"/>
                  <a:gd name="T101" fmla="*/ 235 h 469"/>
                  <a:gd name="T102" fmla="*/ 497 w 677"/>
                  <a:gd name="T103" fmla="*/ 224 h 469"/>
                  <a:gd name="T104" fmla="*/ 512 w 677"/>
                  <a:gd name="T105" fmla="*/ 192 h 469"/>
                  <a:gd name="T106" fmla="*/ 530 w 677"/>
                  <a:gd name="T107" fmla="*/ 209 h 469"/>
                  <a:gd name="T108" fmla="*/ 580 w 677"/>
                  <a:gd name="T109" fmla="*/ 180 h 469"/>
                  <a:gd name="T110" fmla="*/ 607 w 677"/>
                  <a:gd name="T111" fmla="*/ 168 h 469"/>
                  <a:gd name="T112" fmla="*/ 634 w 677"/>
                  <a:gd name="T113" fmla="*/ 158 h 469"/>
                  <a:gd name="T114" fmla="*/ 637 w 677"/>
                  <a:gd name="T115" fmla="*/ 128 h 469"/>
                  <a:gd name="T116" fmla="*/ 668 w 677"/>
                  <a:gd name="T117" fmla="*/ 107 h 469"/>
                  <a:gd name="T118" fmla="*/ 516 w 677"/>
                  <a:gd name="T119" fmla="*/ 419 h 469"/>
                  <a:gd name="T120" fmla="*/ 380 w 677"/>
                  <a:gd name="T121" fmla="*/ 46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77" h="469">
                    <a:moveTo>
                      <a:pt x="674" y="84"/>
                    </a:moveTo>
                    <a:cubicBezTo>
                      <a:pt x="674" y="78"/>
                      <a:pt x="667" y="80"/>
                      <a:pt x="665" y="81"/>
                    </a:cubicBezTo>
                    <a:cubicBezTo>
                      <a:pt x="662" y="83"/>
                      <a:pt x="656" y="81"/>
                      <a:pt x="654" y="85"/>
                    </a:cubicBezTo>
                    <a:cubicBezTo>
                      <a:pt x="652" y="89"/>
                      <a:pt x="648" y="87"/>
                      <a:pt x="644" y="88"/>
                    </a:cubicBezTo>
                    <a:cubicBezTo>
                      <a:pt x="639" y="88"/>
                      <a:pt x="632" y="86"/>
                      <a:pt x="633" y="83"/>
                    </a:cubicBezTo>
                    <a:cubicBezTo>
                      <a:pt x="633" y="80"/>
                      <a:pt x="630" y="77"/>
                      <a:pt x="630" y="74"/>
                    </a:cubicBezTo>
                    <a:cubicBezTo>
                      <a:pt x="631" y="70"/>
                      <a:pt x="626" y="72"/>
                      <a:pt x="622" y="68"/>
                    </a:cubicBezTo>
                    <a:cubicBezTo>
                      <a:pt x="619" y="65"/>
                      <a:pt x="612" y="63"/>
                      <a:pt x="611" y="63"/>
                    </a:cubicBezTo>
                    <a:cubicBezTo>
                      <a:pt x="610" y="64"/>
                      <a:pt x="606" y="60"/>
                      <a:pt x="600" y="59"/>
                    </a:cubicBezTo>
                    <a:cubicBezTo>
                      <a:pt x="594" y="59"/>
                      <a:pt x="595" y="55"/>
                      <a:pt x="596" y="53"/>
                    </a:cubicBezTo>
                    <a:cubicBezTo>
                      <a:pt x="596" y="51"/>
                      <a:pt x="591" y="43"/>
                      <a:pt x="590" y="39"/>
                    </a:cubicBezTo>
                    <a:cubicBezTo>
                      <a:pt x="589" y="35"/>
                      <a:pt x="585" y="35"/>
                      <a:pt x="583" y="26"/>
                    </a:cubicBezTo>
                    <a:cubicBezTo>
                      <a:pt x="582" y="17"/>
                      <a:pt x="577" y="20"/>
                      <a:pt x="578" y="16"/>
                    </a:cubicBezTo>
                    <a:cubicBezTo>
                      <a:pt x="579" y="12"/>
                      <a:pt x="572" y="10"/>
                      <a:pt x="571" y="7"/>
                    </a:cubicBezTo>
                    <a:cubicBezTo>
                      <a:pt x="569" y="5"/>
                      <a:pt x="562" y="6"/>
                      <a:pt x="557" y="3"/>
                    </a:cubicBezTo>
                    <a:cubicBezTo>
                      <a:pt x="552" y="1"/>
                      <a:pt x="549" y="3"/>
                      <a:pt x="544" y="1"/>
                    </a:cubicBezTo>
                    <a:cubicBezTo>
                      <a:pt x="540" y="0"/>
                      <a:pt x="529" y="3"/>
                      <a:pt x="528" y="3"/>
                    </a:cubicBezTo>
                    <a:cubicBezTo>
                      <a:pt x="526" y="3"/>
                      <a:pt x="518" y="1"/>
                      <a:pt x="513" y="7"/>
                    </a:cubicBezTo>
                    <a:cubicBezTo>
                      <a:pt x="509" y="14"/>
                      <a:pt x="512" y="13"/>
                      <a:pt x="514" y="13"/>
                    </a:cubicBezTo>
                    <a:cubicBezTo>
                      <a:pt x="516" y="13"/>
                      <a:pt x="517" y="19"/>
                      <a:pt x="518" y="21"/>
                    </a:cubicBezTo>
                    <a:cubicBezTo>
                      <a:pt x="518" y="23"/>
                      <a:pt x="514" y="26"/>
                      <a:pt x="513" y="27"/>
                    </a:cubicBezTo>
                    <a:cubicBezTo>
                      <a:pt x="511" y="28"/>
                      <a:pt x="506" y="35"/>
                      <a:pt x="506" y="38"/>
                    </a:cubicBezTo>
                    <a:cubicBezTo>
                      <a:pt x="505" y="40"/>
                      <a:pt x="500" y="47"/>
                      <a:pt x="500" y="49"/>
                    </a:cubicBezTo>
                    <a:cubicBezTo>
                      <a:pt x="501" y="52"/>
                      <a:pt x="498" y="54"/>
                      <a:pt x="495" y="54"/>
                    </a:cubicBezTo>
                    <a:cubicBezTo>
                      <a:pt x="493" y="55"/>
                      <a:pt x="487" y="59"/>
                      <a:pt x="485" y="60"/>
                    </a:cubicBezTo>
                    <a:cubicBezTo>
                      <a:pt x="483" y="61"/>
                      <a:pt x="475" y="59"/>
                      <a:pt x="474" y="57"/>
                    </a:cubicBezTo>
                    <a:cubicBezTo>
                      <a:pt x="473" y="56"/>
                      <a:pt x="472" y="56"/>
                      <a:pt x="471" y="55"/>
                    </a:cubicBezTo>
                    <a:cubicBezTo>
                      <a:pt x="462" y="73"/>
                      <a:pt x="462" y="73"/>
                      <a:pt x="462" y="73"/>
                    </a:cubicBezTo>
                    <a:cubicBezTo>
                      <a:pt x="461" y="79"/>
                      <a:pt x="461" y="79"/>
                      <a:pt x="461" y="79"/>
                    </a:cubicBezTo>
                    <a:cubicBezTo>
                      <a:pt x="461" y="79"/>
                      <a:pt x="455" y="80"/>
                      <a:pt x="460" y="85"/>
                    </a:cubicBezTo>
                    <a:cubicBezTo>
                      <a:pt x="464" y="89"/>
                      <a:pt x="465" y="85"/>
                      <a:pt x="471" y="85"/>
                    </a:cubicBezTo>
                    <a:cubicBezTo>
                      <a:pt x="478" y="85"/>
                      <a:pt x="481" y="90"/>
                      <a:pt x="482" y="87"/>
                    </a:cubicBezTo>
                    <a:cubicBezTo>
                      <a:pt x="484" y="83"/>
                      <a:pt x="490" y="81"/>
                      <a:pt x="493" y="85"/>
                    </a:cubicBezTo>
                    <a:cubicBezTo>
                      <a:pt x="497" y="90"/>
                      <a:pt x="508" y="97"/>
                      <a:pt x="508" y="101"/>
                    </a:cubicBezTo>
                    <a:cubicBezTo>
                      <a:pt x="507" y="104"/>
                      <a:pt x="500" y="104"/>
                      <a:pt x="496" y="102"/>
                    </a:cubicBezTo>
                    <a:cubicBezTo>
                      <a:pt x="492" y="101"/>
                      <a:pt x="486" y="105"/>
                      <a:pt x="482" y="105"/>
                    </a:cubicBezTo>
                    <a:cubicBezTo>
                      <a:pt x="477" y="105"/>
                      <a:pt x="472" y="106"/>
                      <a:pt x="468" y="111"/>
                    </a:cubicBezTo>
                    <a:cubicBezTo>
                      <a:pt x="463" y="115"/>
                      <a:pt x="464" y="120"/>
                      <a:pt x="458" y="120"/>
                    </a:cubicBezTo>
                    <a:cubicBezTo>
                      <a:pt x="451" y="121"/>
                      <a:pt x="448" y="120"/>
                      <a:pt x="441" y="125"/>
                    </a:cubicBezTo>
                    <a:cubicBezTo>
                      <a:pt x="434" y="130"/>
                      <a:pt x="426" y="128"/>
                      <a:pt x="423" y="127"/>
                    </a:cubicBezTo>
                    <a:cubicBezTo>
                      <a:pt x="420" y="125"/>
                      <a:pt x="415" y="125"/>
                      <a:pt x="412" y="130"/>
                    </a:cubicBezTo>
                    <a:cubicBezTo>
                      <a:pt x="409" y="135"/>
                      <a:pt x="416" y="137"/>
                      <a:pt x="415" y="143"/>
                    </a:cubicBezTo>
                    <a:cubicBezTo>
                      <a:pt x="414" y="149"/>
                      <a:pt x="407" y="147"/>
                      <a:pt x="401" y="154"/>
                    </a:cubicBezTo>
                    <a:cubicBezTo>
                      <a:pt x="395" y="160"/>
                      <a:pt x="386" y="163"/>
                      <a:pt x="381" y="162"/>
                    </a:cubicBezTo>
                    <a:cubicBezTo>
                      <a:pt x="376" y="162"/>
                      <a:pt x="365" y="159"/>
                      <a:pt x="355" y="163"/>
                    </a:cubicBezTo>
                    <a:cubicBezTo>
                      <a:pt x="346" y="167"/>
                      <a:pt x="339" y="174"/>
                      <a:pt x="336" y="173"/>
                    </a:cubicBezTo>
                    <a:cubicBezTo>
                      <a:pt x="332" y="173"/>
                      <a:pt x="332" y="168"/>
                      <a:pt x="327" y="169"/>
                    </a:cubicBezTo>
                    <a:cubicBezTo>
                      <a:pt x="322" y="170"/>
                      <a:pt x="319" y="168"/>
                      <a:pt x="315" y="166"/>
                    </a:cubicBezTo>
                    <a:cubicBezTo>
                      <a:pt x="312" y="164"/>
                      <a:pt x="309" y="167"/>
                      <a:pt x="303" y="163"/>
                    </a:cubicBezTo>
                    <a:cubicBezTo>
                      <a:pt x="297" y="159"/>
                      <a:pt x="287" y="159"/>
                      <a:pt x="283" y="159"/>
                    </a:cubicBezTo>
                    <a:cubicBezTo>
                      <a:pt x="278" y="158"/>
                      <a:pt x="262" y="159"/>
                      <a:pt x="256" y="158"/>
                    </a:cubicBezTo>
                    <a:cubicBezTo>
                      <a:pt x="250" y="157"/>
                      <a:pt x="242" y="159"/>
                      <a:pt x="241" y="157"/>
                    </a:cubicBezTo>
                    <a:cubicBezTo>
                      <a:pt x="240" y="154"/>
                      <a:pt x="236" y="151"/>
                      <a:pt x="235" y="145"/>
                    </a:cubicBezTo>
                    <a:cubicBezTo>
                      <a:pt x="233" y="138"/>
                      <a:pt x="230" y="136"/>
                      <a:pt x="226" y="136"/>
                    </a:cubicBezTo>
                    <a:cubicBezTo>
                      <a:pt x="222" y="135"/>
                      <a:pt x="222" y="131"/>
                      <a:pt x="219" y="130"/>
                    </a:cubicBezTo>
                    <a:cubicBezTo>
                      <a:pt x="217" y="130"/>
                      <a:pt x="215" y="125"/>
                      <a:pt x="210" y="125"/>
                    </a:cubicBezTo>
                    <a:cubicBezTo>
                      <a:pt x="205" y="125"/>
                      <a:pt x="187" y="123"/>
                      <a:pt x="185" y="119"/>
                    </a:cubicBezTo>
                    <a:cubicBezTo>
                      <a:pt x="182" y="115"/>
                      <a:pt x="187" y="114"/>
                      <a:pt x="187" y="110"/>
                    </a:cubicBezTo>
                    <a:cubicBezTo>
                      <a:pt x="187" y="106"/>
                      <a:pt x="190" y="100"/>
                      <a:pt x="188" y="99"/>
                    </a:cubicBezTo>
                    <a:cubicBezTo>
                      <a:pt x="186" y="97"/>
                      <a:pt x="183" y="93"/>
                      <a:pt x="182" y="90"/>
                    </a:cubicBezTo>
                    <a:cubicBezTo>
                      <a:pt x="182" y="87"/>
                      <a:pt x="176" y="82"/>
                      <a:pt x="172" y="82"/>
                    </a:cubicBezTo>
                    <a:cubicBezTo>
                      <a:pt x="169" y="82"/>
                      <a:pt x="166" y="80"/>
                      <a:pt x="162" y="77"/>
                    </a:cubicBezTo>
                    <a:cubicBezTo>
                      <a:pt x="159" y="74"/>
                      <a:pt x="156" y="74"/>
                      <a:pt x="154" y="66"/>
                    </a:cubicBezTo>
                    <a:cubicBezTo>
                      <a:pt x="154" y="66"/>
                      <a:pt x="154" y="65"/>
                      <a:pt x="154" y="65"/>
                    </a:cubicBezTo>
                    <a:cubicBezTo>
                      <a:pt x="152" y="65"/>
                      <a:pt x="151" y="64"/>
                      <a:pt x="150" y="64"/>
                    </a:cubicBezTo>
                    <a:cubicBezTo>
                      <a:pt x="149" y="64"/>
                      <a:pt x="148" y="63"/>
                      <a:pt x="147" y="62"/>
                    </a:cubicBezTo>
                    <a:cubicBezTo>
                      <a:pt x="146" y="66"/>
                      <a:pt x="143" y="67"/>
                      <a:pt x="143" y="70"/>
                    </a:cubicBezTo>
                    <a:cubicBezTo>
                      <a:pt x="143" y="73"/>
                      <a:pt x="142" y="76"/>
                      <a:pt x="138" y="76"/>
                    </a:cubicBezTo>
                    <a:cubicBezTo>
                      <a:pt x="134" y="76"/>
                      <a:pt x="131" y="79"/>
                      <a:pt x="130" y="85"/>
                    </a:cubicBezTo>
                    <a:cubicBezTo>
                      <a:pt x="130" y="90"/>
                      <a:pt x="134" y="91"/>
                      <a:pt x="132" y="94"/>
                    </a:cubicBezTo>
                    <a:cubicBezTo>
                      <a:pt x="130" y="96"/>
                      <a:pt x="124" y="99"/>
                      <a:pt x="121" y="97"/>
                    </a:cubicBezTo>
                    <a:cubicBezTo>
                      <a:pt x="119" y="96"/>
                      <a:pt x="115" y="97"/>
                      <a:pt x="111" y="97"/>
                    </a:cubicBezTo>
                    <a:cubicBezTo>
                      <a:pt x="107" y="96"/>
                      <a:pt x="105" y="91"/>
                      <a:pt x="103" y="97"/>
                    </a:cubicBezTo>
                    <a:cubicBezTo>
                      <a:pt x="102" y="102"/>
                      <a:pt x="95" y="117"/>
                      <a:pt x="97" y="118"/>
                    </a:cubicBezTo>
                    <a:cubicBezTo>
                      <a:pt x="98" y="120"/>
                      <a:pt x="100" y="123"/>
                      <a:pt x="97" y="123"/>
                    </a:cubicBezTo>
                    <a:cubicBezTo>
                      <a:pt x="93" y="123"/>
                      <a:pt x="90" y="123"/>
                      <a:pt x="88" y="121"/>
                    </a:cubicBezTo>
                    <a:cubicBezTo>
                      <a:pt x="87" y="120"/>
                      <a:pt x="82" y="124"/>
                      <a:pt x="78" y="123"/>
                    </a:cubicBezTo>
                    <a:cubicBezTo>
                      <a:pt x="76" y="123"/>
                      <a:pt x="69" y="127"/>
                      <a:pt x="71" y="128"/>
                    </a:cubicBezTo>
                    <a:cubicBezTo>
                      <a:pt x="74" y="129"/>
                      <a:pt x="74" y="135"/>
                      <a:pt x="74" y="138"/>
                    </a:cubicBezTo>
                    <a:cubicBezTo>
                      <a:pt x="74" y="140"/>
                      <a:pt x="79" y="148"/>
                      <a:pt x="78" y="150"/>
                    </a:cubicBezTo>
                    <a:cubicBezTo>
                      <a:pt x="77" y="153"/>
                      <a:pt x="72" y="155"/>
                      <a:pt x="72" y="159"/>
                    </a:cubicBezTo>
                    <a:cubicBezTo>
                      <a:pt x="72" y="162"/>
                      <a:pt x="73" y="165"/>
                      <a:pt x="72" y="166"/>
                    </a:cubicBezTo>
                    <a:cubicBezTo>
                      <a:pt x="70" y="166"/>
                      <a:pt x="64" y="169"/>
                      <a:pt x="62" y="171"/>
                    </a:cubicBezTo>
                    <a:cubicBezTo>
                      <a:pt x="59" y="173"/>
                      <a:pt x="54" y="173"/>
                      <a:pt x="53" y="176"/>
                    </a:cubicBezTo>
                    <a:cubicBezTo>
                      <a:pt x="51" y="179"/>
                      <a:pt x="49" y="181"/>
                      <a:pt x="44" y="181"/>
                    </a:cubicBezTo>
                    <a:cubicBezTo>
                      <a:pt x="39" y="180"/>
                      <a:pt x="37" y="179"/>
                      <a:pt x="34" y="184"/>
                    </a:cubicBezTo>
                    <a:cubicBezTo>
                      <a:pt x="30" y="188"/>
                      <a:pt x="29" y="186"/>
                      <a:pt x="27" y="188"/>
                    </a:cubicBezTo>
                    <a:cubicBezTo>
                      <a:pt x="24" y="190"/>
                      <a:pt x="22" y="187"/>
                      <a:pt x="20" y="186"/>
                    </a:cubicBezTo>
                    <a:cubicBezTo>
                      <a:pt x="18" y="185"/>
                      <a:pt x="15" y="188"/>
                      <a:pt x="13" y="188"/>
                    </a:cubicBezTo>
                    <a:cubicBezTo>
                      <a:pt x="11" y="188"/>
                      <a:pt x="9" y="191"/>
                      <a:pt x="7" y="192"/>
                    </a:cubicBezTo>
                    <a:cubicBezTo>
                      <a:pt x="4" y="193"/>
                      <a:pt x="2" y="192"/>
                      <a:pt x="2" y="195"/>
                    </a:cubicBezTo>
                    <a:cubicBezTo>
                      <a:pt x="2" y="197"/>
                      <a:pt x="1" y="199"/>
                      <a:pt x="0" y="201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2" y="211"/>
                      <a:pt x="2" y="211"/>
                      <a:pt x="2" y="211"/>
                    </a:cubicBezTo>
                    <a:cubicBezTo>
                      <a:pt x="2" y="211"/>
                      <a:pt x="12" y="214"/>
                      <a:pt x="13" y="218"/>
                    </a:cubicBezTo>
                    <a:cubicBezTo>
                      <a:pt x="13" y="221"/>
                      <a:pt x="15" y="233"/>
                      <a:pt x="15" y="233"/>
                    </a:cubicBezTo>
                    <a:cubicBezTo>
                      <a:pt x="15" y="233"/>
                      <a:pt x="15" y="233"/>
                      <a:pt x="15" y="233"/>
                    </a:cubicBezTo>
                    <a:cubicBezTo>
                      <a:pt x="19" y="236"/>
                      <a:pt x="25" y="240"/>
                      <a:pt x="25" y="241"/>
                    </a:cubicBezTo>
                    <a:cubicBezTo>
                      <a:pt x="25" y="243"/>
                      <a:pt x="26" y="247"/>
                      <a:pt x="31" y="250"/>
                    </a:cubicBezTo>
                    <a:cubicBezTo>
                      <a:pt x="34" y="251"/>
                      <a:pt x="38" y="253"/>
                      <a:pt x="40" y="254"/>
                    </a:cubicBezTo>
                    <a:cubicBezTo>
                      <a:pt x="40" y="254"/>
                      <a:pt x="40" y="253"/>
                      <a:pt x="40" y="253"/>
                    </a:cubicBezTo>
                    <a:cubicBezTo>
                      <a:pt x="45" y="253"/>
                      <a:pt x="45" y="253"/>
                      <a:pt x="45" y="253"/>
                    </a:cubicBezTo>
                    <a:cubicBezTo>
                      <a:pt x="45" y="253"/>
                      <a:pt x="46" y="254"/>
                      <a:pt x="47" y="255"/>
                    </a:cubicBezTo>
                    <a:cubicBezTo>
                      <a:pt x="48" y="251"/>
                      <a:pt x="56" y="247"/>
                      <a:pt x="60" y="248"/>
                    </a:cubicBezTo>
                    <a:cubicBezTo>
                      <a:pt x="64" y="248"/>
                      <a:pt x="74" y="256"/>
                      <a:pt x="73" y="258"/>
                    </a:cubicBezTo>
                    <a:cubicBezTo>
                      <a:pt x="72" y="261"/>
                      <a:pt x="65" y="271"/>
                      <a:pt x="62" y="272"/>
                    </a:cubicBezTo>
                    <a:cubicBezTo>
                      <a:pt x="60" y="272"/>
                      <a:pt x="59" y="272"/>
                      <a:pt x="57" y="272"/>
                    </a:cubicBezTo>
                    <a:cubicBezTo>
                      <a:pt x="56" y="274"/>
                      <a:pt x="56" y="276"/>
                      <a:pt x="56" y="276"/>
                    </a:cubicBezTo>
                    <a:cubicBezTo>
                      <a:pt x="56" y="279"/>
                      <a:pt x="60" y="282"/>
                      <a:pt x="62" y="286"/>
                    </a:cubicBezTo>
                    <a:cubicBezTo>
                      <a:pt x="65" y="290"/>
                      <a:pt x="59" y="293"/>
                      <a:pt x="56" y="290"/>
                    </a:cubicBezTo>
                    <a:cubicBezTo>
                      <a:pt x="53" y="288"/>
                      <a:pt x="51" y="293"/>
                      <a:pt x="53" y="295"/>
                    </a:cubicBezTo>
                    <a:cubicBezTo>
                      <a:pt x="55" y="297"/>
                      <a:pt x="54" y="304"/>
                      <a:pt x="57" y="304"/>
                    </a:cubicBezTo>
                    <a:cubicBezTo>
                      <a:pt x="60" y="304"/>
                      <a:pt x="63" y="311"/>
                      <a:pt x="66" y="311"/>
                    </a:cubicBezTo>
                    <a:cubicBezTo>
                      <a:pt x="70" y="311"/>
                      <a:pt x="73" y="316"/>
                      <a:pt x="73" y="316"/>
                    </a:cubicBezTo>
                    <a:cubicBezTo>
                      <a:pt x="73" y="316"/>
                      <a:pt x="78" y="320"/>
                      <a:pt x="78" y="321"/>
                    </a:cubicBezTo>
                    <a:cubicBezTo>
                      <a:pt x="78" y="322"/>
                      <a:pt x="78" y="322"/>
                      <a:pt x="78" y="322"/>
                    </a:cubicBezTo>
                    <a:cubicBezTo>
                      <a:pt x="82" y="322"/>
                      <a:pt x="84" y="322"/>
                      <a:pt x="85" y="320"/>
                    </a:cubicBezTo>
                    <a:cubicBezTo>
                      <a:pt x="85" y="318"/>
                      <a:pt x="90" y="318"/>
                      <a:pt x="94" y="322"/>
                    </a:cubicBezTo>
                    <a:cubicBezTo>
                      <a:pt x="97" y="325"/>
                      <a:pt x="111" y="334"/>
                      <a:pt x="117" y="338"/>
                    </a:cubicBezTo>
                    <a:cubicBezTo>
                      <a:pt x="122" y="343"/>
                      <a:pt x="134" y="347"/>
                      <a:pt x="138" y="347"/>
                    </a:cubicBezTo>
                    <a:cubicBezTo>
                      <a:pt x="143" y="347"/>
                      <a:pt x="147" y="350"/>
                      <a:pt x="153" y="350"/>
                    </a:cubicBezTo>
                    <a:cubicBezTo>
                      <a:pt x="154" y="350"/>
                      <a:pt x="155" y="350"/>
                      <a:pt x="156" y="350"/>
                    </a:cubicBezTo>
                    <a:cubicBezTo>
                      <a:pt x="157" y="349"/>
                      <a:pt x="158" y="349"/>
                      <a:pt x="159" y="347"/>
                    </a:cubicBezTo>
                    <a:cubicBezTo>
                      <a:pt x="161" y="345"/>
                      <a:pt x="164" y="349"/>
                      <a:pt x="163" y="353"/>
                    </a:cubicBezTo>
                    <a:cubicBezTo>
                      <a:pt x="163" y="355"/>
                      <a:pt x="163" y="356"/>
                      <a:pt x="164" y="358"/>
                    </a:cubicBezTo>
                    <a:cubicBezTo>
                      <a:pt x="164" y="357"/>
                      <a:pt x="165" y="355"/>
                      <a:pt x="166" y="353"/>
                    </a:cubicBezTo>
                    <a:cubicBezTo>
                      <a:pt x="168" y="348"/>
                      <a:pt x="172" y="348"/>
                      <a:pt x="174" y="346"/>
                    </a:cubicBezTo>
                    <a:cubicBezTo>
                      <a:pt x="176" y="344"/>
                      <a:pt x="179" y="345"/>
                      <a:pt x="183" y="348"/>
                    </a:cubicBezTo>
                    <a:cubicBezTo>
                      <a:pt x="188" y="350"/>
                      <a:pt x="190" y="345"/>
                      <a:pt x="196" y="351"/>
                    </a:cubicBezTo>
                    <a:cubicBezTo>
                      <a:pt x="198" y="351"/>
                      <a:pt x="200" y="350"/>
                      <a:pt x="200" y="350"/>
                    </a:cubicBezTo>
                    <a:cubicBezTo>
                      <a:pt x="202" y="350"/>
                      <a:pt x="203" y="347"/>
                      <a:pt x="206" y="345"/>
                    </a:cubicBezTo>
                    <a:cubicBezTo>
                      <a:pt x="208" y="343"/>
                      <a:pt x="207" y="340"/>
                      <a:pt x="210" y="341"/>
                    </a:cubicBezTo>
                    <a:cubicBezTo>
                      <a:pt x="213" y="341"/>
                      <a:pt x="214" y="337"/>
                      <a:pt x="220" y="334"/>
                    </a:cubicBezTo>
                    <a:cubicBezTo>
                      <a:pt x="226" y="331"/>
                      <a:pt x="231" y="336"/>
                      <a:pt x="233" y="334"/>
                    </a:cubicBezTo>
                    <a:cubicBezTo>
                      <a:pt x="236" y="332"/>
                      <a:pt x="239" y="331"/>
                      <a:pt x="239" y="333"/>
                    </a:cubicBezTo>
                    <a:cubicBezTo>
                      <a:pt x="239" y="335"/>
                      <a:pt x="243" y="338"/>
                      <a:pt x="243" y="341"/>
                    </a:cubicBezTo>
                    <a:cubicBezTo>
                      <a:pt x="244" y="343"/>
                      <a:pt x="249" y="344"/>
                      <a:pt x="250" y="344"/>
                    </a:cubicBezTo>
                    <a:cubicBezTo>
                      <a:pt x="251" y="344"/>
                      <a:pt x="251" y="343"/>
                      <a:pt x="252" y="343"/>
                    </a:cubicBezTo>
                    <a:cubicBezTo>
                      <a:pt x="255" y="341"/>
                      <a:pt x="259" y="343"/>
                      <a:pt x="259" y="346"/>
                    </a:cubicBezTo>
                    <a:cubicBezTo>
                      <a:pt x="259" y="349"/>
                      <a:pt x="260" y="352"/>
                      <a:pt x="262" y="352"/>
                    </a:cubicBezTo>
                    <a:cubicBezTo>
                      <a:pt x="264" y="352"/>
                      <a:pt x="266" y="352"/>
                      <a:pt x="266" y="358"/>
                    </a:cubicBezTo>
                    <a:cubicBezTo>
                      <a:pt x="266" y="363"/>
                      <a:pt x="268" y="370"/>
                      <a:pt x="264" y="374"/>
                    </a:cubicBezTo>
                    <a:cubicBezTo>
                      <a:pt x="259" y="379"/>
                      <a:pt x="253" y="388"/>
                      <a:pt x="254" y="390"/>
                    </a:cubicBezTo>
                    <a:cubicBezTo>
                      <a:pt x="255" y="393"/>
                      <a:pt x="253" y="397"/>
                      <a:pt x="256" y="396"/>
                    </a:cubicBezTo>
                    <a:cubicBezTo>
                      <a:pt x="260" y="394"/>
                      <a:pt x="268" y="396"/>
                      <a:pt x="267" y="398"/>
                    </a:cubicBezTo>
                    <a:cubicBezTo>
                      <a:pt x="265" y="400"/>
                      <a:pt x="267" y="407"/>
                      <a:pt x="270" y="407"/>
                    </a:cubicBezTo>
                    <a:cubicBezTo>
                      <a:pt x="273" y="407"/>
                      <a:pt x="275" y="409"/>
                      <a:pt x="274" y="412"/>
                    </a:cubicBezTo>
                    <a:cubicBezTo>
                      <a:pt x="273" y="415"/>
                      <a:pt x="272" y="419"/>
                      <a:pt x="274" y="419"/>
                    </a:cubicBezTo>
                    <a:cubicBezTo>
                      <a:pt x="277" y="419"/>
                      <a:pt x="281" y="419"/>
                      <a:pt x="281" y="422"/>
                    </a:cubicBezTo>
                    <a:cubicBezTo>
                      <a:pt x="280" y="425"/>
                      <a:pt x="283" y="428"/>
                      <a:pt x="288" y="426"/>
                    </a:cubicBezTo>
                    <a:cubicBezTo>
                      <a:pt x="291" y="425"/>
                      <a:pt x="292" y="424"/>
                      <a:pt x="293" y="425"/>
                    </a:cubicBezTo>
                    <a:cubicBezTo>
                      <a:pt x="295" y="425"/>
                      <a:pt x="295" y="430"/>
                      <a:pt x="298" y="430"/>
                    </a:cubicBezTo>
                    <a:cubicBezTo>
                      <a:pt x="302" y="431"/>
                      <a:pt x="300" y="423"/>
                      <a:pt x="299" y="422"/>
                    </a:cubicBezTo>
                    <a:cubicBezTo>
                      <a:pt x="297" y="420"/>
                      <a:pt x="299" y="414"/>
                      <a:pt x="300" y="416"/>
                    </a:cubicBezTo>
                    <a:cubicBezTo>
                      <a:pt x="302" y="417"/>
                      <a:pt x="306" y="416"/>
                      <a:pt x="308" y="413"/>
                    </a:cubicBezTo>
                    <a:cubicBezTo>
                      <a:pt x="310" y="410"/>
                      <a:pt x="315" y="415"/>
                      <a:pt x="316" y="412"/>
                    </a:cubicBezTo>
                    <a:cubicBezTo>
                      <a:pt x="318" y="409"/>
                      <a:pt x="322" y="414"/>
                      <a:pt x="326" y="412"/>
                    </a:cubicBezTo>
                    <a:cubicBezTo>
                      <a:pt x="330" y="410"/>
                      <a:pt x="332" y="414"/>
                      <a:pt x="334" y="411"/>
                    </a:cubicBezTo>
                    <a:cubicBezTo>
                      <a:pt x="336" y="408"/>
                      <a:pt x="341" y="404"/>
                      <a:pt x="343" y="405"/>
                    </a:cubicBezTo>
                    <a:cubicBezTo>
                      <a:pt x="344" y="406"/>
                      <a:pt x="345" y="409"/>
                      <a:pt x="352" y="410"/>
                    </a:cubicBezTo>
                    <a:cubicBezTo>
                      <a:pt x="359" y="411"/>
                      <a:pt x="355" y="414"/>
                      <a:pt x="355" y="417"/>
                    </a:cubicBezTo>
                    <a:cubicBezTo>
                      <a:pt x="355" y="419"/>
                      <a:pt x="363" y="425"/>
                      <a:pt x="366" y="425"/>
                    </a:cubicBezTo>
                    <a:cubicBezTo>
                      <a:pt x="367" y="425"/>
                      <a:pt x="368" y="426"/>
                      <a:pt x="369" y="427"/>
                    </a:cubicBezTo>
                    <a:cubicBezTo>
                      <a:pt x="371" y="426"/>
                      <a:pt x="375" y="428"/>
                      <a:pt x="376" y="425"/>
                    </a:cubicBezTo>
                    <a:cubicBezTo>
                      <a:pt x="377" y="422"/>
                      <a:pt x="380" y="423"/>
                      <a:pt x="382" y="425"/>
                    </a:cubicBezTo>
                    <a:cubicBezTo>
                      <a:pt x="383" y="428"/>
                      <a:pt x="385" y="428"/>
                      <a:pt x="388" y="425"/>
                    </a:cubicBezTo>
                    <a:cubicBezTo>
                      <a:pt x="392" y="422"/>
                      <a:pt x="393" y="428"/>
                      <a:pt x="391" y="430"/>
                    </a:cubicBezTo>
                    <a:cubicBezTo>
                      <a:pt x="389" y="432"/>
                      <a:pt x="391" y="437"/>
                      <a:pt x="394" y="440"/>
                    </a:cubicBezTo>
                    <a:cubicBezTo>
                      <a:pt x="397" y="443"/>
                      <a:pt x="397" y="438"/>
                      <a:pt x="397" y="435"/>
                    </a:cubicBezTo>
                    <a:cubicBezTo>
                      <a:pt x="396" y="432"/>
                      <a:pt x="402" y="429"/>
                      <a:pt x="413" y="426"/>
                    </a:cubicBezTo>
                    <a:cubicBezTo>
                      <a:pt x="423" y="422"/>
                      <a:pt x="434" y="414"/>
                      <a:pt x="435" y="413"/>
                    </a:cubicBezTo>
                    <a:cubicBezTo>
                      <a:pt x="435" y="411"/>
                      <a:pt x="442" y="416"/>
                      <a:pt x="446" y="413"/>
                    </a:cubicBezTo>
                    <a:cubicBezTo>
                      <a:pt x="449" y="410"/>
                      <a:pt x="462" y="410"/>
                      <a:pt x="465" y="410"/>
                    </a:cubicBezTo>
                    <a:cubicBezTo>
                      <a:pt x="468" y="410"/>
                      <a:pt x="468" y="407"/>
                      <a:pt x="472" y="404"/>
                    </a:cubicBezTo>
                    <a:cubicBezTo>
                      <a:pt x="475" y="401"/>
                      <a:pt x="474" y="400"/>
                      <a:pt x="478" y="399"/>
                    </a:cubicBezTo>
                    <a:cubicBezTo>
                      <a:pt x="482" y="398"/>
                      <a:pt x="485" y="394"/>
                      <a:pt x="485" y="392"/>
                    </a:cubicBezTo>
                    <a:cubicBezTo>
                      <a:pt x="485" y="390"/>
                      <a:pt x="492" y="389"/>
                      <a:pt x="493" y="387"/>
                    </a:cubicBezTo>
                    <a:cubicBezTo>
                      <a:pt x="493" y="385"/>
                      <a:pt x="498" y="384"/>
                      <a:pt x="498" y="382"/>
                    </a:cubicBezTo>
                    <a:cubicBezTo>
                      <a:pt x="498" y="379"/>
                      <a:pt x="502" y="379"/>
                      <a:pt x="503" y="377"/>
                    </a:cubicBezTo>
                    <a:cubicBezTo>
                      <a:pt x="505" y="375"/>
                      <a:pt x="502" y="370"/>
                      <a:pt x="505" y="369"/>
                    </a:cubicBezTo>
                    <a:cubicBezTo>
                      <a:pt x="507" y="368"/>
                      <a:pt x="504" y="365"/>
                      <a:pt x="503" y="363"/>
                    </a:cubicBezTo>
                    <a:cubicBezTo>
                      <a:pt x="503" y="362"/>
                      <a:pt x="508" y="361"/>
                      <a:pt x="511" y="360"/>
                    </a:cubicBezTo>
                    <a:cubicBezTo>
                      <a:pt x="514" y="358"/>
                      <a:pt x="516" y="355"/>
                      <a:pt x="516" y="352"/>
                    </a:cubicBezTo>
                    <a:cubicBezTo>
                      <a:pt x="517" y="349"/>
                      <a:pt x="521" y="346"/>
                      <a:pt x="523" y="345"/>
                    </a:cubicBezTo>
                    <a:cubicBezTo>
                      <a:pt x="526" y="344"/>
                      <a:pt x="526" y="340"/>
                      <a:pt x="526" y="336"/>
                    </a:cubicBezTo>
                    <a:cubicBezTo>
                      <a:pt x="525" y="332"/>
                      <a:pt x="530" y="333"/>
                      <a:pt x="528" y="331"/>
                    </a:cubicBezTo>
                    <a:cubicBezTo>
                      <a:pt x="526" y="330"/>
                      <a:pt x="528" y="326"/>
                      <a:pt x="532" y="325"/>
                    </a:cubicBezTo>
                    <a:cubicBezTo>
                      <a:pt x="536" y="323"/>
                      <a:pt x="530" y="322"/>
                      <a:pt x="528" y="323"/>
                    </a:cubicBezTo>
                    <a:cubicBezTo>
                      <a:pt x="526" y="325"/>
                      <a:pt x="523" y="318"/>
                      <a:pt x="521" y="321"/>
                    </a:cubicBezTo>
                    <a:cubicBezTo>
                      <a:pt x="519" y="323"/>
                      <a:pt x="514" y="319"/>
                      <a:pt x="517" y="319"/>
                    </a:cubicBezTo>
                    <a:cubicBezTo>
                      <a:pt x="521" y="318"/>
                      <a:pt x="527" y="314"/>
                      <a:pt x="529" y="313"/>
                    </a:cubicBezTo>
                    <a:cubicBezTo>
                      <a:pt x="532" y="312"/>
                      <a:pt x="525" y="306"/>
                      <a:pt x="522" y="307"/>
                    </a:cubicBezTo>
                    <a:cubicBezTo>
                      <a:pt x="519" y="307"/>
                      <a:pt x="516" y="299"/>
                      <a:pt x="512" y="299"/>
                    </a:cubicBezTo>
                    <a:cubicBezTo>
                      <a:pt x="509" y="299"/>
                      <a:pt x="515" y="297"/>
                      <a:pt x="519" y="299"/>
                    </a:cubicBezTo>
                    <a:cubicBezTo>
                      <a:pt x="522" y="301"/>
                      <a:pt x="527" y="303"/>
                      <a:pt x="529" y="301"/>
                    </a:cubicBezTo>
                    <a:cubicBezTo>
                      <a:pt x="530" y="299"/>
                      <a:pt x="522" y="293"/>
                      <a:pt x="519" y="290"/>
                    </a:cubicBezTo>
                    <a:cubicBezTo>
                      <a:pt x="516" y="288"/>
                      <a:pt x="519" y="285"/>
                      <a:pt x="517" y="283"/>
                    </a:cubicBezTo>
                    <a:cubicBezTo>
                      <a:pt x="515" y="282"/>
                      <a:pt x="511" y="274"/>
                      <a:pt x="510" y="270"/>
                    </a:cubicBezTo>
                    <a:cubicBezTo>
                      <a:pt x="509" y="266"/>
                      <a:pt x="502" y="265"/>
                      <a:pt x="500" y="263"/>
                    </a:cubicBezTo>
                    <a:cubicBezTo>
                      <a:pt x="498" y="260"/>
                      <a:pt x="500" y="254"/>
                      <a:pt x="505" y="252"/>
                    </a:cubicBezTo>
                    <a:cubicBezTo>
                      <a:pt x="510" y="250"/>
                      <a:pt x="508" y="246"/>
                      <a:pt x="511" y="246"/>
                    </a:cubicBezTo>
                    <a:cubicBezTo>
                      <a:pt x="513" y="247"/>
                      <a:pt x="515" y="246"/>
                      <a:pt x="517" y="242"/>
                    </a:cubicBezTo>
                    <a:cubicBezTo>
                      <a:pt x="519" y="238"/>
                      <a:pt x="522" y="240"/>
                      <a:pt x="524" y="238"/>
                    </a:cubicBezTo>
                    <a:cubicBezTo>
                      <a:pt x="525" y="236"/>
                      <a:pt x="534" y="237"/>
                      <a:pt x="536" y="235"/>
                    </a:cubicBezTo>
                    <a:cubicBezTo>
                      <a:pt x="539" y="233"/>
                      <a:pt x="534" y="226"/>
                      <a:pt x="530" y="227"/>
                    </a:cubicBezTo>
                    <a:cubicBezTo>
                      <a:pt x="526" y="228"/>
                      <a:pt x="522" y="227"/>
                      <a:pt x="519" y="223"/>
                    </a:cubicBezTo>
                    <a:cubicBezTo>
                      <a:pt x="516" y="219"/>
                      <a:pt x="509" y="230"/>
                      <a:pt x="504" y="233"/>
                    </a:cubicBezTo>
                    <a:cubicBezTo>
                      <a:pt x="499" y="235"/>
                      <a:pt x="495" y="228"/>
                      <a:pt x="497" y="224"/>
                    </a:cubicBezTo>
                    <a:cubicBezTo>
                      <a:pt x="499" y="219"/>
                      <a:pt x="493" y="219"/>
                      <a:pt x="485" y="220"/>
                    </a:cubicBezTo>
                    <a:cubicBezTo>
                      <a:pt x="478" y="220"/>
                      <a:pt x="481" y="206"/>
                      <a:pt x="485" y="206"/>
                    </a:cubicBezTo>
                    <a:cubicBezTo>
                      <a:pt x="490" y="205"/>
                      <a:pt x="496" y="210"/>
                      <a:pt x="499" y="202"/>
                    </a:cubicBezTo>
                    <a:cubicBezTo>
                      <a:pt x="502" y="193"/>
                      <a:pt x="506" y="200"/>
                      <a:pt x="512" y="192"/>
                    </a:cubicBezTo>
                    <a:cubicBezTo>
                      <a:pt x="519" y="185"/>
                      <a:pt x="526" y="181"/>
                      <a:pt x="531" y="185"/>
                    </a:cubicBezTo>
                    <a:cubicBezTo>
                      <a:pt x="537" y="189"/>
                      <a:pt x="526" y="196"/>
                      <a:pt x="524" y="200"/>
                    </a:cubicBezTo>
                    <a:cubicBezTo>
                      <a:pt x="522" y="204"/>
                      <a:pt x="525" y="206"/>
                      <a:pt x="522" y="209"/>
                    </a:cubicBezTo>
                    <a:cubicBezTo>
                      <a:pt x="519" y="212"/>
                      <a:pt x="523" y="213"/>
                      <a:pt x="530" y="209"/>
                    </a:cubicBezTo>
                    <a:cubicBezTo>
                      <a:pt x="536" y="205"/>
                      <a:pt x="544" y="200"/>
                      <a:pt x="551" y="197"/>
                    </a:cubicBezTo>
                    <a:cubicBezTo>
                      <a:pt x="552" y="196"/>
                      <a:pt x="554" y="196"/>
                      <a:pt x="556" y="196"/>
                    </a:cubicBezTo>
                    <a:cubicBezTo>
                      <a:pt x="557" y="194"/>
                      <a:pt x="558" y="192"/>
                      <a:pt x="559" y="191"/>
                    </a:cubicBezTo>
                    <a:cubicBezTo>
                      <a:pt x="564" y="189"/>
                      <a:pt x="578" y="183"/>
                      <a:pt x="580" y="180"/>
                    </a:cubicBezTo>
                    <a:cubicBezTo>
                      <a:pt x="583" y="177"/>
                      <a:pt x="585" y="172"/>
                      <a:pt x="588" y="172"/>
                    </a:cubicBezTo>
                    <a:cubicBezTo>
                      <a:pt x="591" y="172"/>
                      <a:pt x="591" y="175"/>
                      <a:pt x="595" y="175"/>
                    </a:cubicBezTo>
                    <a:cubicBezTo>
                      <a:pt x="599" y="175"/>
                      <a:pt x="604" y="176"/>
                      <a:pt x="602" y="173"/>
                    </a:cubicBezTo>
                    <a:cubicBezTo>
                      <a:pt x="600" y="169"/>
                      <a:pt x="601" y="169"/>
                      <a:pt x="607" y="168"/>
                    </a:cubicBezTo>
                    <a:cubicBezTo>
                      <a:pt x="612" y="167"/>
                      <a:pt x="611" y="162"/>
                      <a:pt x="614" y="162"/>
                    </a:cubicBezTo>
                    <a:cubicBezTo>
                      <a:pt x="618" y="162"/>
                      <a:pt x="617" y="154"/>
                      <a:pt x="621" y="154"/>
                    </a:cubicBezTo>
                    <a:cubicBezTo>
                      <a:pt x="625" y="154"/>
                      <a:pt x="626" y="159"/>
                      <a:pt x="630" y="157"/>
                    </a:cubicBezTo>
                    <a:cubicBezTo>
                      <a:pt x="631" y="157"/>
                      <a:pt x="632" y="157"/>
                      <a:pt x="634" y="158"/>
                    </a:cubicBezTo>
                    <a:cubicBezTo>
                      <a:pt x="634" y="157"/>
                      <a:pt x="635" y="156"/>
                      <a:pt x="636" y="156"/>
                    </a:cubicBezTo>
                    <a:cubicBezTo>
                      <a:pt x="636" y="151"/>
                      <a:pt x="636" y="147"/>
                      <a:pt x="636" y="145"/>
                    </a:cubicBezTo>
                    <a:cubicBezTo>
                      <a:pt x="634" y="141"/>
                      <a:pt x="636" y="138"/>
                      <a:pt x="635" y="136"/>
                    </a:cubicBezTo>
                    <a:cubicBezTo>
                      <a:pt x="634" y="133"/>
                      <a:pt x="634" y="128"/>
                      <a:pt x="637" y="128"/>
                    </a:cubicBezTo>
                    <a:cubicBezTo>
                      <a:pt x="639" y="128"/>
                      <a:pt x="643" y="121"/>
                      <a:pt x="646" y="123"/>
                    </a:cubicBezTo>
                    <a:cubicBezTo>
                      <a:pt x="649" y="126"/>
                      <a:pt x="656" y="126"/>
                      <a:pt x="656" y="123"/>
                    </a:cubicBezTo>
                    <a:cubicBezTo>
                      <a:pt x="656" y="120"/>
                      <a:pt x="661" y="120"/>
                      <a:pt x="661" y="116"/>
                    </a:cubicBezTo>
                    <a:cubicBezTo>
                      <a:pt x="662" y="112"/>
                      <a:pt x="667" y="111"/>
                      <a:pt x="668" y="107"/>
                    </a:cubicBezTo>
                    <a:cubicBezTo>
                      <a:pt x="669" y="104"/>
                      <a:pt x="671" y="95"/>
                      <a:pt x="674" y="93"/>
                    </a:cubicBezTo>
                    <a:cubicBezTo>
                      <a:pt x="677" y="91"/>
                      <a:pt x="673" y="90"/>
                      <a:pt x="674" y="84"/>
                    </a:cubicBezTo>
                    <a:close/>
                    <a:moveTo>
                      <a:pt x="510" y="399"/>
                    </a:moveTo>
                    <a:cubicBezTo>
                      <a:pt x="507" y="413"/>
                      <a:pt x="515" y="419"/>
                      <a:pt x="516" y="419"/>
                    </a:cubicBezTo>
                    <a:cubicBezTo>
                      <a:pt x="520" y="416"/>
                      <a:pt x="533" y="388"/>
                      <a:pt x="530" y="384"/>
                    </a:cubicBezTo>
                    <a:cubicBezTo>
                      <a:pt x="527" y="380"/>
                      <a:pt x="514" y="386"/>
                      <a:pt x="510" y="399"/>
                    </a:cubicBezTo>
                    <a:close/>
                    <a:moveTo>
                      <a:pt x="391" y="445"/>
                    </a:moveTo>
                    <a:cubicBezTo>
                      <a:pt x="387" y="445"/>
                      <a:pt x="376" y="451"/>
                      <a:pt x="380" y="460"/>
                    </a:cubicBezTo>
                    <a:cubicBezTo>
                      <a:pt x="385" y="469"/>
                      <a:pt x="399" y="463"/>
                      <a:pt x="399" y="459"/>
                    </a:cubicBezTo>
                    <a:cubicBezTo>
                      <a:pt x="400" y="455"/>
                      <a:pt x="406" y="449"/>
                      <a:pt x="405" y="446"/>
                    </a:cubicBezTo>
                    <a:cubicBezTo>
                      <a:pt x="405" y="443"/>
                      <a:pt x="396" y="445"/>
                      <a:pt x="391" y="44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1" name="Freeform 149">
                <a:extLst>
                  <a:ext uri="{FF2B5EF4-FFF2-40B4-BE49-F238E27FC236}">
                    <a16:creationId xmlns:a16="http://schemas.microsoft.com/office/drawing/2014/main" id="{CC3DEF59-D024-4998-8068-8B22EA447A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97725" y="3651250"/>
                <a:ext cx="239712" cy="333375"/>
              </a:xfrm>
              <a:custGeom>
                <a:avLst/>
                <a:gdLst>
                  <a:gd name="T0" fmla="*/ 58 w 109"/>
                  <a:gd name="T1" fmla="*/ 58 h 152"/>
                  <a:gd name="T2" fmla="*/ 71 w 109"/>
                  <a:gd name="T3" fmla="*/ 68 h 152"/>
                  <a:gd name="T4" fmla="*/ 75 w 109"/>
                  <a:gd name="T5" fmla="*/ 78 h 152"/>
                  <a:gd name="T6" fmla="*/ 79 w 109"/>
                  <a:gd name="T7" fmla="*/ 83 h 152"/>
                  <a:gd name="T8" fmla="*/ 85 w 109"/>
                  <a:gd name="T9" fmla="*/ 97 h 152"/>
                  <a:gd name="T10" fmla="*/ 89 w 109"/>
                  <a:gd name="T11" fmla="*/ 94 h 152"/>
                  <a:gd name="T12" fmla="*/ 94 w 109"/>
                  <a:gd name="T13" fmla="*/ 88 h 152"/>
                  <a:gd name="T14" fmla="*/ 91 w 109"/>
                  <a:gd name="T15" fmla="*/ 74 h 152"/>
                  <a:gd name="T16" fmla="*/ 78 w 109"/>
                  <a:gd name="T17" fmla="*/ 65 h 152"/>
                  <a:gd name="T18" fmla="*/ 70 w 109"/>
                  <a:gd name="T19" fmla="*/ 55 h 152"/>
                  <a:gd name="T20" fmla="*/ 55 w 109"/>
                  <a:gd name="T21" fmla="*/ 52 h 152"/>
                  <a:gd name="T22" fmla="*/ 49 w 109"/>
                  <a:gd name="T23" fmla="*/ 42 h 152"/>
                  <a:gd name="T24" fmla="*/ 57 w 109"/>
                  <a:gd name="T25" fmla="*/ 26 h 152"/>
                  <a:gd name="T26" fmla="*/ 56 w 109"/>
                  <a:gd name="T27" fmla="*/ 8 h 152"/>
                  <a:gd name="T28" fmla="*/ 54 w 109"/>
                  <a:gd name="T29" fmla="*/ 4 h 152"/>
                  <a:gd name="T30" fmla="*/ 38 w 109"/>
                  <a:gd name="T31" fmla="*/ 2 h 152"/>
                  <a:gd name="T32" fmla="*/ 35 w 109"/>
                  <a:gd name="T33" fmla="*/ 29 h 152"/>
                  <a:gd name="T34" fmla="*/ 30 w 109"/>
                  <a:gd name="T35" fmla="*/ 27 h 152"/>
                  <a:gd name="T36" fmla="*/ 33 w 109"/>
                  <a:gd name="T37" fmla="*/ 43 h 152"/>
                  <a:gd name="T38" fmla="*/ 36 w 109"/>
                  <a:gd name="T39" fmla="*/ 51 h 152"/>
                  <a:gd name="T40" fmla="*/ 47 w 109"/>
                  <a:gd name="T41" fmla="*/ 55 h 152"/>
                  <a:gd name="T42" fmla="*/ 58 w 109"/>
                  <a:gd name="T43" fmla="*/ 58 h 152"/>
                  <a:gd name="T44" fmla="*/ 36 w 109"/>
                  <a:gd name="T45" fmla="*/ 61 h 152"/>
                  <a:gd name="T46" fmla="*/ 47 w 109"/>
                  <a:gd name="T47" fmla="*/ 73 h 152"/>
                  <a:gd name="T48" fmla="*/ 36 w 109"/>
                  <a:gd name="T49" fmla="*/ 61 h 152"/>
                  <a:gd name="T50" fmla="*/ 55 w 109"/>
                  <a:gd name="T51" fmla="*/ 94 h 152"/>
                  <a:gd name="T52" fmla="*/ 61 w 109"/>
                  <a:gd name="T53" fmla="*/ 90 h 152"/>
                  <a:gd name="T54" fmla="*/ 62 w 109"/>
                  <a:gd name="T55" fmla="*/ 99 h 152"/>
                  <a:gd name="T56" fmla="*/ 64 w 109"/>
                  <a:gd name="T57" fmla="*/ 112 h 152"/>
                  <a:gd name="T58" fmla="*/ 76 w 109"/>
                  <a:gd name="T59" fmla="*/ 94 h 152"/>
                  <a:gd name="T60" fmla="*/ 71 w 109"/>
                  <a:gd name="T61" fmla="*/ 92 h 152"/>
                  <a:gd name="T62" fmla="*/ 54 w 109"/>
                  <a:gd name="T63" fmla="*/ 78 h 152"/>
                  <a:gd name="T64" fmla="*/ 55 w 109"/>
                  <a:gd name="T65" fmla="*/ 94 h 152"/>
                  <a:gd name="T66" fmla="*/ 16 w 109"/>
                  <a:gd name="T67" fmla="*/ 100 h 152"/>
                  <a:gd name="T68" fmla="*/ 1 w 109"/>
                  <a:gd name="T69" fmla="*/ 119 h 152"/>
                  <a:gd name="T70" fmla="*/ 22 w 109"/>
                  <a:gd name="T71" fmla="*/ 100 h 152"/>
                  <a:gd name="T72" fmla="*/ 25 w 109"/>
                  <a:gd name="T73" fmla="*/ 88 h 152"/>
                  <a:gd name="T74" fmla="*/ 16 w 109"/>
                  <a:gd name="T75" fmla="*/ 100 h 152"/>
                  <a:gd name="T76" fmla="*/ 75 w 109"/>
                  <a:gd name="T77" fmla="*/ 107 h 152"/>
                  <a:gd name="T78" fmla="*/ 83 w 109"/>
                  <a:gd name="T79" fmla="*/ 101 h 152"/>
                  <a:gd name="T80" fmla="*/ 75 w 109"/>
                  <a:gd name="T81" fmla="*/ 107 h 152"/>
                  <a:gd name="T82" fmla="*/ 105 w 109"/>
                  <a:gd name="T83" fmla="*/ 133 h 152"/>
                  <a:gd name="T84" fmla="*/ 102 w 109"/>
                  <a:gd name="T85" fmla="*/ 108 h 152"/>
                  <a:gd name="T86" fmla="*/ 94 w 109"/>
                  <a:gd name="T87" fmla="*/ 107 h 152"/>
                  <a:gd name="T88" fmla="*/ 88 w 109"/>
                  <a:gd name="T89" fmla="*/ 113 h 152"/>
                  <a:gd name="T90" fmla="*/ 81 w 109"/>
                  <a:gd name="T91" fmla="*/ 118 h 152"/>
                  <a:gd name="T92" fmla="*/ 71 w 109"/>
                  <a:gd name="T93" fmla="*/ 116 h 152"/>
                  <a:gd name="T94" fmla="*/ 58 w 109"/>
                  <a:gd name="T95" fmla="*/ 123 h 152"/>
                  <a:gd name="T96" fmla="*/ 54 w 109"/>
                  <a:gd name="T97" fmla="*/ 135 h 152"/>
                  <a:gd name="T98" fmla="*/ 64 w 109"/>
                  <a:gd name="T99" fmla="*/ 130 h 152"/>
                  <a:gd name="T100" fmla="*/ 72 w 109"/>
                  <a:gd name="T101" fmla="*/ 127 h 152"/>
                  <a:gd name="T102" fmla="*/ 82 w 109"/>
                  <a:gd name="T103" fmla="*/ 146 h 152"/>
                  <a:gd name="T104" fmla="*/ 93 w 109"/>
                  <a:gd name="T105" fmla="*/ 152 h 152"/>
                  <a:gd name="T106" fmla="*/ 93 w 109"/>
                  <a:gd name="T107" fmla="*/ 138 h 152"/>
                  <a:gd name="T108" fmla="*/ 105 w 109"/>
                  <a:gd name="T109" fmla="*/ 13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9" h="152">
                    <a:moveTo>
                      <a:pt x="58" y="58"/>
                    </a:moveTo>
                    <a:cubicBezTo>
                      <a:pt x="64" y="57"/>
                      <a:pt x="73" y="65"/>
                      <a:pt x="71" y="68"/>
                    </a:cubicBezTo>
                    <a:cubicBezTo>
                      <a:pt x="70" y="71"/>
                      <a:pt x="72" y="81"/>
                      <a:pt x="75" y="78"/>
                    </a:cubicBezTo>
                    <a:cubicBezTo>
                      <a:pt x="78" y="76"/>
                      <a:pt x="82" y="79"/>
                      <a:pt x="79" y="83"/>
                    </a:cubicBezTo>
                    <a:cubicBezTo>
                      <a:pt x="76" y="88"/>
                      <a:pt x="84" y="92"/>
                      <a:pt x="85" y="97"/>
                    </a:cubicBezTo>
                    <a:cubicBezTo>
                      <a:pt x="86" y="103"/>
                      <a:pt x="89" y="98"/>
                      <a:pt x="89" y="94"/>
                    </a:cubicBezTo>
                    <a:cubicBezTo>
                      <a:pt x="88" y="90"/>
                      <a:pt x="89" y="91"/>
                      <a:pt x="94" y="88"/>
                    </a:cubicBezTo>
                    <a:cubicBezTo>
                      <a:pt x="98" y="85"/>
                      <a:pt x="93" y="80"/>
                      <a:pt x="91" y="74"/>
                    </a:cubicBezTo>
                    <a:cubicBezTo>
                      <a:pt x="88" y="68"/>
                      <a:pt x="78" y="70"/>
                      <a:pt x="78" y="65"/>
                    </a:cubicBezTo>
                    <a:cubicBezTo>
                      <a:pt x="78" y="60"/>
                      <a:pt x="71" y="58"/>
                      <a:pt x="70" y="55"/>
                    </a:cubicBezTo>
                    <a:cubicBezTo>
                      <a:pt x="70" y="52"/>
                      <a:pt x="60" y="49"/>
                      <a:pt x="55" y="52"/>
                    </a:cubicBezTo>
                    <a:cubicBezTo>
                      <a:pt x="49" y="56"/>
                      <a:pt x="53" y="46"/>
                      <a:pt x="49" y="42"/>
                    </a:cubicBezTo>
                    <a:cubicBezTo>
                      <a:pt x="45" y="38"/>
                      <a:pt x="52" y="31"/>
                      <a:pt x="57" y="26"/>
                    </a:cubicBezTo>
                    <a:cubicBezTo>
                      <a:pt x="61" y="21"/>
                      <a:pt x="55" y="12"/>
                      <a:pt x="56" y="8"/>
                    </a:cubicBezTo>
                    <a:cubicBezTo>
                      <a:pt x="57" y="4"/>
                      <a:pt x="56" y="2"/>
                      <a:pt x="54" y="4"/>
                    </a:cubicBezTo>
                    <a:cubicBezTo>
                      <a:pt x="52" y="5"/>
                      <a:pt x="42" y="0"/>
                      <a:pt x="38" y="2"/>
                    </a:cubicBezTo>
                    <a:cubicBezTo>
                      <a:pt x="33" y="5"/>
                      <a:pt x="37" y="27"/>
                      <a:pt x="35" y="29"/>
                    </a:cubicBezTo>
                    <a:cubicBezTo>
                      <a:pt x="33" y="30"/>
                      <a:pt x="31" y="25"/>
                      <a:pt x="30" y="27"/>
                    </a:cubicBezTo>
                    <a:cubicBezTo>
                      <a:pt x="29" y="30"/>
                      <a:pt x="30" y="43"/>
                      <a:pt x="33" y="43"/>
                    </a:cubicBezTo>
                    <a:cubicBezTo>
                      <a:pt x="36" y="43"/>
                      <a:pt x="38" y="46"/>
                      <a:pt x="36" y="51"/>
                    </a:cubicBezTo>
                    <a:cubicBezTo>
                      <a:pt x="34" y="57"/>
                      <a:pt x="41" y="57"/>
                      <a:pt x="47" y="55"/>
                    </a:cubicBezTo>
                    <a:cubicBezTo>
                      <a:pt x="54" y="53"/>
                      <a:pt x="51" y="59"/>
                      <a:pt x="58" y="58"/>
                    </a:cubicBezTo>
                    <a:close/>
                    <a:moveTo>
                      <a:pt x="36" y="61"/>
                    </a:moveTo>
                    <a:cubicBezTo>
                      <a:pt x="37" y="66"/>
                      <a:pt x="40" y="76"/>
                      <a:pt x="47" y="73"/>
                    </a:cubicBezTo>
                    <a:cubicBezTo>
                      <a:pt x="54" y="71"/>
                      <a:pt x="35" y="58"/>
                      <a:pt x="36" y="61"/>
                    </a:cubicBezTo>
                    <a:close/>
                    <a:moveTo>
                      <a:pt x="55" y="94"/>
                    </a:moveTo>
                    <a:cubicBezTo>
                      <a:pt x="57" y="93"/>
                      <a:pt x="61" y="94"/>
                      <a:pt x="61" y="90"/>
                    </a:cubicBezTo>
                    <a:cubicBezTo>
                      <a:pt x="61" y="87"/>
                      <a:pt x="65" y="96"/>
                      <a:pt x="62" y="99"/>
                    </a:cubicBezTo>
                    <a:cubicBezTo>
                      <a:pt x="59" y="102"/>
                      <a:pt x="59" y="111"/>
                      <a:pt x="64" y="112"/>
                    </a:cubicBezTo>
                    <a:cubicBezTo>
                      <a:pt x="68" y="113"/>
                      <a:pt x="77" y="97"/>
                      <a:pt x="76" y="94"/>
                    </a:cubicBezTo>
                    <a:cubicBezTo>
                      <a:pt x="74" y="91"/>
                      <a:pt x="70" y="96"/>
                      <a:pt x="71" y="92"/>
                    </a:cubicBezTo>
                    <a:cubicBezTo>
                      <a:pt x="72" y="88"/>
                      <a:pt x="59" y="77"/>
                      <a:pt x="54" y="78"/>
                    </a:cubicBezTo>
                    <a:cubicBezTo>
                      <a:pt x="49" y="79"/>
                      <a:pt x="51" y="94"/>
                      <a:pt x="55" y="94"/>
                    </a:cubicBezTo>
                    <a:close/>
                    <a:moveTo>
                      <a:pt x="16" y="100"/>
                    </a:moveTo>
                    <a:cubicBezTo>
                      <a:pt x="11" y="106"/>
                      <a:pt x="0" y="116"/>
                      <a:pt x="1" y="119"/>
                    </a:cubicBezTo>
                    <a:cubicBezTo>
                      <a:pt x="3" y="122"/>
                      <a:pt x="16" y="104"/>
                      <a:pt x="22" y="100"/>
                    </a:cubicBezTo>
                    <a:cubicBezTo>
                      <a:pt x="28" y="95"/>
                      <a:pt x="27" y="92"/>
                      <a:pt x="25" y="88"/>
                    </a:cubicBezTo>
                    <a:cubicBezTo>
                      <a:pt x="23" y="84"/>
                      <a:pt x="20" y="94"/>
                      <a:pt x="16" y="100"/>
                    </a:cubicBezTo>
                    <a:close/>
                    <a:moveTo>
                      <a:pt x="75" y="107"/>
                    </a:moveTo>
                    <a:cubicBezTo>
                      <a:pt x="76" y="110"/>
                      <a:pt x="86" y="105"/>
                      <a:pt x="83" y="101"/>
                    </a:cubicBezTo>
                    <a:cubicBezTo>
                      <a:pt x="81" y="98"/>
                      <a:pt x="74" y="104"/>
                      <a:pt x="75" y="107"/>
                    </a:cubicBezTo>
                    <a:close/>
                    <a:moveTo>
                      <a:pt x="105" y="133"/>
                    </a:moveTo>
                    <a:cubicBezTo>
                      <a:pt x="109" y="128"/>
                      <a:pt x="102" y="116"/>
                      <a:pt x="102" y="108"/>
                    </a:cubicBezTo>
                    <a:cubicBezTo>
                      <a:pt x="102" y="100"/>
                      <a:pt x="91" y="102"/>
                      <a:pt x="94" y="107"/>
                    </a:cubicBezTo>
                    <a:cubicBezTo>
                      <a:pt x="97" y="112"/>
                      <a:pt x="89" y="108"/>
                      <a:pt x="88" y="113"/>
                    </a:cubicBezTo>
                    <a:cubicBezTo>
                      <a:pt x="87" y="118"/>
                      <a:pt x="81" y="114"/>
                      <a:pt x="81" y="118"/>
                    </a:cubicBezTo>
                    <a:cubicBezTo>
                      <a:pt x="82" y="122"/>
                      <a:pt x="75" y="118"/>
                      <a:pt x="71" y="116"/>
                    </a:cubicBezTo>
                    <a:cubicBezTo>
                      <a:pt x="68" y="113"/>
                      <a:pt x="63" y="122"/>
                      <a:pt x="58" y="123"/>
                    </a:cubicBezTo>
                    <a:cubicBezTo>
                      <a:pt x="53" y="125"/>
                      <a:pt x="51" y="135"/>
                      <a:pt x="54" y="135"/>
                    </a:cubicBezTo>
                    <a:cubicBezTo>
                      <a:pt x="58" y="135"/>
                      <a:pt x="60" y="129"/>
                      <a:pt x="64" y="130"/>
                    </a:cubicBezTo>
                    <a:cubicBezTo>
                      <a:pt x="68" y="130"/>
                      <a:pt x="67" y="126"/>
                      <a:pt x="72" y="127"/>
                    </a:cubicBezTo>
                    <a:cubicBezTo>
                      <a:pt x="78" y="128"/>
                      <a:pt x="74" y="145"/>
                      <a:pt x="82" y="146"/>
                    </a:cubicBezTo>
                    <a:cubicBezTo>
                      <a:pt x="89" y="147"/>
                      <a:pt x="90" y="152"/>
                      <a:pt x="93" y="152"/>
                    </a:cubicBezTo>
                    <a:cubicBezTo>
                      <a:pt x="97" y="152"/>
                      <a:pt x="93" y="141"/>
                      <a:pt x="93" y="138"/>
                    </a:cubicBezTo>
                    <a:cubicBezTo>
                      <a:pt x="93" y="134"/>
                      <a:pt x="101" y="137"/>
                      <a:pt x="105" y="13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2" name="Freeform 150">
                <a:extLst>
                  <a:ext uri="{FF2B5EF4-FFF2-40B4-BE49-F238E27FC236}">
                    <a16:creationId xmlns:a16="http://schemas.microsoft.com/office/drawing/2014/main" id="{E746832F-655C-494A-953D-DD4320AC3B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88275" y="4187825"/>
                <a:ext cx="314325" cy="203200"/>
              </a:xfrm>
              <a:custGeom>
                <a:avLst/>
                <a:gdLst>
                  <a:gd name="T0" fmla="*/ 103 w 143"/>
                  <a:gd name="T1" fmla="*/ 84 h 92"/>
                  <a:gd name="T2" fmla="*/ 95 w 143"/>
                  <a:gd name="T3" fmla="*/ 77 h 92"/>
                  <a:gd name="T4" fmla="*/ 84 w 143"/>
                  <a:gd name="T5" fmla="*/ 71 h 92"/>
                  <a:gd name="T6" fmla="*/ 76 w 143"/>
                  <a:gd name="T7" fmla="*/ 56 h 92"/>
                  <a:gd name="T8" fmla="*/ 73 w 143"/>
                  <a:gd name="T9" fmla="*/ 47 h 92"/>
                  <a:gd name="T10" fmla="*/ 75 w 143"/>
                  <a:gd name="T11" fmla="*/ 40 h 92"/>
                  <a:gd name="T12" fmla="*/ 53 w 143"/>
                  <a:gd name="T13" fmla="*/ 27 h 92"/>
                  <a:gd name="T14" fmla="*/ 9 w 143"/>
                  <a:gd name="T15" fmla="*/ 3 h 92"/>
                  <a:gd name="T16" fmla="*/ 0 w 143"/>
                  <a:gd name="T17" fmla="*/ 0 h 92"/>
                  <a:gd name="T18" fmla="*/ 0 w 143"/>
                  <a:gd name="T19" fmla="*/ 72 h 92"/>
                  <a:gd name="T20" fmla="*/ 12 w 143"/>
                  <a:gd name="T21" fmla="*/ 76 h 92"/>
                  <a:gd name="T22" fmla="*/ 26 w 143"/>
                  <a:gd name="T23" fmla="*/ 68 h 92"/>
                  <a:gd name="T24" fmla="*/ 33 w 143"/>
                  <a:gd name="T25" fmla="*/ 60 h 92"/>
                  <a:gd name="T26" fmla="*/ 56 w 143"/>
                  <a:gd name="T27" fmla="*/ 65 h 92"/>
                  <a:gd name="T28" fmla="*/ 81 w 143"/>
                  <a:gd name="T29" fmla="*/ 87 h 92"/>
                  <a:gd name="T30" fmla="*/ 105 w 143"/>
                  <a:gd name="T31" fmla="*/ 91 h 92"/>
                  <a:gd name="T32" fmla="*/ 103 w 143"/>
                  <a:gd name="T33" fmla="*/ 84 h 92"/>
                  <a:gd name="T34" fmla="*/ 122 w 143"/>
                  <a:gd name="T35" fmla="*/ 25 h 92"/>
                  <a:gd name="T36" fmla="*/ 108 w 143"/>
                  <a:gd name="T37" fmla="*/ 33 h 92"/>
                  <a:gd name="T38" fmla="*/ 84 w 143"/>
                  <a:gd name="T39" fmla="*/ 34 h 92"/>
                  <a:gd name="T40" fmla="*/ 103 w 143"/>
                  <a:gd name="T41" fmla="*/ 42 h 92"/>
                  <a:gd name="T42" fmla="*/ 126 w 143"/>
                  <a:gd name="T43" fmla="*/ 31 h 92"/>
                  <a:gd name="T44" fmla="*/ 129 w 143"/>
                  <a:gd name="T45" fmla="*/ 21 h 92"/>
                  <a:gd name="T46" fmla="*/ 122 w 143"/>
                  <a:gd name="T47" fmla="*/ 25 h 92"/>
                  <a:gd name="T48" fmla="*/ 133 w 143"/>
                  <a:gd name="T49" fmla="*/ 12 h 92"/>
                  <a:gd name="T50" fmla="*/ 130 w 143"/>
                  <a:gd name="T51" fmla="*/ 13 h 92"/>
                  <a:gd name="T52" fmla="*/ 137 w 143"/>
                  <a:gd name="T53" fmla="*/ 24 h 92"/>
                  <a:gd name="T54" fmla="*/ 133 w 143"/>
                  <a:gd name="T55" fmla="*/ 1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3" h="92">
                    <a:moveTo>
                      <a:pt x="103" y="84"/>
                    </a:moveTo>
                    <a:cubicBezTo>
                      <a:pt x="101" y="83"/>
                      <a:pt x="95" y="79"/>
                      <a:pt x="95" y="77"/>
                    </a:cubicBezTo>
                    <a:cubicBezTo>
                      <a:pt x="95" y="74"/>
                      <a:pt x="88" y="74"/>
                      <a:pt x="84" y="71"/>
                    </a:cubicBezTo>
                    <a:cubicBezTo>
                      <a:pt x="79" y="68"/>
                      <a:pt x="81" y="59"/>
                      <a:pt x="76" y="56"/>
                    </a:cubicBezTo>
                    <a:cubicBezTo>
                      <a:pt x="71" y="54"/>
                      <a:pt x="67" y="47"/>
                      <a:pt x="73" y="47"/>
                    </a:cubicBezTo>
                    <a:cubicBezTo>
                      <a:pt x="79" y="47"/>
                      <a:pt x="80" y="44"/>
                      <a:pt x="75" y="40"/>
                    </a:cubicBezTo>
                    <a:cubicBezTo>
                      <a:pt x="71" y="35"/>
                      <a:pt x="54" y="34"/>
                      <a:pt x="53" y="27"/>
                    </a:cubicBezTo>
                    <a:cubicBezTo>
                      <a:pt x="52" y="21"/>
                      <a:pt x="22" y="6"/>
                      <a:pt x="9" y="3"/>
                    </a:cubicBezTo>
                    <a:cubicBezTo>
                      <a:pt x="6" y="2"/>
                      <a:pt x="3" y="2"/>
                      <a:pt x="0" y="0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3" y="74"/>
                      <a:pt x="7" y="75"/>
                      <a:pt x="12" y="76"/>
                    </a:cubicBezTo>
                    <a:cubicBezTo>
                      <a:pt x="27" y="76"/>
                      <a:pt x="23" y="68"/>
                      <a:pt x="26" y="68"/>
                    </a:cubicBezTo>
                    <a:cubicBezTo>
                      <a:pt x="29" y="68"/>
                      <a:pt x="30" y="63"/>
                      <a:pt x="33" y="60"/>
                    </a:cubicBezTo>
                    <a:cubicBezTo>
                      <a:pt x="36" y="56"/>
                      <a:pt x="49" y="59"/>
                      <a:pt x="56" y="65"/>
                    </a:cubicBezTo>
                    <a:cubicBezTo>
                      <a:pt x="64" y="71"/>
                      <a:pt x="73" y="89"/>
                      <a:pt x="81" y="87"/>
                    </a:cubicBezTo>
                    <a:cubicBezTo>
                      <a:pt x="89" y="85"/>
                      <a:pt x="97" y="92"/>
                      <a:pt x="105" y="91"/>
                    </a:cubicBezTo>
                    <a:cubicBezTo>
                      <a:pt x="112" y="91"/>
                      <a:pt x="105" y="85"/>
                      <a:pt x="103" y="84"/>
                    </a:cubicBezTo>
                    <a:close/>
                    <a:moveTo>
                      <a:pt x="122" y="25"/>
                    </a:moveTo>
                    <a:cubicBezTo>
                      <a:pt x="122" y="28"/>
                      <a:pt x="117" y="30"/>
                      <a:pt x="108" y="33"/>
                    </a:cubicBezTo>
                    <a:cubicBezTo>
                      <a:pt x="100" y="36"/>
                      <a:pt x="85" y="29"/>
                      <a:pt x="84" y="34"/>
                    </a:cubicBezTo>
                    <a:cubicBezTo>
                      <a:pt x="84" y="37"/>
                      <a:pt x="94" y="42"/>
                      <a:pt x="103" y="42"/>
                    </a:cubicBezTo>
                    <a:cubicBezTo>
                      <a:pt x="112" y="42"/>
                      <a:pt x="126" y="33"/>
                      <a:pt x="126" y="31"/>
                    </a:cubicBezTo>
                    <a:cubicBezTo>
                      <a:pt x="126" y="28"/>
                      <a:pt x="132" y="23"/>
                      <a:pt x="129" y="21"/>
                    </a:cubicBezTo>
                    <a:cubicBezTo>
                      <a:pt x="127" y="18"/>
                      <a:pt x="122" y="22"/>
                      <a:pt x="122" y="25"/>
                    </a:cubicBezTo>
                    <a:close/>
                    <a:moveTo>
                      <a:pt x="133" y="12"/>
                    </a:moveTo>
                    <a:cubicBezTo>
                      <a:pt x="128" y="9"/>
                      <a:pt x="123" y="7"/>
                      <a:pt x="130" y="13"/>
                    </a:cubicBezTo>
                    <a:cubicBezTo>
                      <a:pt x="137" y="19"/>
                      <a:pt x="133" y="25"/>
                      <a:pt x="137" y="24"/>
                    </a:cubicBezTo>
                    <a:cubicBezTo>
                      <a:pt x="143" y="22"/>
                      <a:pt x="139" y="16"/>
                      <a:pt x="133" y="1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3" name="Freeform 151">
                <a:extLst>
                  <a:ext uri="{FF2B5EF4-FFF2-40B4-BE49-F238E27FC236}">
                    <a16:creationId xmlns:a16="http://schemas.microsoft.com/office/drawing/2014/main" id="{9F672221-CE1E-4D77-830F-8D895980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0" y="3876675"/>
                <a:ext cx="55562" cy="103188"/>
              </a:xfrm>
              <a:custGeom>
                <a:avLst/>
                <a:gdLst>
                  <a:gd name="T0" fmla="*/ 6 w 25"/>
                  <a:gd name="T1" fmla="*/ 1 h 47"/>
                  <a:gd name="T2" fmla="*/ 2 w 25"/>
                  <a:gd name="T3" fmla="*/ 11 h 47"/>
                  <a:gd name="T4" fmla="*/ 1 w 25"/>
                  <a:gd name="T5" fmla="*/ 26 h 47"/>
                  <a:gd name="T6" fmla="*/ 7 w 25"/>
                  <a:gd name="T7" fmla="*/ 43 h 47"/>
                  <a:gd name="T8" fmla="*/ 24 w 25"/>
                  <a:gd name="T9" fmla="*/ 27 h 47"/>
                  <a:gd name="T10" fmla="*/ 6 w 25"/>
                  <a:gd name="T1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47">
                    <a:moveTo>
                      <a:pt x="6" y="1"/>
                    </a:moveTo>
                    <a:cubicBezTo>
                      <a:pt x="3" y="1"/>
                      <a:pt x="4" y="7"/>
                      <a:pt x="2" y="11"/>
                    </a:cubicBezTo>
                    <a:cubicBezTo>
                      <a:pt x="0" y="16"/>
                      <a:pt x="1" y="20"/>
                      <a:pt x="1" y="26"/>
                    </a:cubicBezTo>
                    <a:cubicBezTo>
                      <a:pt x="2" y="33"/>
                      <a:pt x="1" y="39"/>
                      <a:pt x="7" y="43"/>
                    </a:cubicBezTo>
                    <a:cubicBezTo>
                      <a:pt x="13" y="47"/>
                      <a:pt x="24" y="36"/>
                      <a:pt x="24" y="27"/>
                    </a:cubicBezTo>
                    <a:cubicBezTo>
                      <a:pt x="25" y="18"/>
                      <a:pt x="8" y="0"/>
                      <a:pt x="6" y="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4" name="Freeform 152">
                <a:extLst>
                  <a:ext uri="{FF2B5EF4-FFF2-40B4-BE49-F238E27FC236}">
                    <a16:creationId xmlns:a16="http://schemas.microsoft.com/office/drawing/2014/main" id="{2B1BF23F-8818-434A-8B21-A1282FABC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4405313"/>
                <a:ext cx="184150" cy="365125"/>
              </a:xfrm>
              <a:custGeom>
                <a:avLst/>
                <a:gdLst>
                  <a:gd name="T0" fmla="*/ 71 w 84"/>
                  <a:gd name="T1" fmla="*/ 6 h 166"/>
                  <a:gd name="T2" fmla="*/ 67 w 84"/>
                  <a:gd name="T3" fmla="*/ 9 h 166"/>
                  <a:gd name="T4" fmla="*/ 65 w 84"/>
                  <a:gd name="T5" fmla="*/ 17 h 166"/>
                  <a:gd name="T6" fmla="*/ 58 w 84"/>
                  <a:gd name="T7" fmla="*/ 22 h 166"/>
                  <a:gd name="T8" fmla="*/ 53 w 84"/>
                  <a:gd name="T9" fmla="*/ 27 h 166"/>
                  <a:gd name="T10" fmla="*/ 52 w 84"/>
                  <a:gd name="T11" fmla="*/ 33 h 166"/>
                  <a:gd name="T12" fmla="*/ 44 w 84"/>
                  <a:gd name="T13" fmla="*/ 40 h 166"/>
                  <a:gd name="T14" fmla="*/ 28 w 84"/>
                  <a:gd name="T15" fmla="*/ 48 h 166"/>
                  <a:gd name="T16" fmla="*/ 14 w 84"/>
                  <a:gd name="T17" fmla="*/ 51 h 166"/>
                  <a:gd name="T18" fmla="*/ 9 w 84"/>
                  <a:gd name="T19" fmla="*/ 66 h 166"/>
                  <a:gd name="T20" fmla="*/ 11 w 84"/>
                  <a:gd name="T21" fmla="*/ 86 h 166"/>
                  <a:gd name="T22" fmla="*/ 8 w 84"/>
                  <a:gd name="T23" fmla="*/ 109 h 166"/>
                  <a:gd name="T24" fmla="*/ 4 w 84"/>
                  <a:gd name="T25" fmla="*/ 136 h 166"/>
                  <a:gd name="T26" fmla="*/ 11 w 84"/>
                  <a:gd name="T27" fmla="*/ 157 h 166"/>
                  <a:gd name="T28" fmla="*/ 31 w 84"/>
                  <a:gd name="T29" fmla="*/ 162 h 166"/>
                  <a:gd name="T30" fmla="*/ 43 w 84"/>
                  <a:gd name="T31" fmla="*/ 158 h 166"/>
                  <a:gd name="T32" fmla="*/ 59 w 84"/>
                  <a:gd name="T33" fmla="*/ 111 h 166"/>
                  <a:gd name="T34" fmla="*/ 71 w 84"/>
                  <a:gd name="T35" fmla="*/ 67 h 166"/>
                  <a:gd name="T36" fmla="*/ 73 w 84"/>
                  <a:gd name="T37" fmla="*/ 54 h 166"/>
                  <a:gd name="T38" fmla="*/ 76 w 84"/>
                  <a:gd name="T39" fmla="*/ 47 h 166"/>
                  <a:gd name="T40" fmla="*/ 83 w 84"/>
                  <a:gd name="T41" fmla="*/ 46 h 166"/>
                  <a:gd name="T42" fmla="*/ 79 w 84"/>
                  <a:gd name="T43" fmla="*/ 24 h 166"/>
                  <a:gd name="T44" fmla="*/ 71 w 84"/>
                  <a:gd name="T45" fmla="*/ 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166">
                    <a:moveTo>
                      <a:pt x="71" y="6"/>
                    </a:moveTo>
                    <a:cubicBezTo>
                      <a:pt x="69" y="0"/>
                      <a:pt x="68" y="8"/>
                      <a:pt x="67" y="9"/>
                    </a:cubicBezTo>
                    <a:cubicBezTo>
                      <a:pt x="65" y="10"/>
                      <a:pt x="65" y="14"/>
                      <a:pt x="65" y="17"/>
                    </a:cubicBezTo>
                    <a:cubicBezTo>
                      <a:pt x="65" y="20"/>
                      <a:pt x="61" y="22"/>
                      <a:pt x="58" y="22"/>
                    </a:cubicBezTo>
                    <a:cubicBezTo>
                      <a:pt x="56" y="22"/>
                      <a:pt x="51" y="23"/>
                      <a:pt x="53" y="27"/>
                    </a:cubicBezTo>
                    <a:cubicBezTo>
                      <a:pt x="54" y="31"/>
                      <a:pt x="51" y="30"/>
                      <a:pt x="52" y="33"/>
                    </a:cubicBezTo>
                    <a:cubicBezTo>
                      <a:pt x="54" y="36"/>
                      <a:pt x="49" y="40"/>
                      <a:pt x="44" y="40"/>
                    </a:cubicBezTo>
                    <a:cubicBezTo>
                      <a:pt x="39" y="40"/>
                      <a:pt x="33" y="49"/>
                      <a:pt x="28" y="48"/>
                    </a:cubicBezTo>
                    <a:cubicBezTo>
                      <a:pt x="23" y="47"/>
                      <a:pt x="18" y="51"/>
                      <a:pt x="14" y="51"/>
                    </a:cubicBezTo>
                    <a:cubicBezTo>
                      <a:pt x="10" y="50"/>
                      <a:pt x="13" y="60"/>
                      <a:pt x="9" y="66"/>
                    </a:cubicBezTo>
                    <a:cubicBezTo>
                      <a:pt x="6" y="72"/>
                      <a:pt x="8" y="79"/>
                      <a:pt x="11" y="86"/>
                    </a:cubicBezTo>
                    <a:cubicBezTo>
                      <a:pt x="14" y="93"/>
                      <a:pt x="16" y="99"/>
                      <a:pt x="8" y="109"/>
                    </a:cubicBezTo>
                    <a:cubicBezTo>
                      <a:pt x="0" y="119"/>
                      <a:pt x="1" y="129"/>
                      <a:pt x="4" y="136"/>
                    </a:cubicBezTo>
                    <a:cubicBezTo>
                      <a:pt x="7" y="143"/>
                      <a:pt x="7" y="153"/>
                      <a:pt x="11" y="157"/>
                    </a:cubicBezTo>
                    <a:cubicBezTo>
                      <a:pt x="15" y="162"/>
                      <a:pt x="27" y="166"/>
                      <a:pt x="31" y="162"/>
                    </a:cubicBezTo>
                    <a:cubicBezTo>
                      <a:pt x="35" y="159"/>
                      <a:pt x="38" y="163"/>
                      <a:pt x="43" y="158"/>
                    </a:cubicBezTo>
                    <a:cubicBezTo>
                      <a:pt x="47" y="153"/>
                      <a:pt x="53" y="128"/>
                      <a:pt x="59" y="111"/>
                    </a:cubicBezTo>
                    <a:cubicBezTo>
                      <a:pt x="65" y="94"/>
                      <a:pt x="72" y="71"/>
                      <a:pt x="71" y="67"/>
                    </a:cubicBezTo>
                    <a:cubicBezTo>
                      <a:pt x="71" y="62"/>
                      <a:pt x="75" y="59"/>
                      <a:pt x="73" y="54"/>
                    </a:cubicBezTo>
                    <a:cubicBezTo>
                      <a:pt x="71" y="49"/>
                      <a:pt x="74" y="43"/>
                      <a:pt x="76" y="47"/>
                    </a:cubicBezTo>
                    <a:cubicBezTo>
                      <a:pt x="79" y="51"/>
                      <a:pt x="82" y="51"/>
                      <a:pt x="83" y="46"/>
                    </a:cubicBezTo>
                    <a:cubicBezTo>
                      <a:pt x="84" y="40"/>
                      <a:pt x="79" y="32"/>
                      <a:pt x="79" y="24"/>
                    </a:cubicBezTo>
                    <a:cubicBezTo>
                      <a:pt x="78" y="17"/>
                      <a:pt x="72" y="9"/>
                      <a:pt x="71" y="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5" name="Freeform 153">
                <a:extLst>
                  <a:ext uri="{FF2B5EF4-FFF2-40B4-BE49-F238E27FC236}">
                    <a16:creationId xmlns:a16="http://schemas.microsoft.com/office/drawing/2014/main" id="{5C1EAE03-8E87-4030-83C5-EFD9A3EA99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7338" y="3635375"/>
                <a:ext cx="293687" cy="179388"/>
              </a:xfrm>
              <a:custGeom>
                <a:avLst/>
                <a:gdLst>
                  <a:gd name="T0" fmla="*/ 95 w 134"/>
                  <a:gd name="T1" fmla="*/ 3 h 82"/>
                  <a:gd name="T2" fmla="*/ 73 w 134"/>
                  <a:gd name="T3" fmla="*/ 5 h 82"/>
                  <a:gd name="T4" fmla="*/ 55 w 134"/>
                  <a:gd name="T5" fmla="*/ 20 h 82"/>
                  <a:gd name="T6" fmla="*/ 48 w 134"/>
                  <a:gd name="T7" fmla="*/ 23 h 82"/>
                  <a:gd name="T8" fmla="*/ 32 w 134"/>
                  <a:gd name="T9" fmla="*/ 20 h 82"/>
                  <a:gd name="T10" fmla="*/ 18 w 134"/>
                  <a:gd name="T11" fmla="*/ 19 h 82"/>
                  <a:gd name="T12" fmla="*/ 10 w 134"/>
                  <a:gd name="T13" fmla="*/ 18 h 82"/>
                  <a:gd name="T14" fmla="*/ 5 w 134"/>
                  <a:gd name="T15" fmla="*/ 22 h 82"/>
                  <a:gd name="T16" fmla="*/ 5 w 134"/>
                  <a:gd name="T17" fmla="*/ 28 h 82"/>
                  <a:gd name="T18" fmla="*/ 0 w 134"/>
                  <a:gd name="T19" fmla="*/ 31 h 82"/>
                  <a:gd name="T20" fmla="*/ 1 w 134"/>
                  <a:gd name="T21" fmla="*/ 38 h 82"/>
                  <a:gd name="T22" fmla="*/ 4 w 134"/>
                  <a:gd name="T23" fmla="*/ 56 h 82"/>
                  <a:gd name="T24" fmla="*/ 8 w 134"/>
                  <a:gd name="T25" fmla="*/ 72 h 82"/>
                  <a:gd name="T26" fmla="*/ 29 w 134"/>
                  <a:gd name="T27" fmla="*/ 70 h 82"/>
                  <a:gd name="T28" fmla="*/ 43 w 134"/>
                  <a:gd name="T29" fmla="*/ 65 h 82"/>
                  <a:gd name="T30" fmla="*/ 55 w 134"/>
                  <a:gd name="T31" fmla="*/ 59 h 82"/>
                  <a:gd name="T32" fmla="*/ 67 w 134"/>
                  <a:gd name="T33" fmla="*/ 58 h 82"/>
                  <a:gd name="T34" fmla="*/ 75 w 134"/>
                  <a:gd name="T35" fmla="*/ 52 h 82"/>
                  <a:gd name="T36" fmla="*/ 99 w 134"/>
                  <a:gd name="T37" fmla="*/ 44 h 82"/>
                  <a:gd name="T38" fmla="*/ 110 w 134"/>
                  <a:gd name="T39" fmla="*/ 32 h 82"/>
                  <a:gd name="T40" fmla="*/ 120 w 134"/>
                  <a:gd name="T41" fmla="*/ 29 h 82"/>
                  <a:gd name="T42" fmla="*/ 106 w 134"/>
                  <a:gd name="T43" fmla="*/ 0 h 82"/>
                  <a:gd name="T44" fmla="*/ 95 w 134"/>
                  <a:gd name="T45" fmla="*/ 3 h 82"/>
                  <a:gd name="T46" fmla="*/ 122 w 134"/>
                  <a:gd name="T47" fmla="*/ 78 h 82"/>
                  <a:gd name="T48" fmla="*/ 134 w 134"/>
                  <a:gd name="T49" fmla="*/ 76 h 82"/>
                  <a:gd name="T50" fmla="*/ 122 w 134"/>
                  <a:gd name="T51" fmla="*/ 7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4" h="82">
                    <a:moveTo>
                      <a:pt x="95" y="3"/>
                    </a:moveTo>
                    <a:cubicBezTo>
                      <a:pt x="89" y="5"/>
                      <a:pt x="75" y="4"/>
                      <a:pt x="73" y="5"/>
                    </a:cubicBezTo>
                    <a:cubicBezTo>
                      <a:pt x="71" y="6"/>
                      <a:pt x="57" y="15"/>
                      <a:pt x="55" y="20"/>
                    </a:cubicBezTo>
                    <a:cubicBezTo>
                      <a:pt x="53" y="24"/>
                      <a:pt x="51" y="25"/>
                      <a:pt x="48" y="23"/>
                    </a:cubicBezTo>
                    <a:cubicBezTo>
                      <a:pt x="45" y="21"/>
                      <a:pt x="33" y="21"/>
                      <a:pt x="32" y="20"/>
                    </a:cubicBezTo>
                    <a:cubicBezTo>
                      <a:pt x="31" y="19"/>
                      <a:pt x="22" y="18"/>
                      <a:pt x="18" y="19"/>
                    </a:cubicBezTo>
                    <a:cubicBezTo>
                      <a:pt x="14" y="20"/>
                      <a:pt x="12" y="17"/>
                      <a:pt x="10" y="18"/>
                    </a:cubicBezTo>
                    <a:cubicBezTo>
                      <a:pt x="8" y="18"/>
                      <a:pt x="6" y="21"/>
                      <a:pt x="5" y="22"/>
                    </a:cubicBezTo>
                    <a:cubicBezTo>
                      <a:pt x="4" y="23"/>
                      <a:pt x="6" y="27"/>
                      <a:pt x="5" y="28"/>
                    </a:cubicBezTo>
                    <a:cubicBezTo>
                      <a:pt x="5" y="28"/>
                      <a:pt x="3" y="29"/>
                      <a:pt x="0" y="31"/>
                    </a:cubicBezTo>
                    <a:cubicBezTo>
                      <a:pt x="1" y="33"/>
                      <a:pt x="2" y="36"/>
                      <a:pt x="1" y="38"/>
                    </a:cubicBezTo>
                    <a:cubicBezTo>
                      <a:pt x="0" y="42"/>
                      <a:pt x="1" y="51"/>
                      <a:pt x="4" y="56"/>
                    </a:cubicBezTo>
                    <a:cubicBezTo>
                      <a:pt x="8" y="61"/>
                      <a:pt x="6" y="70"/>
                      <a:pt x="8" y="72"/>
                    </a:cubicBezTo>
                    <a:cubicBezTo>
                      <a:pt x="10" y="74"/>
                      <a:pt x="23" y="74"/>
                      <a:pt x="29" y="70"/>
                    </a:cubicBezTo>
                    <a:cubicBezTo>
                      <a:pt x="34" y="66"/>
                      <a:pt x="38" y="65"/>
                      <a:pt x="43" y="65"/>
                    </a:cubicBezTo>
                    <a:cubicBezTo>
                      <a:pt x="48" y="65"/>
                      <a:pt x="54" y="61"/>
                      <a:pt x="55" y="59"/>
                    </a:cubicBezTo>
                    <a:cubicBezTo>
                      <a:pt x="57" y="57"/>
                      <a:pt x="64" y="57"/>
                      <a:pt x="67" y="58"/>
                    </a:cubicBezTo>
                    <a:cubicBezTo>
                      <a:pt x="69" y="58"/>
                      <a:pt x="72" y="55"/>
                      <a:pt x="75" y="52"/>
                    </a:cubicBezTo>
                    <a:cubicBezTo>
                      <a:pt x="79" y="48"/>
                      <a:pt x="89" y="47"/>
                      <a:pt x="99" y="44"/>
                    </a:cubicBezTo>
                    <a:cubicBezTo>
                      <a:pt x="110" y="40"/>
                      <a:pt x="108" y="35"/>
                      <a:pt x="110" y="32"/>
                    </a:cubicBezTo>
                    <a:cubicBezTo>
                      <a:pt x="112" y="30"/>
                      <a:pt x="115" y="31"/>
                      <a:pt x="120" y="29"/>
                    </a:cubicBezTo>
                    <a:cubicBezTo>
                      <a:pt x="114" y="18"/>
                      <a:pt x="109" y="6"/>
                      <a:pt x="106" y="0"/>
                    </a:cubicBezTo>
                    <a:cubicBezTo>
                      <a:pt x="101" y="2"/>
                      <a:pt x="97" y="3"/>
                      <a:pt x="95" y="3"/>
                    </a:cubicBezTo>
                    <a:close/>
                    <a:moveTo>
                      <a:pt x="122" y="78"/>
                    </a:moveTo>
                    <a:cubicBezTo>
                      <a:pt x="126" y="82"/>
                      <a:pt x="134" y="78"/>
                      <a:pt x="134" y="76"/>
                    </a:cubicBezTo>
                    <a:cubicBezTo>
                      <a:pt x="134" y="74"/>
                      <a:pt x="118" y="74"/>
                      <a:pt x="122" y="7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6" name="Freeform 154">
                <a:extLst>
                  <a:ext uri="{FF2B5EF4-FFF2-40B4-BE49-F238E27FC236}">
                    <a16:creationId xmlns:a16="http://schemas.microsoft.com/office/drawing/2014/main" id="{52A5DCC4-2AD6-44E2-B87E-914517B41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2813" y="5440363"/>
                <a:ext cx="65087" cy="38100"/>
              </a:xfrm>
              <a:custGeom>
                <a:avLst/>
                <a:gdLst>
                  <a:gd name="T0" fmla="*/ 14 w 30"/>
                  <a:gd name="T1" fmla="*/ 3 h 18"/>
                  <a:gd name="T2" fmla="*/ 10 w 30"/>
                  <a:gd name="T3" fmla="*/ 16 h 18"/>
                  <a:gd name="T4" fmla="*/ 19 w 30"/>
                  <a:gd name="T5" fmla="*/ 16 h 18"/>
                  <a:gd name="T6" fmla="*/ 29 w 30"/>
                  <a:gd name="T7" fmla="*/ 11 h 18"/>
                  <a:gd name="T8" fmla="*/ 14 w 30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14" y="3"/>
                    </a:moveTo>
                    <a:cubicBezTo>
                      <a:pt x="13" y="0"/>
                      <a:pt x="0" y="12"/>
                      <a:pt x="10" y="16"/>
                    </a:cubicBezTo>
                    <a:cubicBezTo>
                      <a:pt x="15" y="18"/>
                      <a:pt x="16" y="13"/>
                      <a:pt x="19" y="16"/>
                    </a:cubicBezTo>
                    <a:cubicBezTo>
                      <a:pt x="22" y="18"/>
                      <a:pt x="28" y="17"/>
                      <a:pt x="29" y="11"/>
                    </a:cubicBezTo>
                    <a:cubicBezTo>
                      <a:pt x="30" y="6"/>
                      <a:pt x="15" y="7"/>
                      <a:pt x="14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7" name="Freeform 155">
                <a:extLst>
                  <a:ext uri="{FF2B5EF4-FFF2-40B4-BE49-F238E27FC236}">
                    <a16:creationId xmlns:a16="http://schemas.microsoft.com/office/drawing/2014/main" id="{64E4798A-0C24-450A-BE15-FA855F245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1175" y="4254500"/>
                <a:ext cx="200025" cy="144463"/>
              </a:xfrm>
              <a:custGeom>
                <a:avLst/>
                <a:gdLst>
                  <a:gd name="T0" fmla="*/ 1 w 91"/>
                  <a:gd name="T1" fmla="*/ 3 h 66"/>
                  <a:gd name="T2" fmla="*/ 15 w 91"/>
                  <a:gd name="T3" fmla="*/ 19 h 66"/>
                  <a:gd name="T4" fmla="*/ 1 w 91"/>
                  <a:gd name="T5" fmla="*/ 3 h 66"/>
                  <a:gd name="T6" fmla="*/ 22 w 91"/>
                  <a:gd name="T7" fmla="*/ 17 h 66"/>
                  <a:gd name="T8" fmla="*/ 31 w 91"/>
                  <a:gd name="T9" fmla="*/ 25 h 66"/>
                  <a:gd name="T10" fmla="*/ 22 w 91"/>
                  <a:gd name="T11" fmla="*/ 17 h 66"/>
                  <a:gd name="T12" fmla="*/ 59 w 91"/>
                  <a:gd name="T13" fmla="*/ 37 h 66"/>
                  <a:gd name="T14" fmla="*/ 44 w 91"/>
                  <a:gd name="T15" fmla="*/ 28 h 66"/>
                  <a:gd name="T16" fmla="*/ 59 w 91"/>
                  <a:gd name="T17" fmla="*/ 37 h 66"/>
                  <a:gd name="T18" fmla="*/ 57 w 91"/>
                  <a:gd name="T19" fmla="*/ 48 h 66"/>
                  <a:gd name="T20" fmla="*/ 69 w 91"/>
                  <a:gd name="T21" fmla="*/ 54 h 66"/>
                  <a:gd name="T22" fmla="*/ 57 w 91"/>
                  <a:gd name="T23" fmla="*/ 48 h 66"/>
                  <a:gd name="T24" fmla="*/ 78 w 91"/>
                  <a:gd name="T25" fmla="*/ 59 h 66"/>
                  <a:gd name="T26" fmla="*/ 88 w 91"/>
                  <a:gd name="T27" fmla="*/ 64 h 66"/>
                  <a:gd name="T28" fmla="*/ 78 w 91"/>
                  <a:gd name="T29" fmla="*/ 59 h 66"/>
                  <a:gd name="T30" fmla="*/ 69 w 91"/>
                  <a:gd name="T31" fmla="*/ 36 h 66"/>
                  <a:gd name="T32" fmla="*/ 78 w 91"/>
                  <a:gd name="T33" fmla="*/ 52 h 66"/>
                  <a:gd name="T34" fmla="*/ 69 w 91"/>
                  <a:gd name="T35" fmla="*/ 3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1" h="66">
                    <a:moveTo>
                      <a:pt x="1" y="3"/>
                    </a:moveTo>
                    <a:cubicBezTo>
                      <a:pt x="0" y="6"/>
                      <a:pt x="11" y="22"/>
                      <a:pt x="15" y="19"/>
                    </a:cubicBezTo>
                    <a:cubicBezTo>
                      <a:pt x="22" y="15"/>
                      <a:pt x="1" y="0"/>
                      <a:pt x="1" y="3"/>
                    </a:cubicBezTo>
                    <a:close/>
                    <a:moveTo>
                      <a:pt x="22" y="17"/>
                    </a:moveTo>
                    <a:cubicBezTo>
                      <a:pt x="22" y="18"/>
                      <a:pt x="30" y="26"/>
                      <a:pt x="31" y="25"/>
                    </a:cubicBezTo>
                    <a:cubicBezTo>
                      <a:pt x="33" y="23"/>
                      <a:pt x="22" y="15"/>
                      <a:pt x="22" y="17"/>
                    </a:cubicBezTo>
                    <a:close/>
                    <a:moveTo>
                      <a:pt x="59" y="37"/>
                    </a:moveTo>
                    <a:cubicBezTo>
                      <a:pt x="62" y="35"/>
                      <a:pt x="44" y="25"/>
                      <a:pt x="44" y="28"/>
                    </a:cubicBezTo>
                    <a:cubicBezTo>
                      <a:pt x="43" y="31"/>
                      <a:pt x="57" y="39"/>
                      <a:pt x="59" y="37"/>
                    </a:cubicBezTo>
                    <a:close/>
                    <a:moveTo>
                      <a:pt x="57" y="48"/>
                    </a:moveTo>
                    <a:cubicBezTo>
                      <a:pt x="58" y="53"/>
                      <a:pt x="66" y="56"/>
                      <a:pt x="69" y="54"/>
                    </a:cubicBezTo>
                    <a:cubicBezTo>
                      <a:pt x="72" y="52"/>
                      <a:pt x="56" y="42"/>
                      <a:pt x="57" y="48"/>
                    </a:cubicBezTo>
                    <a:close/>
                    <a:moveTo>
                      <a:pt x="78" y="59"/>
                    </a:moveTo>
                    <a:cubicBezTo>
                      <a:pt x="78" y="60"/>
                      <a:pt x="85" y="66"/>
                      <a:pt x="88" y="64"/>
                    </a:cubicBezTo>
                    <a:cubicBezTo>
                      <a:pt x="91" y="61"/>
                      <a:pt x="77" y="57"/>
                      <a:pt x="78" y="59"/>
                    </a:cubicBezTo>
                    <a:close/>
                    <a:moveTo>
                      <a:pt x="69" y="36"/>
                    </a:moveTo>
                    <a:cubicBezTo>
                      <a:pt x="67" y="42"/>
                      <a:pt x="77" y="51"/>
                      <a:pt x="78" y="52"/>
                    </a:cubicBezTo>
                    <a:cubicBezTo>
                      <a:pt x="80" y="52"/>
                      <a:pt x="71" y="32"/>
                      <a:pt x="69" y="3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8" name="Freeform 156">
                <a:extLst>
                  <a:ext uri="{FF2B5EF4-FFF2-40B4-BE49-F238E27FC236}">
                    <a16:creationId xmlns:a16="http://schemas.microsoft.com/office/drawing/2014/main" id="{C8526A25-1370-4185-9D7D-725B9A4BAA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1175" y="4254500"/>
                <a:ext cx="200025" cy="144463"/>
              </a:xfrm>
              <a:custGeom>
                <a:avLst/>
                <a:gdLst>
                  <a:gd name="T0" fmla="*/ 1 w 91"/>
                  <a:gd name="T1" fmla="*/ 3 h 66"/>
                  <a:gd name="T2" fmla="*/ 15 w 91"/>
                  <a:gd name="T3" fmla="*/ 19 h 66"/>
                  <a:gd name="T4" fmla="*/ 1 w 91"/>
                  <a:gd name="T5" fmla="*/ 3 h 66"/>
                  <a:gd name="T6" fmla="*/ 22 w 91"/>
                  <a:gd name="T7" fmla="*/ 17 h 66"/>
                  <a:gd name="T8" fmla="*/ 31 w 91"/>
                  <a:gd name="T9" fmla="*/ 25 h 66"/>
                  <a:gd name="T10" fmla="*/ 22 w 91"/>
                  <a:gd name="T11" fmla="*/ 17 h 66"/>
                  <a:gd name="T12" fmla="*/ 59 w 91"/>
                  <a:gd name="T13" fmla="*/ 37 h 66"/>
                  <a:gd name="T14" fmla="*/ 44 w 91"/>
                  <a:gd name="T15" fmla="*/ 28 h 66"/>
                  <a:gd name="T16" fmla="*/ 59 w 91"/>
                  <a:gd name="T17" fmla="*/ 37 h 66"/>
                  <a:gd name="T18" fmla="*/ 57 w 91"/>
                  <a:gd name="T19" fmla="*/ 48 h 66"/>
                  <a:gd name="T20" fmla="*/ 69 w 91"/>
                  <a:gd name="T21" fmla="*/ 54 h 66"/>
                  <a:gd name="T22" fmla="*/ 57 w 91"/>
                  <a:gd name="T23" fmla="*/ 48 h 66"/>
                  <a:gd name="T24" fmla="*/ 78 w 91"/>
                  <a:gd name="T25" fmla="*/ 59 h 66"/>
                  <a:gd name="T26" fmla="*/ 88 w 91"/>
                  <a:gd name="T27" fmla="*/ 64 h 66"/>
                  <a:gd name="T28" fmla="*/ 78 w 91"/>
                  <a:gd name="T29" fmla="*/ 59 h 66"/>
                  <a:gd name="T30" fmla="*/ 69 w 91"/>
                  <a:gd name="T31" fmla="*/ 36 h 66"/>
                  <a:gd name="T32" fmla="*/ 78 w 91"/>
                  <a:gd name="T33" fmla="*/ 52 h 66"/>
                  <a:gd name="T34" fmla="*/ 69 w 91"/>
                  <a:gd name="T35" fmla="*/ 3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1" h="66">
                    <a:moveTo>
                      <a:pt x="1" y="3"/>
                    </a:moveTo>
                    <a:cubicBezTo>
                      <a:pt x="0" y="6"/>
                      <a:pt x="11" y="22"/>
                      <a:pt x="15" y="19"/>
                    </a:cubicBezTo>
                    <a:cubicBezTo>
                      <a:pt x="22" y="15"/>
                      <a:pt x="1" y="0"/>
                      <a:pt x="1" y="3"/>
                    </a:cubicBezTo>
                    <a:close/>
                    <a:moveTo>
                      <a:pt x="22" y="17"/>
                    </a:moveTo>
                    <a:cubicBezTo>
                      <a:pt x="22" y="18"/>
                      <a:pt x="30" y="26"/>
                      <a:pt x="31" y="25"/>
                    </a:cubicBezTo>
                    <a:cubicBezTo>
                      <a:pt x="33" y="23"/>
                      <a:pt x="22" y="15"/>
                      <a:pt x="22" y="17"/>
                    </a:cubicBezTo>
                    <a:close/>
                    <a:moveTo>
                      <a:pt x="59" y="37"/>
                    </a:moveTo>
                    <a:cubicBezTo>
                      <a:pt x="62" y="35"/>
                      <a:pt x="44" y="25"/>
                      <a:pt x="44" y="28"/>
                    </a:cubicBezTo>
                    <a:cubicBezTo>
                      <a:pt x="43" y="31"/>
                      <a:pt x="57" y="39"/>
                      <a:pt x="59" y="37"/>
                    </a:cubicBezTo>
                    <a:close/>
                    <a:moveTo>
                      <a:pt x="57" y="48"/>
                    </a:moveTo>
                    <a:cubicBezTo>
                      <a:pt x="58" y="53"/>
                      <a:pt x="66" y="56"/>
                      <a:pt x="69" y="54"/>
                    </a:cubicBezTo>
                    <a:cubicBezTo>
                      <a:pt x="72" y="52"/>
                      <a:pt x="56" y="42"/>
                      <a:pt x="57" y="48"/>
                    </a:cubicBezTo>
                    <a:close/>
                    <a:moveTo>
                      <a:pt x="78" y="59"/>
                    </a:moveTo>
                    <a:cubicBezTo>
                      <a:pt x="78" y="60"/>
                      <a:pt x="85" y="66"/>
                      <a:pt x="88" y="64"/>
                    </a:cubicBezTo>
                    <a:cubicBezTo>
                      <a:pt x="91" y="61"/>
                      <a:pt x="77" y="57"/>
                      <a:pt x="78" y="59"/>
                    </a:cubicBezTo>
                    <a:close/>
                    <a:moveTo>
                      <a:pt x="69" y="36"/>
                    </a:moveTo>
                    <a:cubicBezTo>
                      <a:pt x="67" y="42"/>
                      <a:pt x="77" y="51"/>
                      <a:pt x="78" y="52"/>
                    </a:cubicBezTo>
                    <a:cubicBezTo>
                      <a:pt x="80" y="52"/>
                      <a:pt x="71" y="32"/>
                      <a:pt x="69" y="3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79" name="Freeform 157">
                <a:extLst>
                  <a:ext uri="{FF2B5EF4-FFF2-40B4-BE49-F238E27FC236}">
                    <a16:creationId xmlns:a16="http://schemas.microsoft.com/office/drawing/2014/main" id="{D4A65273-69A5-4A3C-9CA9-FFCBD8E17B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88188" y="4386263"/>
                <a:ext cx="1019175" cy="904875"/>
              </a:xfrm>
              <a:custGeom>
                <a:avLst/>
                <a:gdLst>
                  <a:gd name="T0" fmla="*/ 457 w 464"/>
                  <a:gd name="T1" fmla="*/ 180 h 412"/>
                  <a:gd name="T2" fmla="*/ 438 w 464"/>
                  <a:gd name="T3" fmla="*/ 160 h 412"/>
                  <a:gd name="T4" fmla="*/ 424 w 464"/>
                  <a:gd name="T5" fmla="*/ 140 h 412"/>
                  <a:gd name="T6" fmla="*/ 411 w 464"/>
                  <a:gd name="T7" fmla="*/ 124 h 412"/>
                  <a:gd name="T8" fmla="*/ 378 w 464"/>
                  <a:gd name="T9" fmla="*/ 93 h 412"/>
                  <a:gd name="T10" fmla="*/ 367 w 464"/>
                  <a:gd name="T11" fmla="*/ 54 h 412"/>
                  <a:gd name="T12" fmla="*/ 348 w 464"/>
                  <a:gd name="T13" fmla="*/ 34 h 412"/>
                  <a:gd name="T14" fmla="*/ 330 w 464"/>
                  <a:gd name="T15" fmla="*/ 10 h 412"/>
                  <a:gd name="T16" fmla="*/ 324 w 464"/>
                  <a:gd name="T17" fmla="*/ 52 h 412"/>
                  <a:gd name="T18" fmla="*/ 298 w 464"/>
                  <a:gd name="T19" fmla="*/ 76 h 412"/>
                  <a:gd name="T20" fmla="*/ 265 w 464"/>
                  <a:gd name="T21" fmla="*/ 59 h 412"/>
                  <a:gd name="T22" fmla="*/ 260 w 464"/>
                  <a:gd name="T23" fmla="*/ 35 h 412"/>
                  <a:gd name="T24" fmla="*/ 268 w 464"/>
                  <a:gd name="T25" fmla="*/ 17 h 412"/>
                  <a:gd name="T26" fmla="*/ 251 w 464"/>
                  <a:gd name="T27" fmla="*/ 19 h 412"/>
                  <a:gd name="T28" fmla="*/ 223 w 464"/>
                  <a:gd name="T29" fmla="*/ 13 h 412"/>
                  <a:gd name="T30" fmla="*/ 194 w 464"/>
                  <a:gd name="T31" fmla="*/ 32 h 412"/>
                  <a:gd name="T32" fmla="*/ 185 w 464"/>
                  <a:gd name="T33" fmla="*/ 51 h 412"/>
                  <a:gd name="T34" fmla="*/ 167 w 464"/>
                  <a:gd name="T35" fmla="*/ 44 h 412"/>
                  <a:gd name="T36" fmla="*/ 148 w 464"/>
                  <a:gd name="T37" fmla="*/ 46 h 412"/>
                  <a:gd name="T38" fmla="*/ 132 w 464"/>
                  <a:gd name="T39" fmla="*/ 55 h 412"/>
                  <a:gd name="T40" fmla="*/ 123 w 464"/>
                  <a:gd name="T41" fmla="*/ 74 h 412"/>
                  <a:gd name="T42" fmla="*/ 106 w 464"/>
                  <a:gd name="T43" fmla="*/ 75 h 412"/>
                  <a:gd name="T44" fmla="*/ 70 w 464"/>
                  <a:gd name="T45" fmla="*/ 110 h 412"/>
                  <a:gd name="T46" fmla="*/ 35 w 464"/>
                  <a:gd name="T47" fmla="*/ 122 h 412"/>
                  <a:gd name="T48" fmla="*/ 13 w 464"/>
                  <a:gd name="T49" fmla="*/ 131 h 412"/>
                  <a:gd name="T50" fmla="*/ 6 w 464"/>
                  <a:gd name="T51" fmla="*/ 170 h 412"/>
                  <a:gd name="T52" fmla="*/ 9 w 464"/>
                  <a:gd name="T53" fmla="*/ 187 h 412"/>
                  <a:gd name="T54" fmla="*/ 22 w 464"/>
                  <a:gd name="T55" fmla="*/ 228 h 412"/>
                  <a:gd name="T56" fmla="*/ 23 w 464"/>
                  <a:gd name="T57" fmla="*/ 278 h 412"/>
                  <a:gd name="T58" fmla="*/ 56 w 464"/>
                  <a:gd name="T59" fmla="*/ 295 h 412"/>
                  <a:gd name="T60" fmla="*/ 105 w 464"/>
                  <a:gd name="T61" fmla="*/ 281 h 412"/>
                  <a:gd name="T62" fmla="*/ 157 w 464"/>
                  <a:gd name="T63" fmla="*/ 260 h 412"/>
                  <a:gd name="T64" fmla="*/ 220 w 464"/>
                  <a:gd name="T65" fmla="*/ 257 h 412"/>
                  <a:gd name="T66" fmla="*/ 240 w 464"/>
                  <a:gd name="T67" fmla="*/ 269 h 412"/>
                  <a:gd name="T68" fmla="*/ 262 w 464"/>
                  <a:gd name="T69" fmla="*/ 287 h 412"/>
                  <a:gd name="T70" fmla="*/ 278 w 464"/>
                  <a:gd name="T71" fmla="*/ 285 h 412"/>
                  <a:gd name="T72" fmla="*/ 288 w 464"/>
                  <a:gd name="T73" fmla="*/ 289 h 412"/>
                  <a:gd name="T74" fmla="*/ 304 w 464"/>
                  <a:gd name="T75" fmla="*/ 317 h 412"/>
                  <a:gd name="T76" fmla="*/ 345 w 464"/>
                  <a:gd name="T77" fmla="*/ 344 h 412"/>
                  <a:gd name="T78" fmla="*/ 366 w 464"/>
                  <a:gd name="T79" fmla="*/ 341 h 412"/>
                  <a:gd name="T80" fmla="*/ 380 w 464"/>
                  <a:gd name="T81" fmla="*/ 349 h 412"/>
                  <a:gd name="T82" fmla="*/ 419 w 464"/>
                  <a:gd name="T83" fmla="*/ 330 h 412"/>
                  <a:gd name="T84" fmla="*/ 443 w 464"/>
                  <a:gd name="T85" fmla="*/ 266 h 412"/>
                  <a:gd name="T86" fmla="*/ 459 w 464"/>
                  <a:gd name="T87" fmla="*/ 228 h 412"/>
                  <a:gd name="T88" fmla="*/ 210 w 464"/>
                  <a:gd name="T89" fmla="*/ 11 h 412"/>
                  <a:gd name="T90" fmla="*/ 266 w 464"/>
                  <a:gd name="T91" fmla="*/ 307 h 412"/>
                  <a:gd name="T92" fmla="*/ 379 w 464"/>
                  <a:gd name="T93" fmla="*/ 377 h 412"/>
                  <a:gd name="T94" fmla="*/ 380 w 464"/>
                  <a:gd name="T95" fmla="*/ 411 h 412"/>
                  <a:gd name="T96" fmla="*/ 396 w 464"/>
                  <a:gd name="T97" fmla="*/ 402 h 412"/>
                  <a:gd name="T98" fmla="*/ 379 w 464"/>
                  <a:gd name="T99" fmla="*/ 377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64" h="412">
                    <a:moveTo>
                      <a:pt x="461" y="207"/>
                    </a:moveTo>
                    <a:cubicBezTo>
                      <a:pt x="463" y="205"/>
                      <a:pt x="460" y="197"/>
                      <a:pt x="458" y="199"/>
                    </a:cubicBezTo>
                    <a:cubicBezTo>
                      <a:pt x="456" y="200"/>
                      <a:pt x="456" y="186"/>
                      <a:pt x="457" y="180"/>
                    </a:cubicBezTo>
                    <a:cubicBezTo>
                      <a:pt x="459" y="174"/>
                      <a:pt x="458" y="174"/>
                      <a:pt x="455" y="178"/>
                    </a:cubicBezTo>
                    <a:cubicBezTo>
                      <a:pt x="451" y="181"/>
                      <a:pt x="448" y="171"/>
                      <a:pt x="447" y="169"/>
                    </a:cubicBezTo>
                    <a:cubicBezTo>
                      <a:pt x="446" y="166"/>
                      <a:pt x="443" y="159"/>
                      <a:pt x="438" y="160"/>
                    </a:cubicBezTo>
                    <a:cubicBezTo>
                      <a:pt x="434" y="161"/>
                      <a:pt x="437" y="154"/>
                      <a:pt x="433" y="155"/>
                    </a:cubicBezTo>
                    <a:cubicBezTo>
                      <a:pt x="429" y="156"/>
                      <a:pt x="428" y="149"/>
                      <a:pt x="429" y="143"/>
                    </a:cubicBezTo>
                    <a:cubicBezTo>
                      <a:pt x="430" y="137"/>
                      <a:pt x="426" y="142"/>
                      <a:pt x="424" y="140"/>
                    </a:cubicBezTo>
                    <a:cubicBezTo>
                      <a:pt x="423" y="137"/>
                      <a:pt x="421" y="139"/>
                      <a:pt x="418" y="140"/>
                    </a:cubicBezTo>
                    <a:cubicBezTo>
                      <a:pt x="415" y="141"/>
                      <a:pt x="414" y="135"/>
                      <a:pt x="415" y="132"/>
                    </a:cubicBezTo>
                    <a:cubicBezTo>
                      <a:pt x="416" y="130"/>
                      <a:pt x="415" y="127"/>
                      <a:pt x="411" y="124"/>
                    </a:cubicBezTo>
                    <a:cubicBezTo>
                      <a:pt x="407" y="121"/>
                      <a:pt x="407" y="119"/>
                      <a:pt x="407" y="116"/>
                    </a:cubicBezTo>
                    <a:cubicBezTo>
                      <a:pt x="407" y="113"/>
                      <a:pt x="386" y="102"/>
                      <a:pt x="381" y="101"/>
                    </a:cubicBezTo>
                    <a:cubicBezTo>
                      <a:pt x="376" y="100"/>
                      <a:pt x="380" y="95"/>
                      <a:pt x="378" y="93"/>
                    </a:cubicBezTo>
                    <a:cubicBezTo>
                      <a:pt x="376" y="91"/>
                      <a:pt x="376" y="85"/>
                      <a:pt x="376" y="79"/>
                    </a:cubicBezTo>
                    <a:cubicBezTo>
                      <a:pt x="376" y="74"/>
                      <a:pt x="369" y="72"/>
                      <a:pt x="369" y="67"/>
                    </a:cubicBezTo>
                    <a:cubicBezTo>
                      <a:pt x="369" y="63"/>
                      <a:pt x="367" y="59"/>
                      <a:pt x="367" y="54"/>
                    </a:cubicBezTo>
                    <a:cubicBezTo>
                      <a:pt x="368" y="49"/>
                      <a:pt x="360" y="47"/>
                      <a:pt x="360" y="45"/>
                    </a:cubicBezTo>
                    <a:cubicBezTo>
                      <a:pt x="360" y="42"/>
                      <a:pt x="355" y="44"/>
                      <a:pt x="351" y="45"/>
                    </a:cubicBezTo>
                    <a:cubicBezTo>
                      <a:pt x="347" y="45"/>
                      <a:pt x="347" y="39"/>
                      <a:pt x="348" y="34"/>
                    </a:cubicBezTo>
                    <a:cubicBezTo>
                      <a:pt x="348" y="28"/>
                      <a:pt x="346" y="18"/>
                      <a:pt x="342" y="16"/>
                    </a:cubicBezTo>
                    <a:cubicBezTo>
                      <a:pt x="339" y="13"/>
                      <a:pt x="339" y="3"/>
                      <a:pt x="337" y="2"/>
                    </a:cubicBezTo>
                    <a:cubicBezTo>
                      <a:pt x="335" y="0"/>
                      <a:pt x="329" y="7"/>
                      <a:pt x="330" y="10"/>
                    </a:cubicBezTo>
                    <a:cubicBezTo>
                      <a:pt x="330" y="13"/>
                      <a:pt x="329" y="17"/>
                      <a:pt x="327" y="19"/>
                    </a:cubicBezTo>
                    <a:cubicBezTo>
                      <a:pt x="325" y="21"/>
                      <a:pt x="328" y="29"/>
                      <a:pt x="325" y="32"/>
                    </a:cubicBezTo>
                    <a:cubicBezTo>
                      <a:pt x="322" y="34"/>
                      <a:pt x="325" y="45"/>
                      <a:pt x="324" y="52"/>
                    </a:cubicBezTo>
                    <a:cubicBezTo>
                      <a:pt x="324" y="58"/>
                      <a:pt x="324" y="65"/>
                      <a:pt x="321" y="69"/>
                    </a:cubicBezTo>
                    <a:cubicBezTo>
                      <a:pt x="318" y="73"/>
                      <a:pt x="317" y="80"/>
                      <a:pt x="311" y="82"/>
                    </a:cubicBezTo>
                    <a:cubicBezTo>
                      <a:pt x="305" y="84"/>
                      <a:pt x="297" y="80"/>
                      <a:pt x="298" y="76"/>
                    </a:cubicBezTo>
                    <a:cubicBezTo>
                      <a:pt x="298" y="73"/>
                      <a:pt x="291" y="71"/>
                      <a:pt x="288" y="72"/>
                    </a:cubicBezTo>
                    <a:cubicBezTo>
                      <a:pt x="284" y="72"/>
                      <a:pt x="282" y="67"/>
                      <a:pt x="277" y="63"/>
                    </a:cubicBezTo>
                    <a:cubicBezTo>
                      <a:pt x="271" y="59"/>
                      <a:pt x="267" y="64"/>
                      <a:pt x="265" y="59"/>
                    </a:cubicBezTo>
                    <a:cubicBezTo>
                      <a:pt x="263" y="54"/>
                      <a:pt x="262" y="53"/>
                      <a:pt x="258" y="50"/>
                    </a:cubicBezTo>
                    <a:cubicBezTo>
                      <a:pt x="254" y="48"/>
                      <a:pt x="255" y="48"/>
                      <a:pt x="259" y="45"/>
                    </a:cubicBezTo>
                    <a:cubicBezTo>
                      <a:pt x="262" y="42"/>
                      <a:pt x="262" y="39"/>
                      <a:pt x="260" y="35"/>
                    </a:cubicBezTo>
                    <a:cubicBezTo>
                      <a:pt x="258" y="32"/>
                      <a:pt x="262" y="33"/>
                      <a:pt x="267" y="30"/>
                    </a:cubicBezTo>
                    <a:cubicBezTo>
                      <a:pt x="272" y="27"/>
                      <a:pt x="267" y="24"/>
                      <a:pt x="271" y="23"/>
                    </a:cubicBezTo>
                    <a:cubicBezTo>
                      <a:pt x="274" y="21"/>
                      <a:pt x="272" y="18"/>
                      <a:pt x="268" y="17"/>
                    </a:cubicBezTo>
                    <a:cubicBezTo>
                      <a:pt x="264" y="16"/>
                      <a:pt x="265" y="21"/>
                      <a:pt x="264" y="22"/>
                    </a:cubicBezTo>
                    <a:cubicBezTo>
                      <a:pt x="262" y="22"/>
                      <a:pt x="261" y="15"/>
                      <a:pt x="260" y="16"/>
                    </a:cubicBezTo>
                    <a:cubicBezTo>
                      <a:pt x="258" y="16"/>
                      <a:pt x="254" y="22"/>
                      <a:pt x="251" y="19"/>
                    </a:cubicBezTo>
                    <a:cubicBezTo>
                      <a:pt x="249" y="16"/>
                      <a:pt x="235" y="13"/>
                      <a:pt x="229" y="12"/>
                    </a:cubicBezTo>
                    <a:cubicBezTo>
                      <a:pt x="224" y="12"/>
                      <a:pt x="222" y="5"/>
                      <a:pt x="219" y="6"/>
                    </a:cubicBezTo>
                    <a:cubicBezTo>
                      <a:pt x="215" y="7"/>
                      <a:pt x="219" y="9"/>
                      <a:pt x="223" y="13"/>
                    </a:cubicBezTo>
                    <a:cubicBezTo>
                      <a:pt x="227" y="17"/>
                      <a:pt x="210" y="20"/>
                      <a:pt x="206" y="19"/>
                    </a:cubicBezTo>
                    <a:cubicBezTo>
                      <a:pt x="201" y="17"/>
                      <a:pt x="206" y="22"/>
                      <a:pt x="202" y="22"/>
                    </a:cubicBezTo>
                    <a:cubicBezTo>
                      <a:pt x="198" y="22"/>
                      <a:pt x="198" y="29"/>
                      <a:pt x="194" y="32"/>
                    </a:cubicBezTo>
                    <a:cubicBezTo>
                      <a:pt x="191" y="36"/>
                      <a:pt x="193" y="38"/>
                      <a:pt x="190" y="40"/>
                    </a:cubicBezTo>
                    <a:cubicBezTo>
                      <a:pt x="186" y="43"/>
                      <a:pt x="186" y="45"/>
                      <a:pt x="190" y="50"/>
                    </a:cubicBezTo>
                    <a:cubicBezTo>
                      <a:pt x="195" y="55"/>
                      <a:pt x="188" y="55"/>
                      <a:pt x="185" y="51"/>
                    </a:cubicBezTo>
                    <a:cubicBezTo>
                      <a:pt x="181" y="47"/>
                      <a:pt x="177" y="47"/>
                      <a:pt x="177" y="52"/>
                    </a:cubicBezTo>
                    <a:cubicBezTo>
                      <a:pt x="178" y="56"/>
                      <a:pt x="173" y="54"/>
                      <a:pt x="174" y="49"/>
                    </a:cubicBezTo>
                    <a:cubicBezTo>
                      <a:pt x="174" y="44"/>
                      <a:pt x="168" y="47"/>
                      <a:pt x="167" y="44"/>
                    </a:cubicBezTo>
                    <a:cubicBezTo>
                      <a:pt x="166" y="41"/>
                      <a:pt x="161" y="37"/>
                      <a:pt x="158" y="37"/>
                    </a:cubicBezTo>
                    <a:cubicBezTo>
                      <a:pt x="155" y="37"/>
                      <a:pt x="155" y="41"/>
                      <a:pt x="151" y="41"/>
                    </a:cubicBezTo>
                    <a:cubicBezTo>
                      <a:pt x="148" y="41"/>
                      <a:pt x="147" y="42"/>
                      <a:pt x="148" y="46"/>
                    </a:cubicBezTo>
                    <a:cubicBezTo>
                      <a:pt x="148" y="49"/>
                      <a:pt x="143" y="46"/>
                      <a:pt x="139" y="46"/>
                    </a:cubicBezTo>
                    <a:cubicBezTo>
                      <a:pt x="135" y="47"/>
                      <a:pt x="139" y="51"/>
                      <a:pt x="137" y="51"/>
                    </a:cubicBezTo>
                    <a:cubicBezTo>
                      <a:pt x="135" y="51"/>
                      <a:pt x="135" y="55"/>
                      <a:pt x="132" y="55"/>
                    </a:cubicBezTo>
                    <a:cubicBezTo>
                      <a:pt x="129" y="55"/>
                      <a:pt x="129" y="62"/>
                      <a:pt x="130" y="66"/>
                    </a:cubicBezTo>
                    <a:cubicBezTo>
                      <a:pt x="130" y="70"/>
                      <a:pt x="125" y="64"/>
                      <a:pt x="121" y="65"/>
                    </a:cubicBezTo>
                    <a:cubicBezTo>
                      <a:pt x="118" y="66"/>
                      <a:pt x="122" y="69"/>
                      <a:pt x="123" y="74"/>
                    </a:cubicBezTo>
                    <a:cubicBezTo>
                      <a:pt x="124" y="78"/>
                      <a:pt x="121" y="78"/>
                      <a:pt x="120" y="79"/>
                    </a:cubicBezTo>
                    <a:cubicBezTo>
                      <a:pt x="118" y="81"/>
                      <a:pt x="115" y="75"/>
                      <a:pt x="115" y="71"/>
                    </a:cubicBezTo>
                    <a:cubicBezTo>
                      <a:pt x="115" y="67"/>
                      <a:pt x="111" y="71"/>
                      <a:pt x="106" y="75"/>
                    </a:cubicBezTo>
                    <a:cubicBezTo>
                      <a:pt x="102" y="80"/>
                      <a:pt x="108" y="87"/>
                      <a:pt x="106" y="89"/>
                    </a:cubicBezTo>
                    <a:cubicBezTo>
                      <a:pt x="104" y="90"/>
                      <a:pt x="95" y="98"/>
                      <a:pt x="90" y="105"/>
                    </a:cubicBezTo>
                    <a:cubicBezTo>
                      <a:pt x="84" y="111"/>
                      <a:pt x="73" y="107"/>
                      <a:pt x="70" y="110"/>
                    </a:cubicBezTo>
                    <a:cubicBezTo>
                      <a:pt x="66" y="113"/>
                      <a:pt x="62" y="111"/>
                      <a:pt x="59" y="114"/>
                    </a:cubicBezTo>
                    <a:cubicBezTo>
                      <a:pt x="55" y="116"/>
                      <a:pt x="49" y="122"/>
                      <a:pt x="48" y="118"/>
                    </a:cubicBezTo>
                    <a:cubicBezTo>
                      <a:pt x="47" y="115"/>
                      <a:pt x="38" y="118"/>
                      <a:pt x="35" y="122"/>
                    </a:cubicBezTo>
                    <a:cubicBezTo>
                      <a:pt x="31" y="126"/>
                      <a:pt x="25" y="129"/>
                      <a:pt x="21" y="129"/>
                    </a:cubicBezTo>
                    <a:cubicBezTo>
                      <a:pt x="16" y="130"/>
                      <a:pt x="16" y="136"/>
                      <a:pt x="15" y="138"/>
                    </a:cubicBezTo>
                    <a:cubicBezTo>
                      <a:pt x="13" y="139"/>
                      <a:pt x="13" y="132"/>
                      <a:pt x="13" y="131"/>
                    </a:cubicBezTo>
                    <a:cubicBezTo>
                      <a:pt x="13" y="129"/>
                      <a:pt x="9" y="134"/>
                      <a:pt x="8" y="139"/>
                    </a:cubicBezTo>
                    <a:cubicBezTo>
                      <a:pt x="6" y="144"/>
                      <a:pt x="12" y="146"/>
                      <a:pt x="8" y="152"/>
                    </a:cubicBezTo>
                    <a:cubicBezTo>
                      <a:pt x="4" y="157"/>
                      <a:pt x="1" y="163"/>
                      <a:pt x="6" y="170"/>
                    </a:cubicBezTo>
                    <a:cubicBezTo>
                      <a:pt x="11" y="177"/>
                      <a:pt x="14" y="181"/>
                      <a:pt x="13" y="185"/>
                    </a:cubicBezTo>
                    <a:cubicBezTo>
                      <a:pt x="11" y="188"/>
                      <a:pt x="7" y="178"/>
                      <a:pt x="6" y="179"/>
                    </a:cubicBezTo>
                    <a:cubicBezTo>
                      <a:pt x="5" y="180"/>
                      <a:pt x="11" y="185"/>
                      <a:pt x="9" y="187"/>
                    </a:cubicBezTo>
                    <a:cubicBezTo>
                      <a:pt x="8" y="189"/>
                      <a:pt x="2" y="178"/>
                      <a:pt x="1" y="181"/>
                    </a:cubicBezTo>
                    <a:cubicBezTo>
                      <a:pt x="0" y="183"/>
                      <a:pt x="12" y="200"/>
                      <a:pt x="13" y="206"/>
                    </a:cubicBezTo>
                    <a:cubicBezTo>
                      <a:pt x="13" y="213"/>
                      <a:pt x="23" y="219"/>
                      <a:pt x="22" y="228"/>
                    </a:cubicBezTo>
                    <a:cubicBezTo>
                      <a:pt x="22" y="237"/>
                      <a:pt x="31" y="251"/>
                      <a:pt x="32" y="253"/>
                    </a:cubicBezTo>
                    <a:cubicBezTo>
                      <a:pt x="34" y="256"/>
                      <a:pt x="29" y="262"/>
                      <a:pt x="30" y="268"/>
                    </a:cubicBezTo>
                    <a:cubicBezTo>
                      <a:pt x="31" y="275"/>
                      <a:pt x="27" y="278"/>
                      <a:pt x="23" y="278"/>
                    </a:cubicBezTo>
                    <a:cubicBezTo>
                      <a:pt x="19" y="278"/>
                      <a:pt x="21" y="285"/>
                      <a:pt x="26" y="285"/>
                    </a:cubicBezTo>
                    <a:cubicBezTo>
                      <a:pt x="31" y="286"/>
                      <a:pt x="29" y="289"/>
                      <a:pt x="34" y="292"/>
                    </a:cubicBezTo>
                    <a:cubicBezTo>
                      <a:pt x="40" y="296"/>
                      <a:pt x="52" y="295"/>
                      <a:pt x="56" y="295"/>
                    </a:cubicBezTo>
                    <a:cubicBezTo>
                      <a:pt x="61" y="295"/>
                      <a:pt x="62" y="288"/>
                      <a:pt x="68" y="288"/>
                    </a:cubicBezTo>
                    <a:cubicBezTo>
                      <a:pt x="73" y="288"/>
                      <a:pt x="73" y="286"/>
                      <a:pt x="76" y="282"/>
                    </a:cubicBezTo>
                    <a:cubicBezTo>
                      <a:pt x="78" y="279"/>
                      <a:pt x="91" y="280"/>
                      <a:pt x="105" y="281"/>
                    </a:cubicBezTo>
                    <a:cubicBezTo>
                      <a:pt x="118" y="281"/>
                      <a:pt x="124" y="277"/>
                      <a:pt x="126" y="272"/>
                    </a:cubicBezTo>
                    <a:cubicBezTo>
                      <a:pt x="127" y="267"/>
                      <a:pt x="137" y="267"/>
                      <a:pt x="141" y="263"/>
                    </a:cubicBezTo>
                    <a:cubicBezTo>
                      <a:pt x="144" y="260"/>
                      <a:pt x="148" y="260"/>
                      <a:pt x="157" y="260"/>
                    </a:cubicBezTo>
                    <a:cubicBezTo>
                      <a:pt x="167" y="261"/>
                      <a:pt x="176" y="255"/>
                      <a:pt x="182" y="253"/>
                    </a:cubicBezTo>
                    <a:cubicBezTo>
                      <a:pt x="189" y="250"/>
                      <a:pt x="200" y="251"/>
                      <a:pt x="206" y="250"/>
                    </a:cubicBezTo>
                    <a:cubicBezTo>
                      <a:pt x="212" y="248"/>
                      <a:pt x="213" y="257"/>
                      <a:pt x="220" y="257"/>
                    </a:cubicBezTo>
                    <a:cubicBezTo>
                      <a:pt x="227" y="256"/>
                      <a:pt x="230" y="259"/>
                      <a:pt x="233" y="258"/>
                    </a:cubicBezTo>
                    <a:cubicBezTo>
                      <a:pt x="237" y="258"/>
                      <a:pt x="236" y="261"/>
                      <a:pt x="240" y="262"/>
                    </a:cubicBezTo>
                    <a:cubicBezTo>
                      <a:pt x="243" y="262"/>
                      <a:pt x="243" y="265"/>
                      <a:pt x="240" y="269"/>
                    </a:cubicBezTo>
                    <a:cubicBezTo>
                      <a:pt x="238" y="272"/>
                      <a:pt x="246" y="272"/>
                      <a:pt x="250" y="278"/>
                    </a:cubicBezTo>
                    <a:cubicBezTo>
                      <a:pt x="255" y="285"/>
                      <a:pt x="251" y="286"/>
                      <a:pt x="253" y="291"/>
                    </a:cubicBezTo>
                    <a:cubicBezTo>
                      <a:pt x="256" y="296"/>
                      <a:pt x="257" y="294"/>
                      <a:pt x="262" y="287"/>
                    </a:cubicBezTo>
                    <a:cubicBezTo>
                      <a:pt x="267" y="280"/>
                      <a:pt x="273" y="285"/>
                      <a:pt x="274" y="279"/>
                    </a:cubicBezTo>
                    <a:cubicBezTo>
                      <a:pt x="274" y="273"/>
                      <a:pt x="280" y="266"/>
                      <a:pt x="283" y="269"/>
                    </a:cubicBezTo>
                    <a:cubicBezTo>
                      <a:pt x="287" y="272"/>
                      <a:pt x="281" y="273"/>
                      <a:pt x="278" y="285"/>
                    </a:cubicBezTo>
                    <a:cubicBezTo>
                      <a:pt x="276" y="296"/>
                      <a:pt x="272" y="290"/>
                      <a:pt x="271" y="294"/>
                    </a:cubicBezTo>
                    <a:cubicBezTo>
                      <a:pt x="271" y="297"/>
                      <a:pt x="282" y="299"/>
                      <a:pt x="282" y="293"/>
                    </a:cubicBezTo>
                    <a:cubicBezTo>
                      <a:pt x="282" y="287"/>
                      <a:pt x="284" y="284"/>
                      <a:pt x="288" y="289"/>
                    </a:cubicBezTo>
                    <a:cubicBezTo>
                      <a:pt x="292" y="295"/>
                      <a:pt x="286" y="299"/>
                      <a:pt x="287" y="302"/>
                    </a:cubicBezTo>
                    <a:cubicBezTo>
                      <a:pt x="288" y="304"/>
                      <a:pt x="292" y="301"/>
                      <a:pt x="295" y="301"/>
                    </a:cubicBezTo>
                    <a:cubicBezTo>
                      <a:pt x="299" y="302"/>
                      <a:pt x="305" y="312"/>
                      <a:pt x="304" y="317"/>
                    </a:cubicBezTo>
                    <a:cubicBezTo>
                      <a:pt x="303" y="322"/>
                      <a:pt x="302" y="327"/>
                      <a:pt x="310" y="331"/>
                    </a:cubicBezTo>
                    <a:cubicBezTo>
                      <a:pt x="319" y="336"/>
                      <a:pt x="316" y="336"/>
                      <a:pt x="322" y="336"/>
                    </a:cubicBezTo>
                    <a:cubicBezTo>
                      <a:pt x="328" y="336"/>
                      <a:pt x="341" y="341"/>
                      <a:pt x="345" y="344"/>
                    </a:cubicBezTo>
                    <a:cubicBezTo>
                      <a:pt x="348" y="347"/>
                      <a:pt x="357" y="342"/>
                      <a:pt x="359" y="336"/>
                    </a:cubicBezTo>
                    <a:cubicBezTo>
                      <a:pt x="361" y="330"/>
                      <a:pt x="367" y="336"/>
                      <a:pt x="364" y="338"/>
                    </a:cubicBezTo>
                    <a:cubicBezTo>
                      <a:pt x="360" y="340"/>
                      <a:pt x="365" y="345"/>
                      <a:pt x="366" y="341"/>
                    </a:cubicBezTo>
                    <a:cubicBezTo>
                      <a:pt x="366" y="338"/>
                      <a:pt x="367" y="335"/>
                      <a:pt x="369" y="339"/>
                    </a:cubicBezTo>
                    <a:cubicBezTo>
                      <a:pt x="370" y="343"/>
                      <a:pt x="374" y="343"/>
                      <a:pt x="376" y="346"/>
                    </a:cubicBezTo>
                    <a:cubicBezTo>
                      <a:pt x="378" y="349"/>
                      <a:pt x="380" y="351"/>
                      <a:pt x="380" y="349"/>
                    </a:cubicBezTo>
                    <a:cubicBezTo>
                      <a:pt x="380" y="346"/>
                      <a:pt x="381" y="344"/>
                      <a:pt x="385" y="342"/>
                    </a:cubicBezTo>
                    <a:cubicBezTo>
                      <a:pt x="389" y="341"/>
                      <a:pt x="391" y="338"/>
                      <a:pt x="396" y="335"/>
                    </a:cubicBezTo>
                    <a:cubicBezTo>
                      <a:pt x="400" y="331"/>
                      <a:pt x="417" y="330"/>
                      <a:pt x="419" y="330"/>
                    </a:cubicBezTo>
                    <a:cubicBezTo>
                      <a:pt x="421" y="330"/>
                      <a:pt x="422" y="315"/>
                      <a:pt x="423" y="308"/>
                    </a:cubicBezTo>
                    <a:cubicBezTo>
                      <a:pt x="424" y="300"/>
                      <a:pt x="430" y="299"/>
                      <a:pt x="431" y="290"/>
                    </a:cubicBezTo>
                    <a:cubicBezTo>
                      <a:pt x="432" y="282"/>
                      <a:pt x="441" y="267"/>
                      <a:pt x="443" y="266"/>
                    </a:cubicBezTo>
                    <a:cubicBezTo>
                      <a:pt x="446" y="265"/>
                      <a:pt x="450" y="263"/>
                      <a:pt x="450" y="258"/>
                    </a:cubicBezTo>
                    <a:cubicBezTo>
                      <a:pt x="450" y="254"/>
                      <a:pt x="456" y="248"/>
                      <a:pt x="456" y="243"/>
                    </a:cubicBezTo>
                    <a:cubicBezTo>
                      <a:pt x="456" y="237"/>
                      <a:pt x="459" y="230"/>
                      <a:pt x="459" y="228"/>
                    </a:cubicBezTo>
                    <a:cubicBezTo>
                      <a:pt x="458" y="227"/>
                      <a:pt x="456" y="221"/>
                      <a:pt x="460" y="217"/>
                    </a:cubicBezTo>
                    <a:cubicBezTo>
                      <a:pt x="464" y="213"/>
                      <a:pt x="459" y="208"/>
                      <a:pt x="461" y="207"/>
                    </a:cubicBezTo>
                    <a:close/>
                    <a:moveTo>
                      <a:pt x="210" y="11"/>
                    </a:moveTo>
                    <a:cubicBezTo>
                      <a:pt x="210" y="8"/>
                      <a:pt x="192" y="12"/>
                      <a:pt x="196" y="15"/>
                    </a:cubicBezTo>
                    <a:cubicBezTo>
                      <a:pt x="198" y="17"/>
                      <a:pt x="211" y="14"/>
                      <a:pt x="210" y="11"/>
                    </a:cubicBezTo>
                    <a:close/>
                    <a:moveTo>
                      <a:pt x="266" y="307"/>
                    </a:moveTo>
                    <a:cubicBezTo>
                      <a:pt x="269" y="310"/>
                      <a:pt x="278" y="309"/>
                      <a:pt x="280" y="305"/>
                    </a:cubicBezTo>
                    <a:cubicBezTo>
                      <a:pt x="281" y="302"/>
                      <a:pt x="264" y="305"/>
                      <a:pt x="266" y="307"/>
                    </a:cubicBezTo>
                    <a:close/>
                    <a:moveTo>
                      <a:pt x="379" y="377"/>
                    </a:moveTo>
                    <a:cubicBezTo>
                      <a:pt x="373" y="377"/>
                      <a:pt x="362" y="371"/>
                      <a:pt x="360" y="371"/>
                    </a:cubicBezTo>
                    <a:cubicBezTo>
                      <a:pt x="357" y="372"/>
                      <a:pt x="369" y="389"/>
                      <a:pt x="365" y="394"/>
                    </a:cubicBezTo>
                    <a:cubicBezTo>
                      <a:pt x="362" y="398"/>
                      <a:pt x="376" y="410"/>
                      <a:pt x="380" y="411"/>
                    </a:cubicBezTo>
                    <a:cubicBezTo>
                      <a:pt x="385" y="412"/>
                      <a:pt x="383" y="406"/>
                      <a:pt x="387" y="407"/>
                    </a:cubicBezTo>
                    <a:cubicBezTo>
                      <a:pt x="390" y="407"/>
                      <a:pt x="389" y="403"/>
                      <a:pt x="389" y="401"/>
                    </a:cubicBezTo>
                    <a:cubicBezTo>
                      <a:pt x="390" y="398"/>
                      <a:pt x="393" y="404"/>
                      <a:pt x="396" y="402"/>
                    </a:cubicBezTo>
                    <a:cubicBezTo>
                      <a:pt x="398" y="401"/>
                      <a:pt x="395" y="390"/>
                      <a:pt x="399" y="390"/>
                    </a:cubicBezTo>
                    <a:cubicBezTo>
                      <a:pt x="403" y="390"/>
                      <a:pt x="400" y="377"/>
                      <a:pt x="398" y="373"/>
                    </a:cubicBezTo>
                    <a:cubicBezTo>
                      <a:pt x="397" y="368"/>
                      <a:pt x="386" y="376"/>
                      <a:pt x="379" y="37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0" name="Freeform 158">
                <a:extLst>
                  <a:ext uri="{FF2B5EF4-FFF2-40B4-BE49-F238E27FC236}">
                    <a16:creationId xmlns:a16="http://schemas.microsoft.com/office/drawing/2014/main" id="{A2DAF62E-595E-4C85-B010-6AA1E4B86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20100" y="5029200"/>
                <a:ext cx="307975" cy="368300"/>
              </a:xfrm>
              <a:custGeom>
                <a:avLst/>
                <a:gdLst>
                  <a:gd name="T0" fmla="*/ 87 w 140"/>
                  <a:gd name="T1" fmla="*/ 81 h 168"/>
                  <a:gd name="T2" fmla="*/ 78 w 140"/>
                  <a:gd name="T3" fmla="*/ 84 h 168"/>
                  <a:gd name="T4" fmla="*/ 67 w 140"/>
                  <a:gd name="T5" fmla="*/ 80 h 168"/>
                  <a:gd name="T6" fmla="*/ 61 w 140"/>
                  <a:gd name="T7" fmla="*/ 89 h 168"/>
                  <a:gd name="T8" fmla="*/ 52 w 140"/>
                  <a:gd name="T9" fmla="*/ 105 h 168"/>
                  <a:gd name="T10" fmla="*/ 21 w 140"/>
                  <a:gd name="T11" fmla="*/ 126 h 168"/>
                  <a:gd name="T12" fmla="*/ 6 w 140"/>
                  <a:gd name="T13" fmla="*/ 139 h 168"/>
                  <a:gd name="T14" fmla="*/ 3 w 140"/>
                  <a:gd name="T15" fmla="*/ 151 h 168"/>
                  <a:gd name="T16" fmla="*/ 14 w 140"/>
                  <a:gd name="T17" fmla="*/ 156 h 168"/>
                  <a:gd name="T18" fmla="*/ 22 w 140"/>
                  <a:gd name="T19" fmla="*/ 159 h 168"/>
                  <a:gd name="T20" fmla="*/ 42 w 140"/>
                  <a:gd name="T21" fmla="*/ 154 h 168"/>
                  <a:gd name="T22" fmla="*/ 50 w 140"/>
                  <a:gd name="T23" fmla="*/ 141 h 168"/>
                  <a:gd name="T24" fmla="*/ 56 w 140"/>
                  <a:gd name="T25" fmla="*/ 130 h 168"/>
                  <a:gd name="T26" fmla="*/ 68 w 140"/>
                  <a:gd name="T27" fmla="*/ 122 h 168"/>
                  <a:gd name="T28" fmla="*/ 72 w 140"/>
                  <a:gd name="T29" fmla="*/ 116 h 168"/>
                  <a:gd name="T30" fmla="*/ 79 w 140"/>
                  <a:gd name="T31" fmla="*/ 105 h 168"/>
                  <a:gd name="T32" fmla="*/ 88 w 140"/>
                  <a:gd name="T33" fmla="*/ 91 h 168"/>
                  <a:gd name="T34" fmla="*/ 87 w 140"/>
                  <a:gd name="T35" fmla="*/ 81 h 168"/>
                  <a:gd name="T36" fmla="*/ 14 w 140"/>
                  <a:gd name="T37" fmla="*/ 168 h 168"/>
                  <a:gd name="T38" fmla="*/ 19 w 140"/>
                  <a:gd name="T39" fmla="*/ 163 h 168"/>
                  <a:gd name="T40" fmla="*/ 14 w 140"/>
                  <a:gd name="T41" fmla="*/ 168 h 168"/>
                  <a:gd name="T42" fmla="*/ 127 w 140"/>
                  <a:gd name="T43" fmla="*/ 41 h 168"/>
                  <a:gd name="T44" fmla="*/ 116 w 140"/>
                  <a:gd name="T45" fmla="*/ 40 h 168"/>
                  <a:gd name="T46" fmla="*/ 110 w 140"/>
                  <a:gd name="T47" fmla="*/ 33 h 168"/>
                  <a:gd name="T48" fmla="*/ 105 w 140"/>
                  <a:gd name="T49" fmla="*/ 24 h 168"/>
                  <a:gd name="T50" fmla="*/ 104 w 140"/>
                  <a:gd name="T51" fmla="*/ 31 h 168"/>
                  <a:gd name="T52" fmla="*/ 100 w 140"/>
                  <a:gd name="T53" fmla="*/ 28 h 168"/>
                  <a:gd name="T54" fmla="*/ 96 w 140"/>
                  <a:gd name="T55" fmla="*/ 21 h 168"/>
                  <a:gd name="T56" fmla="*/ 91 w 140"/>
                  <a:gd name="T57" fmla="*/ 10 h 168"/>
                  <a:gd name="T58" fmla="*/ 77 w 140"/>
                  <a:gd name="T59" fmla="*/ 0 h 168"/>
                  <a:gd name="T60" fmla="*/ 81 w 140"/>
                  <a:gd name="T61" fmla="*/ 12 h 168"/>
                  <a:gd name="T62" fmla="*/ 89 w 140"/>
                  <a:gd name="T63" fmla="*/ 20 h 168"/>
                  <a:gd name="T64" fmla="*/ 95 w 140"/>
                  <a:gd name="T65" fmla="*/ 29 h 168"/>
                  <a:gd name="T66" fmla="*/ 94 w 140"/>
                  <a:gd name="T67" fmla="*/ 46 h 168"/>
                  <a:gd name="T68" fmla="*/ 84 w 140"/>
                  <a:gd name="T69" fmla="*/ 56 h 168"/>
                  <a:gd name="T70" fmla="*/ 99 w 140"/>
                  <a:gd name="T71" fmla="*/ 70 h 168"/>
                  <a:gd name="T72" fmla="*/ 96 w 140"/>
                  <a:gd name="T73" fmla="*/ 88 h 168"/>
                  <a:gd name="T74" fmla="*/ 106 w 140"/>
                  <a:gd name="T75" fmla="*/ 89 h 168"/>
                  <a:gd name="T76" fmla="*/ 119 w 140"/>
                  <a:gd name="T77" fmla="*/ 72 h 168"/>
                  <a:gd name="T78" fmla="*/ 122 w 140"/>
                  <a:gd name="T79" fmla="*/ 60 h 168"/>
                  <a:gd name="T80" fmla="*/ 130 w 140"/>
                  <a:gd name="T81" fmla="*/ 57 h 168"/>
                  <a:gd name="T82" fmla="*/ 135 w 140"/>
                  <a:gd name="T83" fmla="*/ 51 h 168"/>
                  <a:gd name="T84" fmla="*/ 138 w 140"/>
                  <a:gd name="T85" fmla="*/ 41 h 168"/>
                  <a:gd name="T86" fmla="*/ 127 w 140"/>
                  <a:gd name="T87" fmla="*/ 41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0" h="168">
                    <a:moveTo>
                      <a:pt x="87" y="81"/>
                    </a:moveTo>
                    <a:cubicBezTo>
                      <a:pt x="83" y="79"/>
                      <a:pt x="81" y="82"/>
                      <a:pt x="78" y="84"/>
                    </a:cubicBezTo>
                    <a:cubicBezTo>
                      <a:pt x="74" y="86"/>
                      <a:pt x="71" y="76"/>
                      <a:pt x="67" y="80"/>
                    </a:cubicBezTo>
                    <a:cubicBezTo>
                      <a:pt x="62" y="83"/>
                      <a:pt x="66" y="85"/>
                      <a:pt x="61" y="89"/>
                    </a:cubicBezTo>
                    <a:cubicBezTo>
                      <a:pt x="56" y="94"/>
                      <a:pt x="58" y="95"/>
                      <a:pt x="52" y="105"/>
                    </a:cubicBezTo>
                    <a:cubicBezTo>
                      <a:pt x="45" y="115"/>
                      <a:pt x="24" y="120"/>
                      <a:pt x="21" y="126"/>
                    </a:cubicBezTo>
                    <a:cubicBezTo>
                      <a:pt x="17" y="131"/>
                      <a:pt x="7" y="135"/>
                      <a:pt x="6" y="139"/>
                    </a:cubicBezTo>
                    <a:cubicBezTo>
                      <a:pt x="6" y="143"/>
                      <a:pt x="0" y="146"/>
                      <a:pt x="3" y="151"/>
                    </a:cubicBezTo>
                    <a:cubicBezTo>
                      <a:pt x="6" y="156"/>
                      <a:pt x="10" y="153"/>
                      <a:pt x="14" y="156"/>
                    </a:cubicBezTo>
                    <a:cubicBezTo>
                      <a:pt x="17" y="159"/>
                      <a:pt x="20" y="156"/>
                      <a:pt x="22" y="159"/>
                    </a:cubicBezTo>
                    <a:cubicBezTo>
                      <a:pt x="23" y="162"/>
                      <a:pt x="34" y="162"/>
                      <a:pt x="42" y="154"/>
                    </a:cubicBezTo>
                    <a:cubicBezTo>
                      <a:pt x="51" y="147"/>
                      <a:pt x="47" y="143"/>
                      <a:pt x="50" y="141"/>
                    </a:cubicBezTo>
                    <a:cubicBezTo>
                      <a:pt x="53" y="139"/>
                      <a:pt x="54" y="133"/>
                      <a:pt x="56" y="130"/>
                    </a:cubicBezTo>
                    <a:cubicBezTo>
                      <a:pt x="58" y="126"/>
                      <a:pt x="59" y="122"/>
                      <a:pt x="68" y="122"/>
                    </a:cubicBezTo>
                    <a:cubicBezTo>
                      <a:pt x="77" y="122"/>
                      <a:pt x="72" y="120"/>
                      <a:pt x="72" y="116"/>
                    </a:cubicBezTo>
                    <a:cubicBezTo>
                      <a:pt x="71" y="112"/>
                      <a:pt x="79" y="111"/>
                      <a:pt x="79" y="105"/>
                    </a:cubicBezTo>
                    <a:cubicBezTo>
                      <a:pt x="79" y="100"/>
                      <a:pt x="90" y="95"/>
                      <a:pt x="88" y="91"/>
                    </a:cubicBezTo>
                    <a:cubicBezTo>
                      <a:pt x="86" y="86"/>
                      <a:pt x="90" y="84"/>
                      <a:pt x="87" y="81"/>
                    </a:cubicBezTo>
                    <a:close/>
                    <a:moveTo>
                      <a:pt x="14" y="168"/>
                    </a:moveTo>
                    <a:cubicBezTo>
                      <a:pt x="16" y="168"/>
                      <a:pt x="22" y="167"/>
                      <a:pt x="19" y="163"/>
                    </a:cubicBezTo>
                    <a:cubicBezTo>
                      <a:pt x="15" y="159"/>
                      <a:pt x="10" y="166"/>
                      <a:pt x="14" y="168"/>
                    </a:cubicBezTo>
                    <a:close/>
                    <a:moveTo>
                      <a:pt x="127" y="41"/>
                    </a:moveTo>
                    <a:cubicBezTo>
                      <a:pt x="125" y="45"/>
                      <a:pt x="121" y="40"/>
                      <a:pt x="116" y="40"/>
                    </a:cubicBezTo>
                    <a:cubicBezTo>
                      <a:pt x="112" y="40"/>
                      <a:pt x="110" y="37"/>
                      <a:pt x="110" y="33"/>
                    </a:cubicBezTo>
                    <a:cubicBezTo>
                      <a:pt x="110" y="30"/>
                      <a:pt x="109" y="24"/>
                      <a:pt x="105" y="24"/>
                    </a:cubicBezTo>
                    <a:cubicBezTo>
                      <a:pt x="101" y="25"/>
                      <a:pt x="106" y="29"/>
                      <a:pt x="104" y="31"/>
                    </a:cubicBezTo>
                    <a:cubicBezTo>
                      <a:pt x="103" y="33"/>
                      <a:pt x="102" y="28"/>
                      <a:pt x="100" y="28"/>
                    </a:cubicBezTo>
                    <a:cubicBezTo>
                      <a:pt x="98" y="28"/>
                      <a:pt x="96" y="26"/>
                      <a:pt x="96" y="21"/>
                    </a:cubicBezTo>
                    <a:cubicBezTo>
                      <a:pt x="96" y="16"/>
                      <a:pt x="91" y="16"/>
                      <a:pt x="91" y="10"/>
                    </a:cubicBezTo>
                    <a:cubicBezTo>
                      <a:pt x="91" y="5"/>
                      <a:pt x="82" y="0"/>
                      <a:pt x="77" y="0"/>
                    </a:cubicBezTo>
                    <a:cubicBezTo>
                      <a:pt x="72" y="0"/>
                      <a:pt x="78" y="9"/>
                      <a:pt x="81" y="12"/>
                    </a:cubicBezTo>
                    <a:cubicBezTo>
                      <a:pt x="83" y="15"/>
                      <a:pt x="89" y="18"/>
                      <a:pt x="89" y="20"/>
                    </a:cubicBezTo>
                    <a:cubicBezTo>
                      <a:pt x="88" y="22"/>
                      <a:pt x="92" y="28"/>
                      <a:pt x="95" y="29"/>
                    </a:cubicBezTo>
                    <a:cubicBezTo>
                      <a:pt x="98" y="30"/>
                      <a:pt x="94" y="39"/>
                      <a:pt x="94" y="46"/>
                    </a:cubicBezTo>
                    <a:cubicBezTo>
                      <a:pt x="94" y="53"/>
                      <a:pt x="88" y="52"/>
                      <a:pt x="84" y="56"/>
                    </a:cubicBezTo>
                    <a:cubicBezTo>
                      <a:pt x="81" y="61"/>
                      <a:pt x="94" y="65"/>
                      <a:pt x="99" y="70"/>
                    </a:cubicBezTo>
                    <a:cubicBezTo>
                      <a:pt x="105" y="74"/>
                      <a:pt x="95" y="85"/>
                      <a:pt x="96" y="88"/>
                    </a:cubicBezTo>
                    <a:cubicBezTo>
                      <a:pt x="97" y="89"/>
                      <a:pt x="101" y="91"/>
                      <a:pt x="106" y="89"/>
                    </a:cubicBezTo>
                    <a:cubicBezTo>
                      <a:pt x="112" y="88"/>
                      <a:pt x="115" y="75"/>
                      <a:pt x="119" y="72"/>
                    </a:cubicBezTo>
                    <a:cubicBezTo>
                      <a:pt x="123" y="68"/>
                      <a:pt x="120" y="63"/>
                      <a:pt x="122" y="60"/>
                    </a:cubicBezTo>
                    <a:cubicBezTo>
                      <a:pt x="124" y="57"/>
                      <a:pt x="127" y="57"/>
                      <a:pt x="130" y="57"/>
                    </a:cubicBezTo>
                    <a:cubicBezTo>
                      <a:pt x="133" y="57"/>
                      <a:pt x="131" y="51"/>
                      <a:pt x="135" y="51"/>
                    </a:cubicBezTo>
                    <a:cubicBezTo>
                      <a:pt x="138" y="51"/>
                      <a:pt x="136" y="46"/>
                      <a:pt x="138" y="41"/>
                    </a:cubicBezTo>
                    <a:cubicBezTo>
                      <a:pt x="140" y="35"/>
                      <a:pt x="130" y="37"/>
                      <a:pt x="127" y="4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1" name="Freeform 159">
                <a:extLst>
                  <a:ext uri="{FF2B5EF4-FFF2-40B4-BE49-F238E27FC236}">
                    <a16:creationId xmlns:a16="http://schemas.microsoft.com/office/drawing/2014/main" id="{D1DFCA14-2243-4194-9828-42F8853684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89975" y="4529138"/>
                <a:ext cx="68262" cy="60325"/>
              </a:xfrm>
              <a:custGeom>
                <a:avLst/>
                <a:gdLst>
                  <a:gd name="T0" fmla="*/ 4 w 31"/>
                  <a:gd name="T1" fmla="*/ 24 h 28"/>
                  <a:gd name="T2" fmla="*/ 17 w 31"/>
                  <a:gd name="T3" fmla="*/ 20 h 28"/>
                  <a:gd name="T4" fmla="*/ 4 w 31"/>
                  <a:gd name="T5" fmla="*/ 24 h 28"/>
                  <a:gd name="T6" fmla="*/ 19 w 31"/>
                  <a:gd name="T7" fmla="*/ 11 h 28"/>
                  <a:gd name="T8" fmla="*/ 31 w 31"/>
                  <a:gd name="T9" fmla="*/ 4 h 28"/>
                  <a:gd name="T10" fmla="*/ 19 w 31"/>
                  <a:gd name="T11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8">
                    <a:moveTo>
                      <a:pt x="4" y="24"/>
                    </a:moveTo>
                    <a:cubicBezTo>
                      <a:pt x="8" y="28"/>
                      <a:pt x="16" y="28"/>
                      <a:pt x="17" y="20"/>
                    </a:cubicBezTo>
                    <a:cubicBezTo>
                      <a:pt x="17" y="13"/>
                      <a:pt x="0" y="20"/>
                      <a:pt x="4" y="24"/>
                    </a:cubicBezTo>
                    <a:close/>
                    <a:moveTo>
                      <a:pt x="19" y="11"/>
                    </a:moveTo>
                    <a:cubicBezTo>
                      <a:pt x="22" y="12"/>
                      <a:pt x="31" y="9"/>
                      <a:pt x="31" y="4"/>
                    </a:cubicBezTo>
                    <a:cubicBezTo>
                      <a:pt x="31" y="0"/>
                      <a:pt x="15" y="9"/>
                      <a:pt x="19" y="11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2" name="Freeform 160">
                <a:extLst>
                  <a:ext uri="{FF2B5EF4-FFF2-40B4-BE49-F238E27FC236}">
                    <a16:creationId xmlns:a16="http://schemas.microsoft.com/office/drawing/2014/main" id="{7FD6DDF7-A6C1-4711-BFAB-7DA2581ECA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750" y="2981325"/>
                <a:ext cx="354012" cy="223838"/>
              </a:xfrm>
              <a:custGeom>
                <a:avLst/>
                <a:gdLst>
                  <a:gd name="T0" fmla="*/ 160 w 161"/>
                  <a:gd name="T1" fmla="*/ 64 h 102"/>
                  <a:gd name="T2" fmla="*/ 150 w 161"/>
                  <a:gd name="T3" fmla="*/ 61 h 102"/>
                  <a:gd name="T4" fmla="*/ 139 w 161"/>
                  <a:gd name="T5" fmla="*/ 53 h 102"/>
                  <a:gd name="T6" fmla="*/ 126 w 161"/>
                  <a:gd name="T7" fmla="*/ 46 h 102"/>
                  <a:gd name="T8" fmla="*/ 114 w 161"/>
                  <a:gd name="T9" fmla="*/ 37 h 102"/>
                  <a:gd name="T10" fmla="*/ 109 w 161"/>
                  <a:gd name="T11" fmla="*/ 28 h 102"/>
                  <a:gd name="T12" fmla="*/ 105 w 161"/>
                  <a:gd name="T13" fmla="*/ 21 h 102"/>
                  <a:gd name="T14" fmla="*/ 88 w 161"/>
                  <a:gd name="T15" fmla="*/ 19 h 102"/>
                  <a:gd name="T16" fmla="*/ 84 w 161"/>
                  <a:gd name="T17" fmla="*/ 7 h 102"/>
                  <a:gd name="T18" fmla="*/ 75 w 161"/>
                  <a:gd name="T19" fmla="*/ 4 h 102"/>
                  <a:gd name="T20" fmla="*/ 67 w 161"/>
                  <a:gd name="T21" fmla="*/ 2 h 102"/>
                  <a:gd name="T22" fmla="*/ 63 w 161"/>
                  <a:gd name="T23" fmla="*/ 4 h 102"/>
                  <a:gd name="T24" fmla="*/ 59 w 161"/>
                  <a:gd name="T25" fmla="*/ 8 h 102"/>
                  <a:gd name="T26" fmla="*/ 51 w 161"/>
                  <a:gd name="T27" fmla="*/ 14 h 102"/>
                  <a:gd name="T28" fmla="*/ 47 w 161"/>
                  <a:gd name="T29" fmla="*/ 20 h 102"/>
                  <a:gd name="T30" fmla="*/ 39 w 161"/>
                  <a:gd name="T31" fmla="*/ 18 h 102"/>
                  <a:gd name="T32" fmla="*/ 31 w 161"/>
                  <a:gd name="T33" fmla="*/ 16 h 102"/>
                  <a:gd name="T34" fmla="*/ 17 w 161"/>
                  <a:gd name="T35" fmla="*/ 5 h 102"/>
                  <a:gd name="T36" fmla="*/ 5 w 161"/>
                  <a:gd name="T37" fmla="*/ 11 h 102"/>
                  <a:gd name="T38" fmla="*/ 11 w 161"/>
                  <a:gd name="T39" fmla="*/ 9 h 102"/>
                  <a:gd name="T40" fmla="*/ 19 w 161"/>
                  <a:gd name="T41" fmla="*/ 20 h 102"/>
                  <a:gd name="T42" fmla="*/ 25 w 161"/>
                  <a:gd name="T43" fmla="*/ 26 h 102"/>
                  <a:gd name="T44" fmla="*/ 13 w 161"/>
                  <a:gd name="T45" fmla="*/ 29 h 102"/>
                  <a:gd name="T46" fmla="*/ 3 w 161"/>
                  <a:gd name="T47" fmla="*/ 29 h 102"/>
                  <a:gd name="T48" fmla="*/ 5 w 161"/>
                  <a:gd name="T49" fmla="*/ 38 h 102"/>
                  <a:gd name="T50" fmla="*/ 6 w 161"/>
                  <a:gd name="T51" fmla="*/ 45 h 102"/>
                  <a:gd name="T52" fmla="*/ 12 w 161"/>
                  <a:gd name="T53" fmla="*/ 48 h 102"/>
                  <a:gd name="T54" fmla="*/ 15 w 161"/>
                  <a:gd name="T55" fmla="*/ 57 h 102"/>
                  <a:gd name="T56" fmla="*/ 15 w 161"/>
                  <a:gd name="T57" fmla="*/ 72 h 102"/>
                  <a:gd name="T58" fmla="*/ 24 w 161"/>
                  <a:gd name="T59" fmla="*/ 70 h 102"/>
                  <a:gd name="T60" fmla="*/ 34 w 161"/>
                  <a:gd name="T61" fmla="*/ 63 h 102"/>
                  <a:gd name="T62" fmla="*/ 42 w 161"/>
                  <a:gd name="T63" fmla="*/ 62 h 102"/>
                  <a:gd name="T64" fmla="*/ 55 w 161"/>
                  <a:gd name="T65" fmla="*/ 62 h 102"/>
                  <a:gd name="T66" fmla="*/ 63 w 161"/>
                  <a:gd name="T67" fmla="*/ 66 h 102"/>
                  <a:gd name="T68" fmla="*/ 69 w 161"/>
                  <a:gd name="T69" fmla="*/ 69 h 102"/>
                  <a:gd name="T70" fmla="*/ 78 w 161"/>
                  <a:gd name="T71" fmla="*/ 72 h 102"/>
                  <a:gd name="T72" fmla="*/ 83 w 161"/>
                  <a:gd name="T73" fmla="*/ 76 h 102"/>
                  <a:gd name="T74" fmla="*/ 91 w 161"/>
                  <a:gd name="T75" fmla="*/ 82 h 102"/>
                  <a:gd name="T76" fmla="*/ 99 w 161"/>
                  <a:gd name="T77" fmla="*/ 83 h 102"/>
                  <a:gd name="T78" fmla="*/ 101 w 161"/>
                  <a:gd name="T79" fmla="*/ 97 h 102"/>
                  <a:gd name="T80" fmla="*/ 103 w 161"/>
                  <a:gd name="T81" fmla="*/ 97 h 102"/>
                  <a:gd name="T82" fmla="*/ 111 w 161"/>
                  <a:gd name="T83" fmla="*/ 99 h 102"/>
                  <a:gd name="T84" fmla="*/ 121 w 161"/>
                  <a:gd name="T85" fmla="*/ 95 h 102"/>
                  <a:gd name="T86" fmla="*/ 137 w 161"/>
                  <a:gd name="T87" fmla="*/ 86 h 102"/>
                  <a:gd name="T88" fmla="*/ 144 w 161"/>
                  <a:gd name="T89" fmla="*/ 75 h 102"/>
                  <a:gd name="T90" fmla="*/ 153 w 161"/>
                  <a:gd name="T91" fmla="*/ 70 h 102"/>
                  <a:gd name="T92" fmla="*/ 161 w 161"/>
                  <a:gd name="T93" fmla="*/ 72 h 102"/>
                  <a:gd name="T94" fmla="*/ 160 w 161"/>
                  <a:gd name="T95" fmla="*/ 6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1" h="102">
                    <a:moveTo>
                      <a:pt x="160" y="64"/>
                    </a:moveTo>
                    <a:cubicBezTo>
                      <a:pt x="160" y="64"/>
                      <a:pt x="153" y="61"/>
                      <a:pt x="150" y="61"/>
                    </a:cubicBezTo>
                    <a:cubicBezTo>
                      <a:pt x="148" y="61"/>
                      <a:pt x="143" y="55"/>
                      <a:pt x="139" y="53"/>
                    </a:cubicBezTo>
                    <a:cubicBezTo>
                      <a:pt x="134" y="52"/>
                      <a:pt x="128" y="49"/>
                      <a:pt x="126" y="46"/>
                    </a:cubicBezTo>
                    <a:cubicBezTo>
                      <a:pt x="124" y="43"/>
                      <a:pt x="115" y="40"/>
                      <a:pt x="114" y="37"/>
                    </a:cubicBezTo>
                    <a:cubicBezTo>
                      <a:pt x="113" y="35"/>
                      <a:pt x="112" y="31"/>
                      <a:pt x="109" y="28"/>
                    </a:cubicBezTo>
                    <a:cubicBezTo>
                      <a:pt x="107" y="25"/>
                      <a:pt x="107" y="21"/>
                      <a:pt x="105" y="21"/>
                    </a:cubicBezTo>
                    <a:cubicBezTo>
                      <a:pt x="102" y="20"/>
                      <a:pt x="88" y="21"/>
                      <a:pt x="88" y="19"/>
                    </a:cubicBezTo>
                    <a:cubicBezTo>
                      <a:pt x="88" y="17"/>
                      <a:pt x="87" y="7"/>
                      <a:pt x="84" y="7"/>
                    </a:cubicBezTo>
                    <a:cubicBezTo>
                      <a:pt x="81" y="6"/>
                      <a:pt x="77" y="5"/>
                      <a:pt x="75" y="4"/>
                    </a:cubicBezTo>
                    <a:cubicBezTo>
                      <a:pt x="74" y="2"/>
                      <a:pt x="68" y="0"/>
                      <a:pt x="67" y="2"/>
                    </a:cubicBezTo>
                    <a:cubicBezTo>
                      <a:pt x="66" y="3"/>
                      <a:pt x="64" y="4"/>
                      <a:pt x="63" y="4"/>
                    </a:cubicBezTo>
                    <a:cubicBezTo>
                      <a:pt x="62" y="4"/>
                      <a:pt x="62" y="9"/>
                      <a:pt x="59" y="8"/>
                    </a:cubicBezTo>
                    <a:cubicBezTo>
                      <a:pt x="55" y="8"/>
                      <a:pt x="51" y="12"/>
                      <a:pt x="51" y="14"/>
                    </a:cubicBezTo>
                    <a:cubicBezTo>
                      <a:pt x="51" y="17"/>
                      <a:pt x="51" y="20"/>
                      <a:pt x="47" y="20"/>
                    </a:cubicBezTo>
                    <a:cubicBezTo>
                      <a:pt x="44" y="19"/>
                      <a:pt x="41" y="19"/>
                      <a:pt x="39" y="18"/>
                    </a:cubicBezTo>
                    <a:cubicBezTo>
                      <a:pt x="38" y="18"/>
                      <a:pt x="34" y="21"/>
                      <a:pt x="31" y="16"/>
                    </a:cubicBezTo>
                    <a:cubicBezTo>
                      <a:pt x="27" y="10"/>
                      <a:pt x="20" y="5"/>
                      <a:pt x="17" y="5"/>
                    </a:cubicBezTo>
                    <a:cubicBezTo>
                      <a:pt x="14" y="5"/>
                      <a:pt x="3" y="5"/>
                      <a:pt x="5" y="11"/>
                    </a:cubicBezTo>
                    <a:cubicBezTo>
                      <a:pt x="6" y="10"/>
                      <a:pt x="8" y="9"/>
                      <a:pt x="11" y="9"/>
                    </a:cubicBezTo>
                    <a:cubicBezTo>
                      <a:pt x="19" y="10"/>
                      <a:pt x="15" y="19"/>
                      <a:pt x="19" y="20"/>
                    </a:cubicBezTo>
                    <a:cubicBezTo>
                      <a:pt x="24" y="20"/>
                      <a:pt x="29" y="27"/>
                      <a:pt x="25" y="26"/>
                    </a:cubicBezTo>
                    <a:cubicBezTo>
                      <a:pt x="21" y="26"/>
                      <a:pt x="17" y="30"/>
                      <a:pt x="13" y="29"/>
                    </a:cubicBezTo>
                    <a:cubicBezTo>
                      <a:pt x="9" y="27"/>
                      <a:pt x="4" y="24"/>
                      <a:pt x="3" y="29"/>
                    </a:cubicBezTo>
                    <a:cubicBezTo>
                      <a:pt x="2" y="33"/>
                      <a:pt x="0" y="38"/>
                      <a:pt x="5" y="38"/>
                    </a:cubicBezTo>
                    <a:cubicBezTo>
                      <a:pt x="11" y="38"/>
                      <a:pt x="10" y="41"/>
                      <a:pt x="6" y="45"/>
                    </a:cubicBezTo>
                    <a:cubicBezTo>
                      <a:pt x="2" y="49"/>
                      <a:pt x="12" y="44"/>
                      <a:pt x="12" y="48"/>
                    </a:cubicBezTo>
                    <a:cubicBezTo>
                      <a:pt x="13" y="51"/>
                      <a:pt x="16" y="51"/>
                      <a:pt x="15" y="57"/>
                    </a:cubicBezTo>
                    <a:cubicBezTo>
                      <a:pt x="14" y="60"/>
                      <a:pt x="14" y="67"/>
                      <a:pt x="15" y="72"/>
                    </a:cubicBezTo>
                    <a:cubicBezTo>
                      <a:pt x="18" y="72"/>
                      <a:pt x="23" y="71"/>
                      <a:pt x="24" y="70"/>
                    </a:cubicBezTo>
                    <a:cubicBezTo>
                      <a:pt x="26" y="68"/>
                      <a:pt x="31" y="63"/>
                      <a:pt x="34" y="63"/>
                    </a:cubicBezTo>
                    <a:cubicBezTo>
                      <a:pt x="37" y="63"/>
                      <a:pt x="40" y="64"/>
                      <a:pt x="42" y="62"/>
                    </a:cubicBezTo>
                    <a:cubicBezTo>
                      <a:pt x="44" y="60"/>
                      <a:pt x="53" y="60"/>
                      <a:pt x="55" y="62"/>
                    </a:cubicBezTo>
                    <a:cubicBezTo>
                      <a:pt x="57" y="64"/>
                      <a:pt x="62" y="66"/>
                      <a:pt x="63" y="66"/>
                    </a:cubicBezTo>
                    <a:cubicBezTo>
                      <a:pt x="65" y="66"/>
                      <a:pt x="65" y="69"/>
                      <a:pt x="69" y="69"/>
                    </a:cubicBezTo>
                    <a:cubicBezTo>
                      <a:pt x="72" y="68"/>
                      <a:pt x="78" y="70"/>
                      <a:pt x="78" y="72"/>
                    </a:cubicBezTo>
                    <a:cubicBezTo>
                      <a:pt x="78" y="74"/>
                      <a:pt x="81" y="76"/>
                      <a:pt x="83" y="76"/>
                    </a:cubicBezTo>
                    <a:cubicBezTo>
                      <a:pt x="86" y="76"/>
                      <a:pt x="88" y="82"/>
                      <a:pt x="91" y="82"/>
                    </a:cubicBezTo>
                    <a:cubicBezTo>
                      <a:pt x="94" y="82"/>
                      <a:pt x="99" y="82"/>
                      <a:pt x="99" y="83"/>
                    </a:cubicBezTo>
                    <a:cubicBezTo>
                      <a:pt x="99" y="85"/>
                      <a:pt x="99" y="93"/>
                      <a:pt x="101" y="97"/>
                    </a:cubicBezTo>
                    <a:cubicBezTo>
                      <a:pt x="102" y="97"/>
                      <a:pt x="103" y="96"/>
                      <a:pt x="103" y="97"/>
                    </a:cubicBezTo>
                    <a:cubicBezTo>
                      <a:pt x="105" y="98"/>
                      <a:pt x="110" y="96"/>
                      <a:pt x="111" y="99"/>
                    </a:cubicBezTo>
                    <a:cubicBezTo>
                      <a:pt x="112" y="102"/>
                      <a:pt x="122" y="100"/>
                      <a:pt x="121" y="95"/>
                    </a:cubicBezTo>
                    <a:cubicBezTo>
                      <a:pt x="121" y="91"/>
                      <a:pt x="136" y="91"/>
                      <a:pt x="137" y="86"/>
                    </a:cubicBezTo>
                    <a:cubicBezTo>
                      <a:pt x="138" y="82"/>
                      <a:pt x="140" y="74"/>
                      <a:pt x="144" y="75"/>
                    </a:cubicBezTo>
                    <a:cubicBezTo>
                      <a:pt x="147" y="76"/>
                      <a:pt x="150" y="69"/>
                      <a:pt x="153" y="70"/>
                    </a:cubicBezTo>
                    <a:cubicBezTo>
                      <a:pt x="156" y="70"/>
                      <a:pt x="158" y="72"/>
                      <a:pt x="161" y="72"/>
                    </a:cubicBezTo>
                    <a:lnTo>
                      <a:pt x="160" y="64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3" name="Freeform 161">
                <a:extLst>
                  <a:ext uri="{FF2B5EF4-FFF2-40B4-BE49-F238E27FC236}">
                    <a16:creationId xmlns:a16="http://schemas.microsoft.com/office/drawing/2014/main" id="{F7AFD93A-4BC3-4689-A541-E74A5984C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3850" y="3062288"/>
                <a:ext cx="490537" cy="414338"/>
              </a:xfrm>
              <a:custGeom>
                <a:avLst/>
                <a:gdLst>
                  <a:gd name="T0" fmla="*/ 216 w 223"/>
                  <a:gd name="T1" fmla="*/ 163 h 189"/>
                  <a:gd name="T2" fmla="*/ 211 w 223"/>
                  <a:gd name="T3" fmla="*/ 150 h 189"/>
                  <a:gd name="T4" fmla="*/ 199 w 223"/>
                  <a:gd name="T5" fmla="*/ 140 h 189"/>
                  <a:gd name="T6" fmla="*/ 192 w 223"/>
                  <a:gd name="T7" fmla="*/ 131 h 189"/>
                  <a:gd name="T8" fmla="*/ 203 w 223"/>
                  <a:gd name="T9" fmla="*/ 115 h 189"/>
                  <a:gd name="T10" fmla="*/ 192 w 223"/>
                  <a:gd name="T11" fmla="*/ 109 h 189"/>
                  <a:gd name="T12" fmla="*/ 191 w 223"/>
                  <a:gd name="T13" fmla="*/ 96 h 189"/>
                  <a:gd name="T14" fmla="*/ 191 w 223"/>
                  <a:gd name="T15" fmla="*/ 84 h 189"/>
                  <a:gd name="T16" fmla="*/ 192 w 223"/>
                  <a:gd name="T17" fmla="*/ 74 h 189"/>
                  <a:gd name="T18" fmla="*/ 196 w 223"/>
                  <a:gd name="T19" fmla="*/ 65 h 189"/>
                  <a:gd name="T20" fmla="*/ 199 w 223"/>
                  <a:gd name="T21" fmla="*/ 60 h 189"/>
                  <a:gd name="T22" fmla="*/ 197 w 223"/>
                  <a:gd name="T23" fmla="*/ 46 h 189"/>
                  <a:gd name="T24" fmla="*/ 189 w 223"/>
                  <a:gd name="T25" fmla="*/ 45 h 189"/>
                  <a:gd name="T26" fmla="*/ 181 w 223"/>
                  <a:gd name="T27" fmla="*/ 39 h 189"/>
                  <a:gd name="T28" fmla="*/ 176 w 223"/>
                  <a:gd name="T29" fmla="*/ 35 h 189"/>
                  <a:gd name="T30" fmla="*/ 167 w 223"/>
                  <a:gd name="T31" fmla="*/ 32 h 189"/>
                  <a:gd name="T32" fmla="*/ 161 w 223"/>
                  <a:gd name="T33" fmla="*/ 29 h 189"/>
                  <a:gd name="T34" fmla="*/ 153 w 223"/>
                  <a:gd name="T35" fmla="*/ 25 h 189"/>
                  <a:gd name="T36" fmla="*/ 140 w 223"/>
                  <a:gd name="T37" fmla="*/ 25 h 189"/>
                  <a:gd name="T38" fmla="*/ 132 w 223"/>
                  <a:gd name="T39" fmla="*/ 26 h 189"/>
                  <a:gd name="T40" fmla="*/ 122 w 223"/>
                  <a:gd name="T41" fmla="*/ 33 h 189"/>
                  <a:gd name="T42" fmla="*/ 113 w 223"/>
                  <a:gd name="T43" fmla="*/ 35 h 189"/>
                  <a:gd name="T44" fmla="*/ 112 w 223"/>
                  <a:gd name="T45" fmla="*/ 41 h 189"/>
                  <a:gd name="T46" fmla="*/ 88 w 223"/>
                  <a:gd name="T47" fmla="*/ 46 h 189"/>
                  <a:gd name="T48" fmla="*/ 67 w 223"/>
                  <a:gd name="T49" fmla="*/ 34 h 189"/>
                  <a:gd name="T50" fmla="*/ 54 w 223"/>
                  <a:gd name="T51" fmla="*/ 20 h 189"/>
                  <a:gd name="T52" fmla="*/ 45 w 223"/>
                  <a:gd name="T53" fmla="*/ 14 h 189"/>
                  <a:gd name="T54" fmla="*/ 43 w 223"/>
                  <a:gd name="T55" fmla="*/ 4 h 189"/>
                  <a:gd name="T56" fmla="*/ 21 w 223"/>
                  <a:gd name="T57" fmla="*/ 14 h 189"/>
                  <a:gd name="T58" fmla="*/ 13 w 223"/>
                  <a:gd name="T59" fmla="*/ 10 h 189"/>
                  <a:gd name="T60" fmla="*/ 6 w 223"/>
                  <a:gd name="T61" fmla="*/ 1 h 189"/>
                  <a:gd name="T62" fmla="*/ 2 w 223"/>
                  <a:gd name="T63" fmla="*/ 7 h 189"/>
                  <a:gd name="T64" fmla="*/ 3 w 223"/>
                  <a:gd name="T65" fmla="*/ 16 h 189"/>
                  <a:gd name="T66" fmla="*/ 3 w 223"/>
                  <a:gd name="T67" fmla="*/ 28 h 189"/>
                  <a:gd name="T68" fmla="*/ 8 w 223"/>
                  <a:gd name="T69" fmla="*/ 37 h 189"/>
                  <a:gd name="T70" fmla="*/ 12 w 223"/>
                  <a:gd name="T71" fmla="*/ 46 h 189"/>
                  <a:gd name="T72" fmla="*/ 18 w 223"/>
                  <a:gd name="T73" fmla="*/ 53 h 189"/>
                  <a:gd name="T74" fmla="*/ 23 w 223"/>
                  <a:gd name="T75" fmla="*/ 57 h 189"/>
                  <a:gd name="T76" fmla="*/ 21 w 223"/>
                  <a:gd name="T77" fmla="*/ 63 h 189"/>
                  <a:gd name="T78" fmla="*/ 17 w 223"/>
                  <a:gd name="T79" fmla="*/ 72 h 189"/>
                  <a:gd name="T80" fmla="*/ 18 w 223"/>
                  <a:gd name="T81" fmla="*/ 83 h 189"/>
                  <a:gd name="T82" fmla="*/ 24 w 223"/>
                  <a:gd name="T83" fmla="*/ 89 h 189"/>
                  <a:gd name="T84" fmla="*/ 36 w 223"/>
                  <a:gd name="T85" fmla="*/ 97 h 189"/>
                  <a:gd name="T86" fmla="*/ 41 w 223"/>
                  <a:gd name="T87" fmla="*/ 104 h 189"/>
                  <a:gd name="T88" fmla="*/ 41 w 223"/>
                  <a:gd name="T89" fmla="*/ 111 h 189"/>
                  <a:gd name="T90" fmla="*/ 45 w 223"/>
                  <a:gd name="T91" fmla="*/ 119 h 189"/>
                  <a:gd name="T92" fmla="*/ 51 w 223"/>
                  <a:gd name="T93" fmla="*/ 128 h 189"/>
                  <a:gd name="T94" fmla="*/ 54 w 223"/>
                  <a:gd name="T95" fmla="*/ 127 h 189"/>
                  <a:gd name="T96" fmla="*/ 59 w 223"/>
                  <a:gd name="T97" fmla="*/ 126 h 189"/>
                  <a:gd name="T98" fmla="*/ 67 w 223"/>
                  <a:gd name="T99" fmla="*/ 126 h 189"/>
                  <a:gd name="T100" fmla="*/ 78 w 223"/>
                  <a:gd name="T101" fmla="*/ 143 h 189"/>
                  <a:gd name="T102" fmla="*/ 85 w 223"/>
                  <a:gd name="T103" fmla="*/ 154 h 189"/>
                  <a:gd name="T104" fmla="*/ 98 w 223"/>
                  <a:gd name="T105" fmla="*/ 161 h 189"/>
                  <a:gd name="T106" fmla="*/ 124 w 223"/>
                  <a:gd name="T107" fmla="*/ 170 h 189"/>
                  <a:gd name="T108" fmla="*/ 142 w 223"/>
                  <a:gd name="T109" fmla="*/ 165 h 189"/>
                  <a:gd name="T110" fmla="*/ 151 w 223"/>
                  <a:gd name="T111" fmla="*/ 180 h 189"/>
                  <a:gd name="T112" fmla="*/ 190 w 223"/>
                  <a:gd name="T113" fmla="*/ 188 h 189"/>
                  <a:gd name="T114" fmla="*/ 202 w 223"/>
                  <a:gd name="T115" fmla="*/ 189 h 189"/>
                  <a:gd name="T116" fmla="*/ 202 w 223"/>
                  <a:gd name="T117" fmla="*/ 186 h 189"/>
                  <a:gd name="T118" fmla="*/ 209 w 223"/>
                  <a:gd name="T119" fmla="*/ 174 h 189"/>
                  <a:gd name="T120" fmla="*/ 219 w 223"/>
                  <a:gd name="T121" fmla="*/ 171 h 189"/>
                  <a:gd name="T122" fmla="*/ 216 w 223"/>
                  <a:gd name="T123" fmla="*/ 163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3" h="189">
                    <a:moveTo>
                      <a:pt x="216" y="163"/>
                    </a:moveTo>
                    <a:cubicBezTo>
                      <a:pt x="214" y="162"/>
                      <a:pt x="216" y="152"/>
                      <a:pt x="211" y="150"/>
                    </a:cubicBezTo>
                    <a:cubicBezTo>
                      <a:pt x="206" y="148"/>
                      <a:pt x="201" y="144"/>
                      <a:pt x="199" y="140"/>
                    </a:cubicBezTo>
                    <a:cubicBezTo>
                      <a:pt x="198" y="137"/>
                      <a:pt x="191" y="133"/>
                      <a:pt x="192" y="131"/>
                    </a:cubicBezTo>
                    <a:cubicBezTo>
                      <a:pt x="192" y="128"/>
                      <a:pt x="205" y="119"/>
                      <a:pt x="203" y="115"/>
                    </a:cubicBezTo>
                    <a:cubicBezTo>
                      <a:pt x="202" y="110"/>
                      <a:pt x="193" y="111"/>
                      <a:pt x="192" y="109"/>
                    </a:cubicBezTo>
                    <a:cubicBezTo>
                      <a:pt x="191" y="107"/>
                      <a:pt x="193" y="101"/>
                      <a:pt x="191" y="96"/>
                    </a:cubicBezTo>
                    <a:cubicBezTo>
                      <a:pt x="188" y="91"/>
                      <a:pt x="192" y="87"/>
                      <a:pt x="191" y="84"/>
                    </a:cubicBezTo>
                    <a:cubicBezTo>
                      <a:pt x="189" y="81"/>
                      <a:pt x="191" y="76"/>
                      <a:pt x="192" y="74"/>
                    </a:cubicBezTo>
                    <a:cubicBezTo>
                      <a:pt x="192" y="72"/>
                      <a:pt x="197" y="70"/>
                      <a:pt x="196" y="65"/>
                    </a:cubicBezTo>
                    <a:cubicBezTo>
                      <a:pt x="196" y="62"/>
                      <a:pt x="197" y="61"/>
                      <a:pt x="199" y="60"/>
                    </a:cubicBezTo>
                    <a:cubicBezTo>
                      <a:pt x="197" y="56"/>
                      <a:pt x="197" y="48"/>
                      <a:pt x="197" y="46"/>
                    </a:cubicBezTo>
                    <a:cubicBezTo>
                      <a:pt x="197" y="45"/>
                      <a:pt x="192" y="45"/>
                      <a:pt x="189" y="45"/>
                    </a:cubicBezTo>
                    <a:cubicBezTo>
                      <a:pt x="186" y="45"/>
                      <a:pt x="184" y="39"/>
                      <a:pt x="181" y="39"/>
                    </a:cubicBezTo>
                    <a:cubicBezTo>
                      <a:pt x="179" y="39"/>
                      <a:pt x="176" y="37"/>
                      <a:pt x="176" y="35"/>
                    </a:cubicBezTo>
                    <a:cubicBezTo>
                      <a:pt x="176" y="33"/>
                      <a:pt x="170" y="31"/>
                      <a:pt x="167" y="32"/>
                    </a:cubicBezTo>
                    <a:cubicBezTo>
                      <a:pt x="163" y="32"/>
                      <a:pt x="163" y="29"/>
                      <a:pt x="161" y="29"/>
                    </a:cubicBezTo>
                    <a:cubicBezTo>
                      <a:pt x="160" y="29"/>
                      <a:pt x="155" y="27"/>
                      <a:pt x="153" y="25"/>
                    </a:cubicBezTo>
                    <a:cubicBezTo>
                      <a:pt x="151" y="23"/>
                      <a:pt x="142" y="23"/>
                      <a:pt x="140" y="25"/>
                    </a:cubicBezTo>
                    <a:cubicBezTo>
                      <a:pt x="138" y="27"/>
                      <a:pt x="135" y="26"/>
                      <a:pt x="132" y="26"/>
                    </a:cubicBezTo>
                    <a:cubicBezTo>
                      <a:pt x="129" y="26"/>
                      <a:pt x="124" y="31"/>
                      <a:pt x="122" y="33"/>
                    </a:cubicBezTo>
                    <a:cubicBezTo>
                      <a:pt x="121" y="34"/>
                      <a:pt x="116" y="35"/>
                      <a:pt x="113" y="35"/>
                    </a:cubicBezTo>
                    <a:cubicBezTo>
                      <a:pt x="113" y="38"/>
                      <a:pt x="113" y="40"/>
                      <a:pt x="112" y="41"/>
                    </a:cubicBezTo>
                    <a:cubicBezTo>
                      <a:pt x="110" y="43"/>
                      <a:pt x="98" y="46"/>
                      <a:pt x="88" y="46"/>
                    </a:cubicBezTo>
                    <a:cubicBezTo>
                      <a:pt x="78" y="46"/>
                      <a:pt x="78" y="34"/>
                      <a:pt x="67" y="34"/>
                    </a:cubicBezTo>
                    <a:cubicBezTo>
                      <a:pt x="60" y="34"/>
                      <a:pt x="54" y="27"/>
                      <a:pt x="54" y="20"/>
                    </a:cubicBezTo>
                    <a:cubicBezTo>
                      <a:pt x="49" y="19"/>
                      <a:pt x="45" y="16"/>
                      <a:pt x="45" y="14"/>
                    </a:cubicBezTo>
                    <a:cubicBezTo>
                      <a:pt x="46" y="13"/>
                      <a:pt x="49" y="2"/>
                      <a:pt x="43" y="4"/>
                    </a:cubicBezTo>
                    <a:cubicBezTo>
                      <a:pt x="38" y="7"/>
                      <a:pt x="30" y="15"/>
                      <a:pt x="21" y="14"/>
                    </a:cubicBezTo>
                    <a:cubicBezTo>
                      <a:pt x="11" y="13"/>
                      <a:pt x="18" y="12"/>
                      <a:pt x="13" y="10"/>
                    </a:cubicBezTo>
                    <a:cubicBezTo>
                      <a:pt x="8" y="7"/>
                      <a:pt x="11" y="2"/>
                      <a:pt x="6" y="1"/>
                    </a:cubicBezTo>
                    <a:cubicBezTo>
                      <a:pt x="1" y="0"/>
                      <a:pt x="5" y="7"/>
                      <a:pt x="2" y="7"/>
                    </a:cubicBezTo>
                    <a:cubicBezTo>
                      <a:pt x="0" y="7"/>
                      <a:pt x="2" y="14"/>
                      <a:pt x="3" y="16"/>
                    </a:cubicBezTo>
                    <a:cubicBezTo>
                      <a:pt x="4" y="18"/>
                      <a:pt x="1" y="28"/>
                      <a:pt x="3" y="28"/>
                    </a:cubicBezTo>
                    <a:cubicBezTo>
                      <a:pt x="5" y="29"/>
                      <a:pt x="9" y="36"/>
                      <a:pt x="8" y="37"/>
                    </a:cubicBezTo>
                    <a:cubicBezTo>
                      <a:pt x="8" y="38"/>
                      <a:pt x="12" y="43"/>
                      <a:pt x="12" y="46"/>
                    </a:cubicBezTo>
                    <a:cubicBezTo>
                      <a:pt x="12" y="49"/>
                      <a:pt x="16" y="53"/>
                      <a:pt x="18" y="53"/>
                    </a:cubicBezTo>
                    <a:cubicBezTo>
                      <a:pt x="21" y="53"/>
                      <a:pt x="24" y="54"/>
                      <a:pt x="23" y="57"/>
                    </a:cubicBezTo>
                    <a:cubicBezTo>
                      <a:pt x="22" y="59"/>
                      <a:pt x="24" y="63"/>
                      <a:pt x="21" y="63"/>
                    </a:cubicBezTo>
                    <a:cubicBezTo>
                      <a:pt x="19" y="63"/>
                      <a:pt x="19" y="71"/>
                      <a:pt x="17" y="72"/>
                    </a:cubicBezTo>
                    <a:cubicBezTo>
                      <a:pt x="15" y="74"/>
                      <a:pt x="17" y="82"/>
                      <a:pt x="18" y="83"/>
                    </a:cubicBezTo>
                    <a:cubicBezTo>
                      <a:pt x="20" y="83"/>
                      <a:pt x="24" y="86"/>
                      <a:pt x="24" y="89"/>
                    </a:cubicBezTo>
                    <a:cubicBezTo>
                      <a:pt x="23" y="92"/>
                      <a:pt x="33" y="97"/>
                      <a:pt x="36" y="97"/>
                    </a:cubicBezTo>
                    <a:cubicBezTo>
                      <a:pt x="39" y="98"/>
                      <a:pt x="40" y="102"/>
                      <a:pt x="41" y="104"/>
                    </a:cubicBezTo>
                    <a:cubicBezTo>
                      <a:pt x="43" y="106"/>
                      <a:pt x="40" y="109"/>
                      <a:pt x="41" y="111"/>
                    </a:cubicBezTo>
                    <a:cubicBezTo>
                      <a:pt x="41" y="114"/>
                      <a:pt x="45" y="115"/>
                      <a:pt x="45" y="119"/>
                    </a:cubicBezTo>
                    <a:cubicBezTo>
                      <a:pt x="44" y="121"/>
                      <a:pt x="48" y="125"/>
                      <a:pt x="51" y="128"/>
                    </a:cubicBezTo>
                    <a:cubicBezTo>
                      <a:pt x="52" y="128"/>
                      <a:pt x="53" y="127"/>
                      <a:pt x="54" y="127"/>
                    </a:cubicBezTo>
                    <a:cubicBezTo>
                      <a:pt x="57" y="127"/>
                      <a:pt x="57" y="124"/>
                      <a:pt x="59" y="126"/>
                    </a:cubicBezTo>
                    <a:cubicBezTo>
                      <a:pt x="61" y="128"/>
                      <a:pt x="64" y="126"/>
                      <a:pt x="67" y="126"/>
                    </a:cubicBezTo>
                    <a:cubicBezTo>
                      <a:pt x="69" y="126"/>
                      <a:pt x="75" y="138"/>
                      <a:pt x="78" y="143"/>
                    </a:cubicBezTo>
                    <a:cubicBezTo>
                      <a:pt x="81" y="149"/>
                      <a:pt x="81" y="151"/>
                      <a:pt x="85" y="154"/>
                    </a:cubicBezTo>
                    <a:cubicBezTo>
                      <a:pt x="89" y="156"/>
                      <a:pt x="93" y="155"/>
                      <a:pt x="98" y="161"/>
                    </a:cubicBezTo>
                    <a:cubicBezTo>
                      <a:pt x="104" y="166"/>
                      <a:pt x="118" y="170"/>
                      <a:pt x="124" y="170"/>
                    </a:cubicBezTo>
                    <a:cubicBezTo>
                      <a:pt x="130" y="171"/>
                      <a:pt x="135" y="164"/>
                      <a:pt x="142" y="165"/>
                    </a:cubicBezTo>
                    <a:cubicBezTo>
                      <a:pt x="150" y="167"/>
                      <a:pt x="148" y="177"/>
                      <a:pt x="151" y="180"/>
                    </a:cubicBezTo>
                    <a:cubicBezTo>
                      <a:pt x="154" y="184"/>
                      <a:pt x="185" y="186"/>
                      <a:pt x="190" y="188"/>
                    </a:cubicBezTo>
                    <a:cubicBezTo>
                      <a:pt x="192" y="188"/>
                      <a:pt x="197" y="188"/>
                      <a:pt x="202" y="189"/>
                    </a:cubicBezTo>
                    <a:cubicBezTo>
                      <a:pt x="202" y="187"/>
                      <a:pt x="202" y="186"/>
                      <a:pt x="202" y="186"/>
                    </a:cubicBezTo>
                    <a:cubicBezTo>
                      <a:pt x="201" y="180"/>
                      <a:pt x="205" y="176"/>
                      <a:pt x="209" y="174"/>
                    </a:cubicBezTo>
                    <a:cubicBezTo>
                      <a:pt x="212" y="172"/>
                      <a:pt x="215" y="172"/>
                      <a:pt x="219" y="171"/>
                    </a:cubicBezTo>
                    <a:cubicBezTo>
                      <a:pt x="223" y="171"/>
                      <a:pt x="219" y="164"/>
                      <a:pt x="216" y="16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4" name="Freeform 162">
                <a:extLst>
                  <a:ext uri="{FF2B5EF4-FFF2-40B4-BE49-F238E27FC236}">
                    <a16:creationId xmlns:a16="http://schemas.microsoft.com/office/drawing/2014/main" id="{3BDEE794-1D50-44CE-B716-0179CD3F1B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5763" y="2573338"/>
                <a:ext cx="1009650" cy="473075"/>
              </a:xfrm>
              <a:custGeom>
                <a:avLst/>
                <a:gdLst>
                  <a:gd name="T0" fmla="*/ 444 w 460"/>
                  <a:gd name="T1" fmla="*/ 90 h 216"/>
                  <a:gd name="T2" fmla="*/ 429 w 460"/>
                  <a:gd name="T3" fmla="*/ 75 h 216"/>
                  <a:gd name="T4" fmla="*/ 400 w 460"/>
                  <a:gd name="T5" fmla="*/ 70 h 216"/>
                  <a:gd name="T6" fmla="*/ 373 w 460"/>
                  <a:gd name="T7" fmla="*/ 51 h 216"/>
                  <a:gd name="T8" fmla="*/ 341 w 460"/>
                  <a:gd name="T9" fmla="*/ 17 h 216"/>
                  <a:gd name="T10" fmla="*/ 310 w 460"/>
                  <a:gd name="T11" fmla="*/ 30 h 216"/>
                  <a:gd name="T12" fmla="*/ 303 w 460"/>
                  <a:gd name="T13" fmla="*/ 21 h 216"/>
                  <a:gd name="T14" fmla="*/ 285 w 460"/>
                  <a:gd name="T15" fmla="*/ 20 h 216"/>
                  <a:gd name="T16" fmla="*/ 277 w 460"/>
                  <a:gd name="T17" fmla="*/ 2 h 216"/>
                  <a:gd name="T18" fmla="*/ 238 w 460"/>
                  <a:gd name="T19" fmla="*/ 10 h 216"/>
                  <a:gd name="T20" fmla="*/ 193 w 460"/>
                  <a:gd name="T21" fmla="*/ 20 h 216"/>
                  <a:gd name="T22" fmla="*/ 171 w 460"/>
                  <a:gd name="T23" fmla="*/ 31 h 216"/>
                  <a:gd name="T24" fmla="*/ 167 w 460"/>
                  <a:gd name="T25" fmla="*/ 46 h 216"/>
                  <a:gd name="T26" fmla="*/ 171 w 460"/>
                  <a:gd name="T27" fmla="*/ 61 h 216"/>
                  <a:gd name="T28" fmla="*/ 158 w 460"/>
                  <a:gd name="T29" fmla="*/ 69 h 216"/>
                  <a:gd name="T30" fmla="*/ 141 w 460"/>
                  <a:gd name="T31" fmla="*/ 68 h 216"/>
                  <a:gd name="T32" fmla="*/ 113 w 460"/>
                  <a:gd name="T33" fmla="*/ 70 h 216"/>
                  <a:gd name="T34" fmla="*/ 93 w 460"/>
                  <a:gd name="T35" fmla="*/ 70 h 216"/>
                  <a:gd name="T36" fmla="*/ 62 w 460"/>
                  <a:gd name="T37" fmla="*/ 58 h 216"/>
                  <a:gd name="T38" fmla="*/ 36 w 460"/>
                  <a:gd name="T39" fmla="*/ 66 h 216"/>
                  <a:gd name="T40" fmla="*/ 26 w 460"/>
                  <a:gd name="T41" fmla="*/ 84 h 216"/>
                  <a:gd name="T42" fmla="*/ 4 w 460"/>
                  <a:gd name="T43" fmla="*/ 88 h 216"/>
                  <a:gd name="T44" fmla="*/ 1 w 460"/>
                  <a:gd name="T45" fmla="*/ 104 h 216"/>
                  <a:gd name="T46" fmla="*/ 18 w 460"/>
                  <a:gd name="T47" fmla="*/ 114 h 216"/>
                  <a:gd name="T48" fmla="*/ 29 w 460"/>
                  <a:gd name="T49" fmla="*/ 134 h 216"/>
                  <a:gd name="T50" fmla="*/ 58 w 460"/>
                  <a:gd name="T51" fmla="*/ 127 h 216"/>
                  <a:gd name="T52" fmla="*/ 66 w 460"/>
                  <a:gd name="T53" fmla="*/ 150 h 216"/>
                  <a:gd name="T54" fmla="*/ 45 w 460"/>
                  <a:gd name="T55" fmla="*/ 165 h 216"/>
                  <a:gd name="T56" fmla="*/ 65 w 460"/>
                  <a:gd name="T57" fmla="*/ 186 h 216"/>
                  <a:gd name="T58" fmla="*/ 75 w 460"/>
                  <a:gd name="T59" fmla="*/ 197 h 216"/>
                  <a:gd name="T60" fmla="*/ 109 w 460"/>
                  <a:gd name="T61" fmla="*/ 204 h 216"/>
                  <a:gd name="T62" fmla="*/ 140 w 460"/>
                  <a:gd name="T63" fmla="*/ 144 h 216"/>
                  <a:gd name="T64" fmla="*/ 157 w 460"/>
                  <a:gd name="T65" fmla="*/ 146 h 216"/>
                  <a:gd name="T66" fmla="*/ 191 w 460"/>
                  <a:gd name="T67" fmla="*/ 174 h 216"/>
                  <a:gd name="T68" fmla="*/ 225 w 460"/>
                  <a:gd name="T69" fmla="*/ 192 h 216"/>
                  <a:gd name="T70" fmla="*/ 251 w 460"/>
                  <a:gd name="T71" fmla="*/ 212 h 216"/>
                  <a:gd name="T72" fmla="*/ 274 w 460"/>
                  <a:gd name="T73" fmla="*/ 201 h 216"/>
                  <a:gd name="T74" fmla="*/ 300 w 460"/>
                  <a:gd name="T75" fmla="*/ 187 h 216"/>
                  <a:gd name="T76" fmla="*/ 337 w 460"/>
                  <a:gd name="T77" fmla="*/ 185 h 216"/>
                  <a:gd name="T78" fmla="*/ 386 w 460"/>
                  <a:gd name="T79" fmla="*/ 193 h 216"/>
                  <a:gd name="T80" fmla="*/ 387 w 460"/>
                  <a:gd name="T81" fmla="*/ 168 h 216"/>
                  <a:gd name="T82" fmla="*/ 401 w 460"/>
                  <a:gd name="T83" fmla="*/ 151 h 216"/>
                  <a:gd name="T84" fmla="*/ 416 w 460"/>
                  <a:gd name="T85" fmla="*/ 127 h 216"/>
                  <a:gd name="T86" fmla="*/ 445 w 460"/>
                  <a:gd name="T87" fmla="*/ 124 h 216"/>
                  <a:gd name="T88" fmla="*/ 456 w 460"/>
                  <a:gd name="T89" fmla="*/ 100 h 216"/>
                  <a:gd name="T90" fmla="*/ 172 w 460"/>
                  <a:gd name="T91" fmla="*/ 137 h 216"/>
                  <a:gd name="T92" fmla="*/ 361 w 460"/>
                  <a:gd name="T93" fmla="*/ 136 h 216"/>
                  <a:gd name="T94" fmla="*/ 316 w 460"/>
                  <a:gd name="T95" fmla="*/ 136 h 216"/>
                  <a:gd name="T96" fmla="*/ 361 w 460"/>
                  <a:gd name="T97" fmla="*/ 13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0" h="216">
                    <a:moveTo>
                      <a:pt x="457" y="88"/>
                    </a:moveTo>
                    <a:cubicBezTo>
                      <a:pt x="457" y="86"/>
                      <a:pt x="455" y="87"/>
                      <a:pt x="453" y="88"/>
                    </a:cubicBezTo>
                    <a:cubicBezTo>
                      <a:pt x="452" y="89"/>
                      <a:pt x="446" y="90"/>
                      <a:pt x="444" y="90"/>
                    </a:cubicBezTo>
                    <a:cubicBezTo>
                      <a:pt x="442" y="90"/>
                      <a:pt x="439" y="87"/>
                      <a:pt x="439" y="85"/>
                    </a:cubicBezTo>
                    <a:cubicBezTo>
                      <a:pt x="439" y="83"/>
                      <a:pt x="438" y="81"/>
                      <a:pt x="436" y="81"/>
                    </a:cubicBezTo>
                    <a:cubicBezTo>
                      <a:pt x="434" y="81"/>
                      <a:pt x="431" y="80"/>
                      <a:pt x="429" y="75"/>
                    </a:cubicBezTo>
                    <a:cubicBezTo>
                      <a:pt x="427" y="70"/>
                      <a:pt x="424" y="70"/>
                      <a:pt x="422" y="69"/>
                    </a:cubicBezTo>
                    <a:cubicBezTo>
                      <a:pt x="420" y="68"/>
                      <a:pt x="413" y="71"/>
                      <a:pt x="411" y="72"/>
                    </a:cubicBezTo>
                    <a:cubicBezTo>
                      <a:pt x="408" y="73"/>
                      <a:pt x="403" y="71"/>
                      <a:pt x="400" y="70"/>
                    </a:cubicBezTo>
                    <a:cubicBezTo>
                      <a:pt x="396" y="70"/>
                      <a:pt x="394" y="63"/>
                      <a:pt x="391" y="64"/>
                    </a:cubicBezTo>
                    <a:cubicBezTo>
                      <a:pt x="388" y="65"/>
                      <a:pt x="387" y="71"/>
                      <a:pt x="384" y="71"/>
                    </a:cubicBezTo>
                    <a:cubicBezTo>
                      <a:pt x="382" y="71"/>
                      <a:pt x="377" y="58"/>
                      <a:pt x="373" y="51"/>
                    </a:cubicBezTo>
                    <a:cubicBezTo>
                      <a:pt x="368" y="44"/>
                      <a:pt x="359" y="29"/>
                      <a:pt x="352" y="27"/>
                    </a:cubicBezTo>
                    <a:cubicBezTo>
                      <a:pt x="344" y="24"/>
                      <a:pt x="347" y="20"/>
                      <a:pt x="349" y="18"/>
                    </a:cubicBezTo>
                    <a:cubicBezTo>
                      <a:pt x="351" y="16"/>
                      <a:pt x="344" y="16"/>
                      <a:pt x="341" y="17"/>
                    </a:cubicBezTo>
                    <a:cubicBezTo>
                      <a:pt x="338" y="19"/>
                      <a:pt x="334" y="22"/>
                      <a:pt x="331" y="23"/>
                    </a:cubicBezTo>
                    <a:cubicBezTo>
                      <a:pt x="327" y="24"/>
                      <a:pt x="322" y="29"/>
                      <a:pt x="319" y="28"/>
                    </a:cubicBezTo>
                    <a:cubicBezTo>
                      <a:pt x="315" y="27"/>
                      <a:pt x="313" y="33"/>
                      <a:pt x="310" y="30"/>
                    </a:cubicBezTo>
                    <a:cubicBezTo>
                      <a:pt x="307" y="27"/>
                      <a:pt x="314" y="25"/>
                      <a:pt x="314" y="23"/>
                    </a:cubicBezTo>
                    <a:cubicBezTo>
                      <a:pt x="314" y="20"/>
                      <a:pt x="309" y="24"/>
                      <a:pt x="308" y="22"/>
                    </a:cubicBezTo>
                    <a:cubicBezTo>
                      <a:pt x="307" y="21"/>
                      <a:pt x="303" y="19"/>
                      <a:pt x="303" y="21"/>
                    </a:cubicBezTo>
                    <a:cubicBezTo>
                      <a:pt x="303" y="24"/>
                      <a:pt x="300" y="22"/>
                      <a:pt x="300" y="21"/>
                    </a:cubicBezTo>
                    <a:cubicBezTo>
                      <a:pt x="300" y="19"/>
                      <a:pt x="297" y="16"/>
                      <a:pt x="295" y="18"/>
                    </a:cubicBezTo>
                    <a:cubicBezTo>
                      <a:pt x="293" y="20"/>
                      <a:pt x="287" y="21"/>
                      <a:pt x="285" y="20"/>
                    </a:cubicBezTo>
                    <a:cubicBezTo>
                      <a:pt x="284" y="18"/>
                      <a:pt x="286" y="17"/>
                      <a:pt x="286" y="15"/>
                    </a:cubicBezTo>
                    <a:cubicBezTo>
                      <a:pt x="287" y="13"/>
                      <a:pt x="284" y="10"/>
                      <a:pt x="284" y="7"/>
                    </a:cubicBezTo>
                    <a:cubicBezTo>
                      <a:pt x="285" y="4"/>
                      <a:pt x="280" y="1"/>
                      <a:pt x="277" y="2"/>
                    </a:cubicBezTo>
                    <a:cubicBezTo>
                      <a:pt x="275" y="3"/>
                      <a:pt x="271" y="2"/>
                      <a:pt x="268" y="1"/>
                    </a:cubicBezTo>
                    <a:cubicBezTo>
                      <a:pt x="266" y="0"/>
                      <a:pt x="255" y="2"/>
                      <a:pt x="254" y="4"/>
                    </a:cubicBezTo>
                    <a:cubicBezTo>
                      <a:pt x="254" y="7"/>
                      <a:pt x="240" y="9"/>
                      <a:pt x="238" y="10"/>
                    </a:cubicBezTo>
                    <a:cubicBezTo>
                      <a:pt x="235" y="11"/>
                      <a:pt x="225" y="12"/>
                      <a:pt x="222" y="13"/>
                    </a:cubicBezTo>
                    <a:cubicBezTo>
                      <a:pt x="218" y="13"/>
                      <a:pt x="215" y="16"/>
                      <a:pt x="210" y="16"/>
                    </a:cubicBezTo>
                    <a:cubicBezTo>
                      <a:pt x="206" y="16"/>
                      <a:pt x="197" y="17"/>
                      <a:pt x="193" y="20"/>
                    </a:cubicBezTo>
                    <a:cubicBezTo>
                      <a:pt x="189" y="23"/>
                      <a:pt x="183" y="20"/>
                      <a:pt x="180" y="21"/>
                    </a:cubicBezTo>
                    <a:cubicBezTo>
                      <a:pt x="177" y="22"/>
                      <a:pt x="172" y="21"/>
                      <a:pt x="170" y="22"/>
                    </a:cubicBezTo>
                    <a:cubicBezTo>
                      <a:pt x="169" y="23"/>
                      <a:pt x="169" y="29"/>
                      <a:pt x="171" y="31"/>
                    </a:cubicBezTo>
                    <a:cubicBezTo>
                      <a:pt x="172" y="34"/>
                      <a:pt x="180" y="35"/>
                      <a:pt x="181" y="36"/>
                    </a:cubicBezTo>
                    <a:cubicBezTo>
                      <a:pt x="181" y="38"/>
                      <a:pt x="173" y="38"/>
                      <a:pt x="169" y="38"/>
                    </a:cubicBezTo>
                    <a:cubicBezTo>
                      <a:pt x="165" y="39"/>
                      <a:pt x="166" y="44"/>
                      <a:pt x="167" y="46"/>
                    </a:cubicBezTo>
                    <a:cubicBezTo>
                      <a:pt x="168" y="49"/>
                      <a:pt x="163" y="51"/>
                      <a:pt x="160" y="52"/>
                    </a:cubicBezTo>
                    <a:cubicBezTo>
                      <a:pt x="157" y="53"/>
                      <a:pt x="160" y="58"/>
                      <a:pt x="163" y="58"/>
                    </a:cubicBezTo>
                    <a:cubicBezTo>
                      <a:pt x="166" y="58"/>
                      <a:pt x="168" y="61"/>
                      <a:pt x="171" y="61"/>
                    </a:cubicBezTo>
                    <a:cubicBezTo>
                      <a:pt x="173" y="61"/>
                      <a:pt x="174" y="66"/>
                      <a:pt x="174" y="69"/>
                    </a:cubicBezTo>
                    <a:cubicBezTo>
                      <a:pt x="174" y="72"/>
                      <a:pt x="171" y="73"/>
                      <a:pt x="167" y="73"/>
                    </a:cubicBezTo>
                    <a:cubicBezTo>
                      <a:pt x="163" y="73"/>
                      <a:pt x="161" y="70"/>
                      <a:pt x="158" y="69"/>
                    </a:cubicBezTo>
                    <a:cubicBezTo>
                      <a:pt x="156" y="69"/>
                      <a:pt x="156" y="74"/>
                      <a:pt x="154" y="75"/>
                    </a:cubicBezTo>
                    <a:cubicBezTo>
                      <a:pt x="152" y="76"/>
                      <a:pt x="152" y="71"/>
                      <a:pt x="149" y="71"/>
                    </a:cubicBezTo>
                    <a:cubicBezTo>
                      <a:pt x="146" y="71"/>
                      <a:pt x="142" y="71"/>
                      <a:pt x="141" y="68"/>
                    </a:cubicBezTo>
                    <a:cubicBezTo>
                      <a:pt x="140" y="65"/>
                      <a:pt x="133" y="64"/>
                      <a:pt x="130" y="67"/>
                    </a:cubicBezTo>
                    <a:cubicBezTo>
                      <a:pt x="127" y="70"/>
                      <a:pt x="126" y="69"/>
                      <a:pt x="124" y="67"/>
                    </a:cubicBezTo>
                    <a:cubicBezTo>
                      <a:pt x="121" y="65"/>
                      <a:pt x="114" y="68"/>
                      <a:pt x="113" y="70"/>
                    </a:cubicBezTo>
                    <a:cubicBezTo>
                      <a:pt x="112" y="73"/>
                      <a:pt x="106" y="74"/>
                      <a:pt x="102" y="71"/>
                    </a:cubicBezTo>
                    <a:cubicBezTo>
                      <a:pt x="98" y="69"/>
                      <a:pt x="96" y="68"/>
                      <a:pt x="96" y="71"/>
                    </a:cubicBezTo>
                    <a:cubicBezTo>
                      <a:pt x="96" y="75"/>
                      <a:pt x="93" y="72"/>
                      <a:pt x="93" y="70"/>
                    </a:cubicBezTo>
                    <a:cubicBezTo>
                      <a:pt x="93" y="68"/>
                      <a:pt x="86" y="64"/>
                      <a:pt x="83" y="62"/>
                    </a:cubicBezTo>
                    <a:cubicBezTo>
                      <a:pt x="80" y="60"/>
                      <a:pt x="71" y="60"/>
                      <a:pt x="70" y="58"/>
                    </a:cubicBezTo>
                    <a:cubicBezTo>
                      <a:pt x="70" y="56"/>
                      <a:pt x="64" y="54"/>
                      <a:pt x="62" y="58"/>
                    </a:cubicBezTo>
                    <a:cubicBezTo>
                      <a:pt x="61" y="61"/>
                      <a:pt x="58" y="59"/>
                      <a:pt x="56" y="58"/>
                    </a:cubicBezTo>
                    <a:cubicBezTo>
                      <a:pt x="54" y="57"/>
                      <a:pt x="50" y="59"/>
                      <a:pt x="48" y="60"/>
                    </a:cubicBezTo>
                    <a:cubicBezTo>
                      <a:pt x="46" y="61"/>
                      <a:pt x="39" y="66"/>
                      <a:pt x="36" y="66"/>
                    </a:cubicBezTo>
                    <a:cubicBezTo>
                      <a:pt x="32" y="66"/>
                      <a:pt x="34" y="70"/>
                      <a:pt x="30" y="71"/>
                    </a:cubicBezTo>
                    <a:cubicBezTo>
                      <a:pt x="25" y="72"/>
                      <a:pt x="26" y="75"/>
                      <a:pt x="27" y="77"/>
                    </a:cubicBezTo>
                    <a:cubicBezTo>
                      <a:pt x="27" y="79"/>
                      <a:pt x="30" y="83"/>
                      <a:pt x="26" y="84"/>
                    </a:cubicBezTo>
                    <a:cubicBezTo>
                      <a:pt x="22" y="86"/>
                      <a:pt x="20" y="79"/>
                      <a:pt x="17" y="77"/>
                    </a:cubicBezTo>
                    <a:cubicBezTo>
                      <a:pt x="13" y="74"/>
                      <a:pt x="10" y="77"/>
                      <a:pt x="10" y="81"/>
                    </a:cubicBezTo>
                    <a:cubicBezTo>
                      <a:pt x="10" y="84"/>
                      <a:pt x="6" y="84"/>
                      <a:pt x="4" y="88"/>
                    </a:cubicBezTo>
                    <a:cubicBezTo>
                      <a:pt x="2" y="91"/>
                      <a:pt x="8" y="92"/>
                      <a:pt x="8" y="93"/>
                    </a:cubicBezTo>
                    <a:cubicBezTo>
                      <a:pt x="8" y="95"/>
                      <a:pt x="5" y="96"/>
                      <a:pt x="4" y="97"/>
                    </a:cubicBezTo>
                    <a:cubicBezTo>
                      <a:pt x="3" y="97"/>
                      <a:pt x="0" y="102"/>
                      <a:pt x="1" y="104"/>
                    </a:cubicBezTo>
                    <a:cubicBezTo>
                      <a:pt x="2" y="105"/>
                      <a:pt x="8" y="105"/>
                      <a:pt x="8" y="108"/>
                    </a:cubicBezTo>
                    <a:cubicBezTo>
                      <a:pt x="7" y="112"/>
                      <a:pt x="7" y="115"/>
                      <a:pt x="10" y="114"/>
                    </a:cubicBezTo>
                    <a:cubicBezTo>
                      <a:pt x="13" y="113"/>
                      <a:pt x="16" y="114"/>
                      <a:pt x="18" y="114"/>
                    </a:cubicBezTo>
                    <a:cubicBezTo>
                      <a:pt x="20" y="114"/>
                      <a:pt x="21" y="118"/>
                      <a:pt x="25" y="122"/>
                    </a:cubicBezTo>
                    <a:cubicBezTo>
                      <a:pt x="28" y="126"/>
                      <a:pt x="30" y="128"/>
                      <a:pt x="26" y="129"/>
                    </a:cubicBezTo>
                    <a:cubicBezTo>
                      <a:pt x="23" y="130"/>
                      <a:pt x="24" y="132"/>
                      <a:pt x="29" y="134"/>
                    </a:cubicBezTo>
                    <a:cubicBezTo>
                      <a:pt x="30" y="134"/>
                      <a:pt x="31" y="135"/>
                      <a:pt x="32" y="136"/>
                    </a:cubicBezTo>
                    <a:cubicBezTo>
                      <a:pt x="33" y="136"/>
                      <a:pt x="34" y="135"/>
                      <a:pt x="35" y="135"/>
                    </a:cubicBezTo>
                    <a:cubicBezTo>
                      <a:pt x="40" y="130"/>
                      <a:pt x="51" y="125"/>
                      <a:pt x="58" y="127"/>
                    </a:cubicBezTo>
                    <a:cubicBezTo>
                      <a:pt x="66" y="129"/>
                      <a:pt x="72" y="126"/>
                      <a:pt x="76" y="130"/>
                    </a:cubicBezTo>
                    <a:cubicBezTo>
                      <a:pt x="79" y="135"/>
                      <a:pt x="76" y="144"/>
                      <a:pt x="77" y="147"/>
                    </a:cubicBezTo>
                    <a:cubicBezTo>
                      <a:pt x="78" y="150"/>
                      <a:pt x="71" y="151"/>
                      <a:pt x="66" y="150"/>
                    </a:cubicBezTo>
                    <a:cubicBezTo>
                      <a:pt x="61" y="149"/>
                      <a:pt x="51" y="152"/>
                      <a:pt x="52" y="155"/>
                    </a:cubicBezTo>
                    <a:cubicBezTo>
                      <a:pt x="53" y="158"/>
                      <a:pt x="57" y="165"/>
                      <a:pt x="50" y="161"/>
                    </a:cubicBezTo>
                    <a:cubicBezTo>
                      <a:pt x="44" y="158"/>
                      <a:pt x="41" y="165"/>
                      <a:pt x="45" y="165"/>
                    </a:cubicBezTo>
                    <a:cubicBezTo>
                      <a:pt x="48" y="165"/>
                      <a:pt x="53" y="169"/>
                      <a:pt x="53" y="172"/>
                    </a:cubicBezTo>
                    <a:cubicBezTo>
                      <a:pt x="53" y="175"/>
                      <a:pt x="54" y="182"/>
                      <a:pt x="57" y="181"/>
                    </a:cubicBezTo>
                    <a:cubicBezTo>
                      <a:pt x="60" y="180"/>
                      <a:pt x="60" y="186"/>
                      <a:pt x="65" y="186"/>
                    </a:cubicBezTo>
                    <a:cubicBezTo>
                      <a:pt x="70" y="185"/>
                      <a:pt x="74" y="187"/>
                      <a:pt x="70" y="191"/>
                    </a:cubicBezTo>
                    <a:cubicBezTo>
                      <a:pt x="67" y="196"/>
                      <a:pt x="73" y="208"/>
                      <a:pt x="74" y="205"/>
                    </a:cubicBezTo>
                    <a:cubicBezTo>
                      <a:pt x="75" y="203"/>
                      <a:pt x="74" y="200"/>
                      <a:pt x="75" y="197"/>
                    </a:cubicBezTo>
                    <a:cubicBezTo>
                      <a:pt x="73" y="191"/>
                      <a:pt x="84" y="191"/>
                      <a:pt x="87" y="191"/>
                    </a:cubicBezTo>
                    <a:cubicBezTo>
                      <a:pt x="90" y="191"/>
                      <a:pt x="97" y="196"/>
                      <a:pt x="101" y="202"/>
                    </a:cubicBezTo>
                    <a:cubicBezTo>
                      <a:pt x="105" y="207"/>
                      <a:pt x="109" y="204"/>
                      <a:pt x="109" y="204"/>
                    </a:cubicBezTo>
                    <a:cubicBezTo>
                      <a:pt x="110" y="154"/>
                      <a:pt x="110" y="154"/>
                      <a:pt x="110" y="154"/>
                    </a:cubicBezTo>
                    <a:cubicBezTo>
                      <a:pt x="139" y="146"/>
                      <a:pt x="139" y="146"/>
                      <a:pt x="139" y="146"/>
                    </a:cubicBezTo>
                    <a:cubicBezTo>
                      <a:pt x="139" y="145"/>
                      <a:pt x="139" y="145"/>
                      <a:pt x="140" y="144"/>
                    </a:cubicBezTo>
                    <a:cubicBezTo>
                      <a:pt x="143" y="139"/>
                      <a:pt x="148" y="143"/>
                      <a:pt x="150" y="145"/>
                    </a:cubicBezTo>
                    <a:cubicBezTo>
                      <a:pt x="151" y="146"/>
                      <a:pt x="151" y="139"/>
                      <a:pt x="155" y="139"/>
                    </a:cubicBezTo>
                    <a:cubicBezTo>
                      <a:pt x="159" y="140"/>
                      <a:pt x="154" y="146"/>
                      <a:pt x="157" y="146"/>
                    </a:cubicBezTo>
                    <a:cubicBezTo>
                      <a:pt x="160" y="146"/>
                      <a:pt x="165" y="154"/>
                      <a:pt x="163" y="161"/>
                    </a:cubicBezTo>
                    <a:cubicBezTo>
                      <a:pt x="168" y="164"/>
                      <a:pt x="176" y="173"/>
                      <a:pt x="176" y="175"/>
                    </a:cubicBezTo>
                    <a:cubicBezTo>
                      <a:pt x="177" y="178"/>
                      <a:pt x="189" y="173"/>
                      <a:pt x="191" y="174"/>
                    </a:cubicBezTo>
                    <a:cubicBezTo>
                      <a:pt x="193" y="175"/>
                      <a:pt x="211" y="175"/>
                      <a:pt x="214" y="175"/>
                    </a:cubicBezTo>
                    <a:cubicBezTo>
                      <a:pt x="217" y="175"/>
                      <a:pt x="219" y="181"/>
                      <a:pt x="223" y="182"/>
                    </a:cubicBezTo>
                    <a:cubicBezTo>
                      <a:pt x="226" y="183"/>
                      <a:pt x="225" y="188"/>
                      <a:pt x="225" y="192"/>
                    </a:cubicBezTo>
                    <a:cubicBezTo>
                      <a:pt x="226" y="196"/>
                      <a:pt x="231" y="200"/>
                      <a:pt x="232" y="204"/>
                    </a:cubicBezTo>
                    <a:cubicBezTo>
                      <a:pt x="232" y="208"/>
                      <a:pt x="238" y="206"/>
                      <a:pt x="241" y="207"/>
                    </a:cubicBezTo>
                    <a:cubicBezTo>
                      <a:pt x="245" y="208"/>
                      <a:pt x="250" y="209"/>
                      <a:pt x="251" y="212"/>
                    </a:cubicBezTo>
                    <a:cubicBezTo>
                      <a:pt x="251" y="216"/>
                      <a:pt x="256" y="213"/>
                      <a:pt x="256" y="211"/>
                    </a:cubicBezTo>
                    <a:cubicBezTo>
                      <a:pt x="256" y="208"/>
                      <a:pt x="261" y="204"/>
                      <a:pt x="268" y="202"/>
                    </a:cubicBezTo>
                    <a:cubicBezTo>
                      <a:pt x="271" y="201"/>
                      <a:pt x="273" y="201"/>
                      <a:pt x="274" y="201"/>
                    </a:cubicBezTo>
                    <a:cubicBezTo>
                      <a:pt x="275" y="198"/>
                      <a:pt x="277" y="195"/>
                      <a:pt x="278" y="195"/>
                    </a:cubicBezTo>
                    <a:cubicBezTo>
                      <a:pt x="280" y="194"/>
                      <a:pt x="284" y="191"/>
                      <a:pt x="285" y="187"/>
                    </a:cubicBezTo>
                    <a:cubicBezTo>
                      <a:pt x="285" y="184"/>
                      <a:pt x="294" y="184"/>
                      <a:pt x="300" y="187"/>
                    </a:cubicBezTo>
                    <a:cubicBezTo>
                      <a:pt x="306" y="190"/>
                      <a:pt x="310" y="190"/>
                      <a:pt x="310" y="185"/>
                    </a:cubicBezTo>
                    <a:cubicBezTo>
                      <a:pt x="310" y="181"/>
                      <a:pt x="319" y="179"/>
                      <a:pt x="322" y="181"/>
                    </a:cubicBezTo>
                    <a:cubicBezTo>
                      <a:pt x="324" y="182"/>
                      <a:pt x="333" y="187"/>
                      <a:pt x="337" y="185"/>
                    </a:cubicBezTo>
                    <a:cubicBezTo>
                      <a:pt x="341" y="183"/>
                      <a:pt x="361" y="185"/>
                      <a:pt x="366" y="187"/>
                    </a:cubicBezTo>
                    <a:cubicBezTo>
                      <a:pt x="371" y="188"/>
                      <a:pt x="372" y="185"/>
                      <a:pt x="376" y="190"/>
                    </a:cubicBezTo>
                    <a:cubicBezTo>
                      <a:pt x="380" y="194"/>
                      <a:pt x="382" y="190"/>
                      <a:pt x="386" y="193"/>
                    </a:cubicBezTo>
                    <a:cubicBezTo>
                      <a:pt x="386" y="192"/>
                      <a:pt x="385" y="190"/>
                      <a:pt x="385" y="189"/>
                    </a:cubicBezTo>
                    <a:cubicBezTo>
                      <a:pt x="385" y="185"/>
                      <a:pt x="390" y="183"/>
                      <a:pt x="391" y="180"/>
                    </a:cubicBezTo>
                    <a:cubicBezTo>
                      <a:pt x="392" y="178"/>
                      <a:pt x="387" y="170"/>
                      <a:pt x="387" y="168"/>
                    </a:cubicBezTo>
                    <a:cubicBezTo>
                      <a:pt x="387" y="165"/>
                      <a:pt x="387" y="159"/>
                      <a:pt x="384" y="158"/>
                    </a:cubicBezTo>
                    <a:cubicBezTo>
                      <a:pt x="382" y="157"/>
                      <a:pt x="389" y="153"/>
                      <a:pt x="391" y="153"/>
                    </a:cubicBezTo>
                    <a:cubicBezTo>
                      <a:pt x="395" y="154"/>
                      <a:pt x="400" y="150"/>
                      <a:pt x="401" y="151"/>
                    </a:cubicBezTo>
                    <a:cubicBezTo>
                      <a:pt x="403" y="153"/>
                      <a:pt x="406" y="153"/>
                      <a:pt x="410" y="153"/>
                    </a:cubicBezTo>
                    <a:cubicBezTo>
                      <a:pt x="413" y="153"/>
                      <a:pt x="411" y="150"/>
                      <a:pt x="410" y="148"/>
                    </a:cubicBezTo>
                    <a:cubicBezTo>
                      <a:pt x="408" y="147"/>
                      <a:pt x="415" y="132"/>
                      <a:pt x="416" y="127"/>
                    </a:cubicBezTo>
                    <a:cubicBezTo>
                      <a:pt x="418" y="121"/>
                      <a:pt x="420" y="126"/>
                      <a:pt x="424" y="127"/>
                    </a:cubicBezTo>
                    <a:cubicBezTo>
                      <a:pt x="428" y="127"/>
                      <a:pt x="432" y="126"/>
                      <a:pt x="434" y="127"/>
                    </a:cubicBezTo>
                    <a:cubicBezTo>
                      <a:pt x="437" y="129"/>
                      <a:pt x="443" y="126"/>
                      <a:pt x="445" y="124"/>
                    </a:cubicBezTo>
                    <a:cubicBezTo>
                      <a:pt x="447" y="121"/>
                      <a:pt x="443" y="120"/>
                      <a:pt x="443" y="115"/>
                    </a:cubicBezTo>
                    <a:cubicBezTo>
                      <a:pt x="444" y="109"/>
                      <a:pt x="447" y="106"/>
                      <a:pt x="451" y="106"/>
                    </a:cubicBezTo>
                    <a:cubicBezTo>
                      <a:pt x="455" y="106"/>
                      <a:pt x="456" y="103"/>
                      <a:pt x="456" y="100"/>
                    </a:cubicBezTo>
                    <a:cubicBezTo>
                      <a:pt x="456" y="97"/>
                      <a:pt x="459" y="96"/>
                      <a:pt x="460" y="92"/>
                    </a:cubicBezTo>
                    <a:cubicBezTo>
                      <a:pt x="458" y="91"/>
                      <a:pt x="457" y="90"/>
                      <a:pt x="457" y="88"/>
                    </a:cubicBezTo>
                    <a:close/>
                    <a:moveTo>
                      <a:pt x="172" y="137"/>
                    </a:moveTo>
                    <a:cubicBezTo>
                      <a:pt x="171" y="139"/>
                      <a:pt x="157" y="136"/>
                      <a:pt x="156" y="133"/>
                    </a:cubicBezTo>
                    <a:cubicBezTo>
                      <a:pt x="155" y="130"/>
                      <a:pt x="175" y="133"/>
                      <a:pt x="172" y="137"/>
                    </a:cubicBezTo>
                    <a:close/>
                    <a:moveTo>
                      <a:pt x="361" y="136"/>
                    </a:moveTo>
                    <a:cubicBezTo>
                      <a:pt x="352" y="136"/>
                      <a:pt x="331" y="131"/>
                      <a:pt x="323" y="140"/>
                    </a:cubicBezTo>
                    <a:cubicBezTo>
                      <a:pt x="315" y="149"/>
                      <a:pt x="321" y="154"/>
                      <a:pt x="317" y="155"/>
                    </a:cubicBezTo>
                    <a:cubicBezTo>
                      <a:pt x="313" y="155"/>
                      <a:pt x="311" y="141"/>
                      <a:pt x="316" y="136"/>
                    </a:cubicBezTo>
                    <a:cubicBezTo>
                      <a:pt x="320" y="132"/>
                      <a:pt x="335" y="130"/>
                      <a:pt x="345" y="132"/>
                    </a:cubicBezTo>
                    <a:cubicBezTo>
                      <a:pt x="354" y="134"/>
                      <a:pt x="371" y="130"/>
                      <a:pt x="373" y="131"/>
                    </a:cubicBezTo>
                    <a:cubicBezTo>
                      <a:pt x="375" y="131"/>
                      <a:pt x="371" y="136"/>
                      <a:pt x="361" y="13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5" name="Freeform 163">
                <a:extLst>
                  <a:ext uri="{FF2B5EF4-FFF2-40B4-BE49-F238E27FC236}">
                    <a16:creationId xmlns:a16="http://schemas.microsoft.com/office/drawing/2014/main" id="{14C67F91-91E0-411F-BE95-AA5C934879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5363" y="1406525"/>
                <a:ext cx="4227512" cy="1620838"/>
              </a:xfrm>
              <a:custGeom>
                <a:avLst/>
                <a:gdLst>
                  <a:gd name="T0" fmla="*/ 811 w 1926"/>
                  <a:gd name="T1" fmla="*/ 44 h 738"/>
                  <a:gd name="T2" fmla="*/ 883 w 1926"/>
                  <a:gd name="T3" fmla="*/ 71 h 738"/>
                  <a:gd name="T4" fmla="*/ 891 w 1926"/>
                  <a:gd name="T5" fmla="*/ 92 h 738"/>
                  <a:gd name="T6" fmla="*/ 1450 w 1926"/>
                  <a:gd name="T7" fmla="*/ 169 h 738"/>
                  <a:gd name="T8" fmla="*/ 1330 w 1926"/>
                  <a:gd name="T9" fmla="*/ 168 h 738"/>
                  <a:gd name="T10" fmla="*/ 1358 w 1926"/>
                  <a:gd name="T11" fmla="*/ 198 h 738"/>
                  <a:gd name="T12" fmla="*/ 1387 w 1926"/>
                  <a:gd name="T13" fmla="*/ 564 h 738"/>
                  <a:gd name="T14" fmla="*/ 1922 w 1926"/>
                  <a:gd name="T15" fmla="*/ 348 h 738"/>
                  <a:gd name="T16" fmla="*/ 1737 w 1926"/>
                  <a:gd name="T17" fmla="*/ 273 h 738"/>
                  <a:gd name="T18" fmla="*/ 1592 w 1926"/>
                  <a:gd name="T19" fmla="*/ 280 h 738"/>
                  <a:gd name="T20" fmla="*/ 1409 w 1926"/>
                  <a:gd name="T21" fmla="*/ 233 h 738"/>
                  <a:gd name="T22" fmla="*/ 1331 w 1926"/>
                  <a:gd name="T23" fmla="*/ 239 h 738"/>
                  <a:gd name="T24" fmla="*/ 1228 w 1926"/>
                  <a:gd name="T25" fmla="*/ 219 h 738"/>
                  <a:gd name="T26" fmla="*/ 1122 w 1926"/>
                  <a:gd name="T27" fmla="*/ 205 h 738"/>
                  <a:gd name="T28" fmla="*/ 962 w 1926"/>
                  <a:gd name="T29" fmla="*/ 209 h 738"/>
                  <a:gd name="T30" fmla="*/ 1039 w 1926"/>
                  <a:gd name="T31" fmla="*/ 126 h 738"/>
                  <a:gd name="T32" fmla="*/ 926 w 1926"/>
                  <a:gd name="T33" fmla="*/ 102 h 738"/>
                  <a:gd name="T34" fmla="*/ 826 w 1926"/>
                  <a:gd name="T35" fmla="*/ 138 h 738"/>
                  <a:gd name="T36" fmla="*/ 760 w 1926"/>
                  <a:gd name="T37" fmla="*/ 180 h 738"/>
                  <a:gd name="T38" fmla="*/ 663 w 1926"/>
                  <a:gd name="T39" fmla="*/ 216 h 738"/>
                  <a:gd name="T40" fmla="*/ 628 w 1926"/>
                  <a:gd name="T41" fmla="*/ 227 h 738"/>
                  <a:gd name="T42" fmla="*/ 651 w 1926"/>
                  <a:gd name="T43" fmla="*/ 295 h 738"/>
                  <a:gd name="T44" fmla="*/ 591 w 1926"/>
                  <a:gd name="T45" fmla="*/ 333 h 738"/>
                  <a:gd name="T46" fmla="*/ 592 w 1926"/>
                  <a:gd name="T47" fmla="*/ 209 h 738"/>
                  <a:gd name="T48" fmla="*/ 524 w 1926"/>
                  <a:gd name="T49" fmla="*/ 286 h 738"/>
                  <a:gd name="T50" fmla="*/ 428 w 1926"/>
                  <a:gd name="T51" fmla="*/ 298 h 738"/>
                  <a:gd name="T52" fmla="*/ 289 w 1926"/>
                  <a:gd name="T53" fmla="*/ 322 h 738"/>
                  <a:gd name="T54" fmla="*/ 257 w 1926"/>
                  <a:gd name="T55" fmla="*/ 337 h 738"/>
                  <a:gd name="T56" fmla="*/ 178 w 1926"/>
                  <a:gd name="T57" fmla="*/ 376 h 738"/>
                  <a:gd name="T58" fmla="*/ 236 w 1926"/>
                  <a:gd name="T59" fmla="*/ 311 h 738"/>
                  <a:gd name="T60" fmla="*/ 114 w 1926"/>
                  <a:gd name="T61" fmla="*/ 280 h 738"/>
                  <a:gd name="T62" fmla="*/ 122 w 1926"/>
                  <a:gd name="T63" fmla="*/ 380 h 738"/>
                  <a:gd name="T64" fmla="*/ 88 w 1926"/>
                  <a:gd name="T65" fmla="*/ 480 h 738"/>
                  <a:gd name="T66" fmla="*/ 145 w 1926"/>
                  <a:gd name="T67" fmla="*/ 559 h 738"/>
                  <a:gd name="T68" fmla="*/ 199 w 1926"/>
                  <a:gd name="T69" fmla="*/ 607 h 738"/>
                  <a:gd name="T70" fmla="*/ 209 w 1926"/>
                  <a:gd name="T71" fmla="*/ 668 h 738"/>
                  <a:gd name="T72" fmla="*/ 304 w 1926"/>
                  <a:gd name="T73" fmla="*/ 730 h 738"/>
                  <a:gd name="T74" fmla="*/ 305 w 1926"/>
                  <a:gd name="T75" fmla="*/ 628 h 738"/>
                  <a:gd name="T76" fmla="*/ 397 w 1926"/>
                  <a:gd name="T77" fmla="*/ 602 h 738"/>
                  <a:gd name="T78" fmla="*/ 470 w 1926"/>
                  <a:gd name="T79" fmla="*/ 569 h 738"/>
                  <a:gd name="T80" fmla="*/ 596 w 1926"/>
                  <a:gd name="T81" fmla="*/ 549 h 738"/>
                  <a:gd name="T82" fmla="*/ 712 w 1926"/>
                  <a:gd name="T83" fmla="*/ 603 h 738"/>
                  <a:gd name="T84" fmla="*/ 820 w 1926"/>
                  <a:gd name="T85" fmla="*/ 603 h 738"/>
                  <a:gd name="T86" fmla="*/ 920 w 1926"/>
                  <a:gd name="T87" fmla="*/ 595 h 738"/>
                  <a:gd name="T88" fmla="*/ 1067 w 1926"/>
                  <a:gd name="T89" fmla="*/ 613 h 738"/>
                  <a:gd name="T90" fmla="*/ 1192 w 1926"/>
                  <a:gd name="T91" fmla="*/ 577 h 738"/>
                  <a:gd name="T92" fmla="*/ 1275 w 1926"/>
                  <a:gd name="T93" fmla="*/ 677 h 738"/>
                  <a:gd name="T94" fmla="*/ 1360 w 1926"/>
                  <a:gd name="T95" fmla="*/ 596 h 738"/>
                  <a:gd name="T96" fmla="*/ 1314 w 1926"/>
                  <a:gd name="T97" fmla="*/ 545 h 738"/>
                  <a:gd name="T98" fmla="*/ 1469 w 1926"/>
                  <a:gd name="T99" fmla="*/ 463 h 738"/>
                  <a:gd name="T100" fmla="*/ 1574 w 1926"/>
                  <a:gd name="T101" fmla="*/ 428 h 738"/>
                  <a:gd name="T102" fmla="*/ 1593 w 1926"/>
                  <a:gd name="T103" fmla="*/ 459 h 738"/>
                  <a:gd name="T104" fmla="*/ 1587 w 1926"/>
                  <a:gd name="T105" fmla="*/ 547 h 738"/>
                  <a:gd name="T106" fmla="*/ 1650 w 1926"/>
                  <a:gd name="T107" fmla="*/ 458 h 738"/>
                  <a:gd name="T108" fmla="*/ 1786 w 1926"/>
                  <a:gd name="T109" fmla="*/ 383 h 738"/>
                  <a:gd name="T110" fmla="*/ 1837 w 1926"/>
                  <a:gd name="T111" fmla="*/ 359 h 738"/>
                  <a:gd name="T112" fmla="*/ 1915 w 1926"/>
                  <a:gd name="T113" fmla="*/ 357 h 738"/>
                  <a:gd name="T114" fmla="*/ 325 w 1926"/>
                  <a:gd name="T115" fmla="*/ 27 h 738"/>
                  <a:gd name="T116" fmla="*/ 428 w 1926"/>
                  <a:gd name="T117" fmla="*/ 10 h 738"/>
                  <a:gd name="T118" fmla="*/ 373 w 1926"/>
                  <a:gd name="T119" fmla="*/ 222 h 738"/>
                  <a:gd name="T120" fmla="*/ 468 w 1926"/>
                  <a:gd name="T121" fmla="*/ 163 h 738"/>
                  <a:gd name="T122" fmla="*/ 397 w 1926"/>
                  <a:gd name="T123" fmla="*/ 19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26" h="738">
                    <a:moveTo>
                      <a:pt x="29" y="534"/>
                    </a:moveTo>
                    <a:cubicBezTo>
                      <a:pt x="27" y="534"/>
                      <a:pt x="23" y="533"/>
                      <a:pt x="22" y="531"/>
                    </a:cubicBezTo>
                    <a:cubicBezTo>
                      <a:pt x="21" y="530"/>
                      <a:pt x="18" y="530"/>
                      <a:pt x="15" y="531"/>
                    </a:cubicBezTo>
                    <a:cubicBezTo>
                      <a:pt x="16" y="531"/>
                      <a:pt x="17" y="531"/>
                      <a:pt x="17" y="532"/>
                    </a:cubicBezTo>
                    <a:cubicBezTo>
                      <a:pt x="19" y="535"/>
                      <a:pt x="11" y="535"/>
                      <a:pt x="13" y="538"/>
                    </a:cubicBezTo>
                    <a:cubicBezTo>
                      <a:pt x="16" y="542"/>
                      <a:pt x="8" y="542"/>
                      <a:pt x="8" y="538"/>
                    </a:cubicBezTo>
                    <a:cubicBezTo>
                      <a:pt x="8" y="535"/>
                      <a:pt x="0" y="537"/>
                      <a:pt x="0" y="539"/>
                    </a:cubicBezTo>
                    <a:cubicBezTo>
                      <a:pt x="0" y="540"/>
                      <a:pt x="0" y="541"/>
                      <a:pt x="0" y="542"/>
                    </a:cubicBezTo>
                    <a:cubicBezTo>
                      <a:pt x="2" y="542"/>
                      <a:pt x="4" y="543"/>
                      <a:pt x="5" y="544"/>
                    </a:cubicBezTo>
                    <a:cubicBezTo>
                      <a:pt x="7" y="544"/>
                      <a:pt x="27" y="546"/>
                      <a:pt x="35" y="545"/>
                    </a:cubicBezTo>
                    <a:cubicBezTo>
                      <a:pt x="34" y="543"/>
                      <a:pt x="35" y="539"/>
                      <a:pt x="35" y="537"/>
                    </a:cubicBezTo>
                    <a:cubicBezTo>
                      <a:pt x="35" y="535"/>
                      <a:pt x="30" y="533"/>
                      <a:pt x="29" y="534"/>
                    </a:cubicBezTo>
                    <a:close/>
                    <a:moveTo>
                      <a:pt x="822" y="35"/>
                    </a:moveTo>
                    <a:cubicBezTo>
                      <a:pt x="828" y="38"/>
                      <a:pt x="826" y="40"/>
                      <a:pt x="819" y="40"/>
                    </a:cubicBezTo>
                    <a:cubicBezTo>
                      <a:pt x="813" y="40"/>
                      <a:pt x="807" y="42"/>
                      <a:pt x="811" y="44"/>
                    </a:cubicBezTo>
                    <a:cubicBezTo>
                      <a:pt x="815" y="45"/>
                      <a:pt x="814" y="49"/>
                      <a:pt x="821" y="50"/>
                    </a:cubicBezTo>
                    <a:cubicBezTo>
                      <a:pt x="828" y="52"/>
                      <a:pt x="835" y="46"/>
                      <a:pt x="835" y="42"/>
                    </a:cubicBezTo>
                    <a:cubicBezTo>
                      <a:pt x="834" y="38"/>
                      <a:pt x="859" y="35"/>
                      <a:pt x="866" y="33"/>
                    </a:cubicBezTo>
                    <a:cubicBezTo>
                      <a:pt x="872" y="31"/>
                      <a:pt x="861" y="24"/>
                      <a:pt x="869" y="24"/>
                    </a:cubicBezTo>
                    <a:cubicBezTo>
                      <a:pt x="876" y="23"/>
                      <a:pt x="873" y="20"/>
                      <a:pt x="864" y="18"/>
                    </a:cubicBezTo>
                    <a:cubicBezTo>
                      <a:pt x="855" y="17"/>
                      <a:pt x="859" y="9"/>
                      <a:pt x="856" y="7"/>
                    </a:cubicBezTo>
                    <a:cubicBezTo>
                      <a:pt x="853" y="4"/>
                      <a:pt x="851" y="10"/>
                      <a:pt x="839" y="12"/>
                    </a:cubicBezTo>
                    <a:cubicBezTo>
                      <a:pt x="828" y="15"/>
                      <a:pt x="822" y="18"/>
                      <a:pt x="827" y="20"/>
                    </a:cubicBezTo>
                    <a:cubicBezTo>
                      <a:pt x="831" y="22"/>
                      <a:pt x="827" y="28"/>
                      <a:pt x="822" y="28"/>
                    </a:cubicBezTo>
                    <a:cubicBezTo>
                      <a:pt x="817" y="27"/>
                      <a:pt x="816" y="33"/>
                      <a:pt x="822" y="35"/>
                    </a:cubicBezTo>
                    <a:close/>
                    <a:moveTo>
                      <a:pt x="840" y="45"/>
                    </a:moveTo>
                    <a:cubicBezTo>
                      <a:pt x="840" y="48"/>
                      <a:pt x="829" y="52"/>
                      <a:pt x="832" y="55"/>
                    </a:cubicBezTo>
                    <a:cubicBezTo>
                      <a:pt x="835" y="57"/>
                      <a:pt x="837" y="56"/>
                      <a:pt x="840" y="57"/>
                    </a:cubicBezTo>
                    <a:cubicBezTo>
                      <a:pt x="844" y="58"/>
                      <a:pt x="845" y="66"/>
                      <a:pt x="851" y="65"/>
                    </a:cubicBezTo>
                    <a:cubicBezTo>
                      <a:pt x="857" y="63"/>
                      <a:pt x="874" y="71"/>
                      <a:pt x="883" y="71"/>
                    </a:cubicBezTo>
                    <a:cubicBezTo>
                      <a:pt x="893" y="71"/>
                      <a:pt x="894" y="63"/>
                      <a:pt x="891" y="63"/>
                    </a:cubicBezTo>
                    <a:cubicBezTo>
                      <a:pt x="888" y="63"/>
                      <a:pt x="891" y="58"/>
                      <a:pt x="896" y="50"/>
                    </a:cubicBezTo>
                    <a:cubicBezTo>
                      <a:pt x="901" y="43"/>
                      <a:pt x="879" y="37"/>
                      <a:pt x="879" y="43"/>
                    </a:cubicBezTo>
                    <a:cubicBezTo>
                      <a:pt x="879" y="49"/>
                      <a:pt x="873" y="42"/>
                      <a:pt x="871" y="38"/>
                    </a:cubicBezTo>
                    <a:cubicBezTo>
                      <a:pt x="869" y="34"/>
                      <a:pt x="840" y="41"/>
                      <a:pt x="840" y="45"/>
                    </a:cubicBezTo>
                    <a:close/>
                    <a:moveTo>
                      <a:pt x="576" y="206"/>
                    </a:moveTo>
                    <a:cubicBezTo>
                      <a:pt x="580" y="206"/>
                      <a:pt x="592" y="204"/>
                      <a:pt x="593" y="202"/>
                    </a:cubicBezTo>
                    <a:cubicBezTo>
                      <a:pt x="594" y="199"/>
                      <a:pt x="588" y="197"/>
                      <a:pt x="581" y="197"/>
                    </a:cubicBezTo>
                    <a:cubicBezTo>
                      <a:pt x="573" y="197"/>
                      <a:pt x="572" y="205"/>
                      <a:pt x="576" y="206"/>
                    </a:cubicBezTo>
                    <a:close/>
                    <a:moveTo>
                      <a:pt x="511" y="20"/>
                    </a:moveTo>
                    <a:cubicBezTo>
                      <a:pt x="524" y="19"/>
                      <a:pt x="524" y="12"/>
                      <a:pt x="517" y="11"/>
                    </a:cubicBezTo>
                    <a:cubicBezTo>
                      <a:pt x="510" y="9"/>
                      <a:pt x="509" y="15"/>
                      <a:pt x="506" y="14"/>
                    </a:cubicBezTo>
                    <a:cubicBezTo>
                      <a:pt x="503" y="14"/>
                      <a:pt x="490" y="16"/>
                      <a:pt x="493" y="19"/>
                    </a:cubicBezTo>
                    <a:cubicBezTo>
                      <a:pt x="496" y="23"/>
                      <a:pt x="505" y="21"/>
                      <a:pt x="511" y="20"/>
                    </a:cubicBezTo>
                    <a:close/>
                    <a:moveTo>
                      <a:pt x="891" y="92"/>
                    </a:moveTo>
                    <a:cubicBezTo>
                      <a:pt x="896" y="94"/>
                      <a:pt x="911" y="88"/>
                      <a:pt x="921" y="89"/>
                    </a:cubicBezTo>
                    <a:cubicBezTo>
                      <a:pt x="931" y="89"/>
                      <a:pt x="959" y="81"/>
                      <a:pt x="960" y="76"/>
                    </a:cubicBezTo>
                    <a:cubicBezTo>
                      <a:pt x="961" y="70"/>
                      <a:pt x="950" y="71"/>
                      <a:pt x="945" y="66"/>
                    </a:cubicBezTo>
                    <a:cubicBezTo>
                      <a:pt x="941" y="61"/>
                      <a:pt x="931" y="65"/>
                      <a:pt x="929" y="69"/>
                    </a:cubicBezTo>
                    <a:cubicBezTo>
                      <a:pt x="927" y="73"/>
                      <a:pt x="924" y="70"/>
                      <a:pt x="930" y="63"/>
                    </a:cubicBezTo>
                    <a:cubicBezTo>
                      <a:pt x="937" y="57"/>
                      <a:pt x="924" y="52"/>
                      <a:pt x="924" y="56"/>
                    </a:cubicBezTo>
                    <a:cubicBezTo>
                      <a:pt x="923" y="60"/>
                      <a:pt x="912" y="57"/>
                      <a:pt x="912" y="60"/>
                    </a:cubicBezTo>
                    <a:cubicBezTo>
                      <a:pt x="912" y="64"/>
                      <a:pt x="907" y="66"/>
                      <a:pt x="908" y="69"/>
                    </a:cubicBezTo>
                    <a:cubicBezTo>
                      <a:pt x="908" y="73"/>
                      <a:pt x="900" y="67"/>
                      <a:pt x="899" y="76"/>
                    </a:cubicBezTo>
                    <a:cubicBezTo>
                      <a:pt x="899" y="84"/>
                      <a:pt x="886" y="89"/>
                      <a:pt x="891" y="92"/>
                    </a:cubicBezTo>
                    <a:close/>
                    <a:moveTo>
                      <a:pt x="813" y="12"/>
                    </a:moveTo>
                    <a:cubicBezTo>
                      <a:pt x="815" y="7"/>
                      <a:pt x="792" y="9"/>
                      <a:pt x="798" y="14"/>
                    </a:cubicBezTo>
                    <a:cubicBezTo>
                      <a:pt x="800" y="15"/>
                      <a:pt x="812" y="17"/>
                      <a:pt x="813" y="12"/>
                    </a:cubicBezTo>
                    <a:close/>
                    <a:moveTo>
                      <a:pt x="1422" y="160"/>
                    </a:moveTo>
                    <a:cubicBezTo>
                      <a:pt x="1430" y="161"/>
                      <a:pt x="1434" y="168"/>
                      <a:pt x="1450" y="169"/>
                    </a:cubicBezTo>
                    <a:cubicBezTo>
                      <a:pt x="1465" y="170"/>
                      <a:pt x="1476" y="167"/>
                      <a:pt x="1477" y="164"/>
                    </a:cubicBezTo>
                    <a:cubicBezTo>
                      <a:pt x="1477" y="161"/>
                      <a:pt x="1463" y="156"/>
                      <a:pt x="1458" y="158"/>
                    </a:cubicBezTo>
                    <a:cubicBezTo>
                      <a:pt x="1454" y="161"/>
                      <a:pt x="1451" y="154"/>
                      <a:pt x="1445" y="156"/>
                    </a:cubicBezTo>
                    <a:cubicBezTo>
                      <a:pt x="1440" y="157"/>
                      <a:pt x="1433" y="157"/>
                      <a:pt x="1430" y="152"/>
                    </a:cubicBezTo>
                    <a:cubicBezTo>
                      <a:pt x="1427" y="148"/>
                      <a:pt x="1418" y="160"/>
                      <a:pt x="1422" y="160"/>
                    </a:cubicBezTo>
                    <a:close/>
                    <a:moveTo>
                      <a:pt x="1364" y="181"/>
                    </a:moveTo>
                    <a:cubicBezTo>
                      <a:pt x="1364" y="176"/>
                      <a:pt x="1346" y="183"/>
                      <a:pt x="1354" y="185"/>
                    </a:cubicBezTo>
                    <a:cubicBezTo>
                      <a:pt x="1358" y="187"/>
                      <a:pt x="1364" y="186"/>
                      <a:pt x="1364" y="181"/>
                    </a:cubicBezTo>
                    <a:close/>
                    <a:moveTo>
                      <a:pt x="1794" y="253"/>
                    </a:moveTo>
                    <a:cubicBezTo>
                      <a:pt x="1801" y="257"/>
                      <a:pt x="1805" y="249"/>
                      <a:pt x="1810" y="253"/>
                    </a:cubicBezTo>
                    <a:cubicBezTo>
                      <a:pt x="1816" y="257"/>
                      <a:pt x="1829" y="251"/>
                      <a:pt x="1834" y="250"/>
                    </a:cubicBezTo>
                    <a:cubicBezTo>
                      <a:pt x="1839" y="249"/>
                      <a:pt x="1837" y="243"/>
                      <a:pt x="1822" y="241"/>
                    </a:cubicBezTo>
                    <a:cubicBezTo>
                      <a:pt x="1807" y="239"/>
                      <a:pt x="1787" y="250"/>
                      <a:pt x="1794" y="253"/>
                    </a:cubicBezTo>
                    <a:close/>
                    <a:moveTo>
                      <a:pt x="1321" y="160"/>
                    </a:moveTo>
                    <a:cubicBezTo>
                      <a:pt x="1326" y="163"/>
                      <a:pt x="1328" y="165"/>
                      <a:pt x="1330" y="168"/>
                    </a:cubicBezTo>
                    <a:cubicBezTo>
                      <a:pt x="1333" y="170"/>
                      <a:pt x="1343" y="166"/>
                      <a:pt x="1347" y="165"/>
                    </a:cubicBezTo>
                    <a:cubicBezTo>
                      <a:pt x="1351" y="164"/>
                      <a:pt x="1351" y="171"/>
                      <a:pt x="1358" y="167"/>
                    </a:cubicBezTo>
                    <a:cubicBezTo>
                      <a:pt x="1364" y="163"/>
                      <a:pt x="1370" y="165"/>
                      <a:pt x="1378" y="165"/>
                    </a:cubicBezTo>
                    <a:cubicBezTo>
                      <a:pt x="1385" y="165"/>
                      <a:pt x="1376" y="156"/>
                      <a:pt x="1377" y="152"/>
                    </a:cubicBezTo>
                    <a:cubicBezTo>
                      <a:pt x="1377" y="148"/>
                      <a:pt x="1385" y="151"/>
                      <a:pt x="1383" y="154"/>
                    </a:cubicBezTo>
                    <a:cubicBezTo>
                      <a:pt x="1380" y="157"/>
                      <a:pt x="1387" y="165"/>
                      <a:pt x="1397" y="164"/>
                    </a:cubicBezTo>
                    <a:cubicBezTo>
                      <a:pt x="1408" y="164"/>
                      <a:pt x="1400" y="157"/>
                      <a:pt x="1405" y="155"/>
                    </a:cubicBezTo>
                    <a:cubicBezTo>
                      <a:pt x="1411" y="152"/>
                      <a:pt x="1410" y="150"/>
                      <a:pt x="1402" y="145"/>
                    </a:cubicBezTo>
                    <a:cubicBezTo>
                      <a:pt x="1395" y="140"/>
                      <a:pt x="1385" y="143"/>
                      <a:pt x="1378" y="140"/>
                    </a:cubicBezTo>
                    <a:cubicBezTo>
                      <a:pt x="1371" y="137"/>
                      <a:pt x="1362" y="137"/>
                      <a:pt x="1362" y="144"/>
                    </a:cubicBezTo>
                    <a:cubicBezTo>
                      <a:pt x="1362" y="152"/>
                      <a:pt x="1348" y="136"/>
                      <a:pt x="1340" y="134"/>
                    </a:cubicBezTo>
                    <a:cubicBezTo>
                      <a:pt x="1333" y="132"/>
                      <a:pt x="1310" y="155"/>
                      <a:pt x="1321" y="160"/>
                    </a:cubicBezTo>
                    <a:close/>
                    <a:moveTo>
                      <a:pt x="1391" y="203"/>
                    </a:moveTo>
                    <a:cubicBezTo>
                      <a:pt x="1397" y="202"/>
                      <a:pt x="1387" y="191"/>
                      <a:pt x="1376" y="189"/>
                    </a:cubicBezTo>
                    <a:cubicBezTo>
                      <a:pt x="1366" y="187"/>
                      <a:pt x="1356" y="196"/>
                      <a:pt x="1358" y="198"/>
                    </a:cubicBezTo>
                    <a:cubicBezTo>
                      <a:pt x="1361" y="202"/>
                      <a:pt x="1385" y="204"/>
                      <a:pt x="1391" y="203"/>
                    </a:cubicBezTo>
                    <a:close/>
                    <a:moveTo>
                      <a:pt x="673" y="211"/>
                    </a:moveTo>
                    <a:cubicBezTo>
                      <a:pt x="678" y="213"/>
                      <a:pt x="682" y="212"/>
                      <a:pt x="682" y="207"/>
                    </a:cubicBezTo>
                    <a:cubicBezTo>
                      <a:pt x="681" y="202"/>
                      <a:pt x="669" y="208"/>
                      <a:pt x="673" y="211"/>
                    </a:cubicBezTo>
                    <a:close/>
                    <a:moveTo>
                      <a:pt x="309" y="25"/>
                    </a:moveTo>
                    <a:cubicBezTo>
                      <a:pt x="316" y="18"/>
                      <a:pt x="326" y="24"/>
                      <a:pt x="328" y="21"/>
                    </a:cubicBezTo>
                    <a:cubicBezTo>
                      <a:pt x="329" y="18"/>
                      <a:pt x="313" y="17"/>
                      <a:pt x="308" y="20"/>
                    </a:cubicBezTo>
                    <a:cubicBezTo>
                      <a:pt x="302" y="23"/>
                      <a:pt x="289" y="20"/>
                      <a:pt x="290" y="24"/>
                    </a:cubicBezTo>
                    <a:cubicBezTo>
                      <a:pt x="291" y="26"/>
                      <a:pt x="301" y="32"/>
                      <a:pt x="309" y="25"/>
                    </a:cubicBezTo>
                    <a:close/>
                    <a:moveTo>
                      <a:pt x="326" y="291"/>
                    </a:moveTo>
                    <a:cubicBezTo>
                      <a:pt x="335" y="299"/>
                      <a:pt x="342" y="287"/>
                      <a:pt x="347" y="287"/>
                    </a:cubicBezTo>
                    <a:cubicBezTo>
                      <a:pt x="351" y="286"/>
                      <a:pt x="344" y="281"/>
                      <a:pt x="337" y="279"/>
                    </a:cubicBezTo>
                    <a:cubicBezTo>
                      <a:pt x="329" y="277"/>
                      <a:pt x="319" y="285"/>
                      <a:pt x="326" y="291"/>
                    </a:cubicBezTo>
                    <a:close/>
                    <a:moveTo>
                      <a:pt x="1388" y="588"/>
                    </a:moveTo>
                    <a:cubicBezTo>
                      <a:pt x="1385" y="578"/>
                      <a:pt x="1394" y="569"/>
                      <a:pt x="1387" y="564"/>
                    </a:cubicBezTo>
                    <a:cubicBezTo>
                      <a:pt x="1380" y="559"/>
                      <a:pt x="1383" y="549"/>
                      <a:pt x="1380" y="551"/>
                    </a:cubicBezTo>
                    <a:cubicBezTo>
                      <a:pt x="1376" y="553"/>
                      <a:pt x="1380" y="562"/>
                      <a:pt x="1374" y="562"/>
                    </a:cubicBezTo>
                    <a:cubicBezTo>
                      <a:pt x="1369" y="563"/>
                      <a:pt x="1374" y="568"/>
                      <a:pt x="1372" y="575"/>
                    </a:cubicBezTo>
                    <a:cubicBezTo>
                      <a:pt x="1370" y="581"/>
                      <a:pt x="1373" y="591"/>
                      <a:pt x="1376" y="597"/>
                    </a:cubicBezTo>
                    <a:cubicBezTo>
                      <a:pt x="1378" y="603"/>
                      <a:pt x="1372" y="635"/>
                      <a:pt x="1375" y="640"/>
                    </a:cubicBezTo>
                    <a:cubicBezTo>
                      <a:pt x="1377" y="646"/>
                      <a:pt x="1370" y="669"/>
                      <a:pt x="1373" y="672"/>
                    </a:cubicBezTo>
                    <a:cubicBezTo>
                      <a:pt x="1377" y="677"/>
                      <a:pt x="1374" y="666"/>
                      <a:pt x="1380" y="665"/>
                    </a:cubicBezTo>
                    <a:cubicBezTo>
                      <a:pt x="1386" y="664"/>
                      <a:pt x="1386" y="671"/>
                      <a:pt x="1390" y="673"/>
                    </a:cubicBezTo>
                    <a:cubicBezTo>
                      <a:pt x="1393" y="675"/>
                      <a:pt x="1391" y="662"/>
                      <a:pt x="1388" y="663"/>
                    </a:cubicBezTo>
                    <a:cubicBezTo>
                      <a:pt x="1384" y="664"/>
                      <a:pt x="1382" y="655"/>
                      <a:pt x="1380" y="650"/>
                    </a:cubicBezTo>
                    <a:cubicBezTo>
                      <a:pt x="1378" y="644"/>
                      <a:pt x="1383" y="638"/>
                      <a:pt x="1383" y="631"/>
                    </a:cubicBezTo>
                    <a:cubicBezTo>
                      <a:pt x="1383" y="625"/>
                      <a:pt x="1392" y="625"/>
                      <a:pt x="1397" y="630"/>
                    </a:cubicBezTo>
                    <a:cubicBezTo>
                      <a:pt x="1402" y="635"/>
                      <a:pt x="1402" y="632"/>
                      <a:pt x="1400" y="628"/>
                    </a:cubicBezTo>
                    <a:cubicBezTo>
                      <a:pt x="1398" y="624"/>
                      <a:pt x="1392" y="598"/>
                      <a:pt x="1388" y="588"/>
                    </a:cubicBezTo>
                    <a:close/>
                    <a:moveTo>
                      <a:pt x="1922" y="348"/>
                    </a:moveTo>
                    <a:cubicBezTo>
                      <a:pt x="1919" y="347"/>
                      <a:pt x="1908" y="340"/>
                      <a:pt x="1906" y="336"/>
                    </a:cubicBezTo>
                    <a:cubicBezTo>
                      <a:pt x="1903" y="332"/>
                      <a:pt x="1890" y="330"/>
                      <a:pt x="1890" y="332"/>
                    </a:cubicBezTo>
                    <a:cubicBezTo>
                      <a:pt x="1890" y="334"/>
                      <a:pt x="1886" y="332"/>
                      <a:pt x="1885" y="330"/>
                    </a:cubicBezTo>
                    <a:cubicBezTo>
                      <a:pt x="1884" y="327"/>
                      <a:pt x="1871" y="327"/>
                      <a:pt x="1870" y="329"/>
                    </a:cubicBezTo>
                    <a:cubicBezTo>
                      <a:pt x="1870" y="332"/>
                      <a:pt x="1874" y="332"/>
                      <a:pt x="1876" y="335"/>
                    </a:cubicBezTo>
                    <a:cubicBezTo>
                      <a:pt x="1878" y="337"/>
                      <a:pt x="1873" y="339"/>
                      <a:pt x="1874" y="342"/>
                    </a:cubicBezTo>
                    <a:cubicBezTo>
                      <a:pt x="1875" y="345"/>
                      <a:pt x="1869" y="340"/>
                      <a:pt x="1867" y="339"/>
                    </a:cubicBezTo>
                    <a:cubicBezTo>
                      <a:pt x="1865" y="337"/>
                      <a:pt x="1866" y="330"/>
                      <a:pt x="1866" y="327"/>
                    </a:cubicBezTo>
                    <a:cubicBezTo>
                      <a:pt x="1867" y="324"/>
                      <a:pt x="1862" y="324"/>
                      <a:pt x="1862" y="321"/>
                    </a:cubicBezTo>
                    <a:cubicBezTo>
                      <a:pt x="1861" y="318"/>
                      <a:pt x="1846" y="311"/>
                      <a:pt x="1840" y="308"/>
                    </a:cubicBezTo>
                    <a:cubicBezTo>
                      <a:pt x="1834" y="306"/>
                      <a:pt x="1826" y="303"/>
                      <a:pt x="1823" y="300"/>
                    </a:cubicBezTo>
                    <a:cubicBezTo>
                      <a:pt x="1821" y="297"/>
                      <a:pt x="1810" y="296"/>
                      <a:pt x="1806" y="292"/>
                    </a:cubicBezTo>
                    <a:cubicBezTo>
                      <a:pt x="1801" y="287"/>
                      <a:pt x="1782" y="279"/>
                      <a:pt x="1774" y="279"/>
                    </a:cubicBezTo>
                    <a:cubicBezTo>
                      <a:pt x="1766" y="278"/>
                      <a:pt x="1768" y="274"/>
                      <a:pt x="1764" y="274"/>
                    </a:cubicBezTo>
                    <a:cubicBezTo>
                      <a:pt x="1760" y="275"/>
                      <a:pt x="1743" y="274"/>
                      <a:pt x="1737" y="273"/>
                    </a:cubicBezTo>
                    <a:cubicBezTo>
                      <a:pt x="1732" y="273"/>
                      <a:pt x="1731" y="277"/>
                      <a:pt x="1727" y="275"/>
                    </a:cubicBezTo>
                    <a:cubicBezTo>
                      <a:pt x="1723" y="274"/>
                      <a:pt x="1703" y="266"/>
                      <a:pt x="1701" y="269"/>
                    </a:cubicBezTo>
                    <a:cubicBezTo>
                      <a:pt x="1699" y="272"/>
                      <a:pt x="1700" y="276"/>
                      <a:pt x="1697" y="276"/>
                    </a:cubicBezTo>
                    <a:cubicBezTo>
                      <a:pt x="1695" y="277"/>
                      <a:pt x="1697" y="280"/>
                      <a:pt x="1703" y="285"/>
                    </a:cubicBezTo>
                    <a:cubicBezTo>
                      <a:pt x="1708" y="290"/>
                      <a:pt x="1705" y="294"/>
                      <a:pt x="1700" y="296"/>
                    </a:cubicBezTo>
                    <a:cubicBezTo>
                      <a:pt x="1695" y="298"/>
                      <a:pt x="1687" y="294"/>
                      <a:pt x="1684" y="290"/>
                    </a:cubicBezTo>
                    <a:cubicBezTo>
                      <a:pt x="1682" y="287"/>
                      <a:pt x="1675" y="288"/>
                      <a:pt x="1673" y="283"/>
                    </a:cubicBezTo>
                    <a:cubicBezTo>
                      <a:pt x="1672" y="278"/>
                      <a:pt x="1675" y="277"/>
                      <a:pt x="1679" y="280"/>
                    </a:cubicBezTo>
                    <a:cubicBezTo>
                      <a:pt x="1682" y="283"/>
                      <a:pt x="1687" y="281"/>
                      <a:pt x="1687" y="277"/>
                    </a:cubicBezTo>
                    <a:cubicBezTo>
                      <a:pt x="1688" y="273"/>
                      <a:pt x="1678" y="271"/>
                      <a:pt x="1673" y="271"/>
                    </a:cubicBezTo>
                    <a:cubicBezTo>
                      <a:pt x="1668" y="272"/>
                      <a:pt x="1665" y="279"/>
                      <a:pt x="1660" y="282"/>
                    </a:cubicBezTo>
                    <a:cubicBezTo>
                      <a:pt x="1654" y="285"/>
                      <a:pt x="1634" y="281"/>
                      <a:pt x="1631" y="279"/>
                    </a:cubicBezTo>
                    <a:cubicBezTo>
                      <a:pt x="1629" y="277"/>
                      <a:pt x="1600" y="279"/>
                      <a:pt x="1597" y="281"/>
                    </a:cubicBezTo>
                    <a:cubicBezTo>
                      <a:pt x="1594" y="283"/>
                      <a:pt x="1597" y="290"/>
                      <a:pt x="1595" y="291"/>
                    </a:cubicBezTo>
                    <a:cubicBezTo>
                      <a:pt x="1594" y="292"/>
                      <a:pt x="1592" y="282"/>
                      <a:pt x="1592" y="280"/>
                    </a:cubicBezTo>
                    <a:cubicBezTo>
                      <a:pt x="1592" y="278"/>
                      <a:pt x="1589" y="277"/>
                      <a:pt x="1583" y="277"/>
                    </a:cubicBezTo>
                    <a:cubicBezTo>
                      <a:pt x="1578" y="277"/>
                      <a:pt x="1575" y="277"/>
                      <a:pt x="1577" y="275"/>
                    </a:cubicBezTo>
                    <a:cubicBezTo>
                      <a:pt x="1580" y="273"/>
                      <a:pt x="1575" y="270"/>
                      <a:pt x="1579" y="268"/>
                    </a:cubicBezTo>
                    <a:cubicBezTo>
                      <a:pt x="1583" y="265"/>
                      <a:pt x="1572" y="256"/>
                      <a:pt x="1561" y="252"/>
                    </a:cubicBezTo>
                    <a:cubicBezTo>
                      <a:pt x="1550" y="247"/>
                      <a:pt x="1525" y="250"/>
                      <a:pt x="1518" y="252"/>
                    </a:cubicBezTo>
                    <a:cubicBezTo>
                      <a:pt x="1512" y="254"/>
                      <a:pt x="1498" y="253"/>
                      <a:pt x="1492" y="253"/>
                    </a:cubicBezTo>
                    <a:cubicBezTo>
                      <a:pt x="1486" y="253"/>
                      <a:pt x="1491" y="251"/>
                      <a:pt x="1489" y="248"/>
                    </a:cubicBezTo>
                    <a:cubicBezTo>
                      <a:pt x="1487" y="245"/>
                      <a:pt x="1476" y="241"/>
                      <a:pt x="1475" y="244"/>
                    </a:cubicBezTo>
                    <a:cubicBezTo>
                      <a:pt x="1473" y="246"/>
                      <a:pt x="1471" y="244"/>
                      <a:pt x="1471" y="242"/>
                    </a:cubicBezTo>
                    <a:cubicBezTo>
                      <a:pt x="1471" y="240"/>
                      <a:pt x="1460" y="236"/>
                      <a:pt x="1456" y="237"/>
                    </a:cubicBezTo>
                    <a:cubicBezTo>
                      <a:pt x="1452" y="238"/>
                      <a:pt x="1451" y="233"/>
                      <a:pt x="1455" y="233"/>
                    </a:cubicBezTo>
                    <a:cubicBezTo>
                      <a:pt x="1460" y="233"/>
                      <a:pt x="1468" y="234"/>
                      <a:pt x="1464" y="229"/>
                    </a:cubicBezTo>
                    <a:cubicBezTo>
                      <a:pt x="1461" y="224"/>
                      <a:pt x="1431" y="222"/>
                      <a:pt x="1428" y="223"/>
                    </a:cubicBezTo>
                    <a:cubicBezTo>
                      <a:pt x="1425" y="224"/>
                      <a:pt x="1428" y="228"/>
                      <a:pt x="1421" y="234"/>
                    </a:cubicBezTo>
                    <a:cubicBezTo>
                      <a:pt x="1415" y="240"/>
                      <a:pt x="1409" y="236"/>
                      <a:pt x="1409" y="233"/>
                    </a:cubicBezTo>
                    <a:cubicBezTo>
                      <a:pt x="1410" y="230"/>
                      <a:pt x="1418" y="231"/>
                      <a:pt x="1418" y="228"/>
                    </a:cubicBezTo>
                    <a:cubicBezTo>
                      <a:pt x="1418" y="225"/>
                      <a:pt x="1407" y="226"/>
                      <a:pt x="1406" y="224"/>
                    </a:cubicBezTo>
                    <a:cubicBezTo>
                      <a:pt x="1404" y="221"/>
                      <a:pt x="1408" y="220"/>
                      <a:pt x="1412" y="221"/>
                    </a:cubicBezTo>
                    <a:cubicBezTo>
                      <a:pt x="1416" y="222"/>
                      <a:pt x="1423" y="223"/>
                      <a:pt x="1423" y="221"/>
                    </a:cubicBezTo>
                    <a:cubicBezTo>
                      <a:pt x="1424" y="219"/>
                      <a:pt x="1419" y="219"/>
                      <a:pt x="1412" y="217"/>
                    </a:cubicBezTo>
                    <a:cubicBezTo>
                      <a:pt x="1406" y="216"/>
                      <a:pt x="1390" y="212"/>
                      <a:pt x="1381" y="213"/>
                    </a:cubicBezTo>
                    <a:cubicBezTo>
                      <a:pt x="1373" y="214"/>
                      <a:pt x="1369" y="210"/>
                      <a:pt x="1364" y="210"/>
                    </a:cubicBezTo>
                    <a:cubicBezTo>
                      <a:pt x="1359" y="209"/>
                      <a:pt x="1359" y="212"/>
                      <a:pt x="1362" y="215"/>
                    </a:cubicBezTo>
                    <a:cubicBezTo>
                      <a:pt x="1364" y="218"/>
                      <a:pt x="1357" y="219"/>
                      <a:pt x="1352" y="218"/>
                    </a:cubicBezTo>
                    <a:cubicBezTo>
                      <a:pt x="1346" y="218"/>
                      <a:pt x="1338" y="221"/>
                      <a:pt x="1341" y="225"/>
                    </a:cubicBezTo>
                    <a:cubicBezTo>
                      <a:pt x="1344" y="229"/>
                      <a:pt x="1348" y="224"/>
                      <a:pt x="1350" y="226"/>
                    </a:cubicBezTo>
                    <a:cubicBezTo>
                      <a:pt x="1353" y="227"/>
                      <a:pt x="1343" y="230"/>
                      <a:pt x="1347" y="232"/>
                    </a:cubicBezTo>
                    <a:cubicBezTo>
                      <a:pt x="1351" y="233"/>
                      <a:pt x="1351" y="237"/>
                      <a:pt x="1351" y="239"/>
                    </a:cubicBezTo>
                    <a:cubicBezTo>
                      <a:pt x="1351" y="241"/>
                      <a:pt x="1344" y="242"/>
                      <a:pt x="1342" y="239"/>
                    </a:cubicBezTo>
                    <a:cubicBezTo>
                      <a:pt x="1339" y="236"/>
                      <a:pt x="1336" y="239"/>
                      <a:pt x="1331" y="239"/>
                    </a:cubicBezTo>
                    <a:cubicBezTo>
                      <a:pt x="1326" y="238"/>
                      <a:pt x="1323" y="240"/>
                      <a:pt x="1328" y="241"/>
                    </a:cubicBezTo>
                    <a:cubicBezTo>
                      <a:pt x="1333" y="242"/>
                      <a:pt x="1334" y="245"/>
                      <a:pt x="1328" y="246"/>
                    </a:cubicBezTo>
                    <a:cubicBezTo>
                      <a:pt x="1321" y="246"/>
                      <a:pt x="1323" y="239"/>
                      <a:pt x="1319" y="240"/>
                    </a:cubicBezTo>
                    <a:cubicBezTo>
                      <a:pt x="1315" y="241"/>
                      <a:pt x="1306" y="237"/>
                      <a:pt x="1301" y="237"/>
                    </a:cubicBezTo>
                    <a:cubicBezTo>
                      <a:pt x="1297" y="237"/>
                      <a:pt x="1295" y="241"/>
                      <a:pt x="1288" y="242"/>
                    </a:cubicBezTo>
                    <a:cubicBezTo>
                      <a:pt x="1282" y="242"/>
                      <a:pt x="1274" y="238"/>
                      <a:pt x="1271" y="235"/>
                    </a:cubicBezTo>
                    <a:cubicBezTo>
                      <a:pt x="1269" y="232"/>
                      <a:pt x="1268" y="231"/>
                      <a:pt x="1265" y="235"/>
                    </a:cubicBezTo>
                    <a:cubicBezTo>
                      <a:pt x="1262" y="238"/>
                      <a:pt x="1262" y="246"/>
                      <a:pt x="1259" y="246"/>
                    </a:cubicBezTo>
                    <a:cubicBezTo>
                      <a:pt x="1256" y="247"/>
                      <a:pt x="1255" y="253"/>
                      <a:pt x="1252" y="255"/>
                    </a:cubicBezTo>
                    <a:cubicBezTo>
                      <a:pt x="1249" y="257"/>
                      <a:pt x="1249" y="252"/>
                      <a:pt x="1245" y="253"/>
                    </a:cubicBezTo>
                    <a:cubicBezTo>
                      <a:pt x="1241" y="253"/>
                      <a:pt x="1229" y="241"/>
                      <a:pt x="1228" y="238"/>
                    </a:cubicBezTo>
                    <a:cubicBezTo>
                      <a:pt x="1227" y="234"/>
                      <a:pt x="1220" y="227"/>
                      <a:pt x="1218" y="226"/>
                    </a:cubicBezTo>
                    <a:cubicBezTo>
                      <a:pt x="1216" y="225"/>
                      <a:pt x="1220" y="224"/>
                      <a:pt x="1222" y="226"/>
                    </a:cubicBezTo>
                    <a:cubicBezTo>
                      <a:pt x="1225" y="228"/>
                      <a:pt x="1228" y="228"/>
                      <a:pt x="1230" y="227"/>
                    </a:cubicBezTo>
                    <a:cubicBezTo>
                      <a:pt x="1233" y="226"/>
                      <a:pt x="1232" y="220"/>
                      <a:pt x="1228" y="219"/>
                    </a:cubicBezTo>
                    <a:cubicBezTo>
                      <a:pt x="1224" y="219"/>
                      <a:pt x="1225" y="216"/>
                      <a:pt x="1228" y="215"/>
                    </a:cubicBezTo>
                    <a:cubicBezTo>
                      <a:pt x="1230" y="214"/>
                      <a:pt x="1223" y="208"/>
                      <a:pt x="1225" y="207"/>
                    </a:cubicBezTo>
                    <a:cubicBezTo>
                      <a:pt x="1228" y="206"/>
                      <a:pt x="1227" y="204"/>
                      <a:pt x="1223" y="203"/>
                    </a:cubicBezTo>
                    <a:cubicBezTo>
                      <a:pt x="1219" y="203"/>
                      <a:pt x="1216" y="200"/>
                      <a:pt x="1215" y="198"/>
                    </a:cubicBezTo>
                    <a:cubicBezTo>
                      <a:pt x="1215" y="196"/>
                      <a:pt x="1200" y="195"/>
                      <a:pt x="1200" y="198"/>
                    </a:cubicBezTo>
                    <a:cubicBezTo>
                      <a:pt x="1201" y="201"/>
                      <a:pt x="1195" y="200"/>
                      <a:pt x="1196" y="198"/>
                    </a:cubicBezTo>
                    <a:cubicBezTo>
                      <a:pt x="1197" y="195"/>
                      <a:pt x="1191" y="196"/>
                      <a:pt x="1183" y="194"/>
                    </a:cubicBezTo>
                    <a:cubicBezTo>
                      <a:pt x="1176" y="192"/>
                      <a:pt x="1176" y="187"/>
                      <a:pt x="1173" y="187"/>
                    </a:cubicBezTo>
                    <a:cubicBezTo>
                      <a:pt x="1171" y="186"/>
                      <a:pt x="1172" y="194"/>
                      <a:pt x="1168" y="192"/>
                    </a:cubicBezTo>
                    <a:cubicBezTo>
                      <a:pt x="1164" y="190"/>
                      <a:pt x="1160" y="194"/>
                      <a:pt x="1162" y="198"/>
                    </a:cubicBezTo>
                    <a:cubicBezTo>
                      <a:pt x="1164" y="202"/>
                      <a:pt x="1163" y="203"/>
                      <a:pt x="1162" y="206"/>
                    </a:cubicBezTo>
                    <a:cubicBezTo>
                      <a:pt x="1162" y="210"/>
                      <a:pt x="1160" y="208"/>
                      <a:pt x="1156" y="207"/>
                    </a:cubicBezTo>
                    <a:cubicBezTo>
                      <a:pt x="1151" y="205"/>
                      <a:pt x="1151" y="211"/>
                      <a:pt x="1142" y="208"/>
                    </a:cubicBezTo>
                    <a:cubicBezTo>
                      <a:pt x="1133" y="206"/>
                      <a:pt x="1128" y="208"/>
                      <a:pt x="1127" y="205"/>
                    </a:cubicBezTo>
                    <a:cubicBezTo>
                      <a:pt x="1125" y="202"/>
                      <a:pt x="1122" y="202"/>
                      <a:pt x="1122" y="205"/>
                    </a:cubicBezTo>
                    <a:cubicBezTo>
                      <a:pt x="1122" y="207"/>
                      <a:pt x="1107" y="206"/>
                      <a:pt x="1106" y="202"/>
                    </a:cubicBezTo>
                    <a:cubicBezTo>
                      <a:pt x="1105" y="199"/>
                      <a:pt x="1109" y="198"/>
                      <a:pt x="1111" y="197"/>
                    </a:cubicBezTo>
                    <a:cubicBezTo>
                      <a:pt x="1113" y="196"/>
                      <a:pt x="1108" y="195"/>
                      <a:pt x="1101" y="195"/>
                    </a:cubicBezTo>
                    <a:cubicBezTo>
                      <a:pt x="1093" y="196"/>
                      <a:pt x="1088" y="191"/>
                      <a:pt x="1080" y="192"/>
                    </a:cubicBezTo>
                    <a:cubicBezTo>
                      <a:pt x="1072" y="193"/>
                      <a:pt x="1054" y="194"/>
                      <a:pt x="1051" y="196"/>
                    </a:cubicBezTo>
                    <a:cubicBezTo>
                      <a:pt x="1049" y="197"/>
                      <a:pt x="1054" y="201"/>
                      <a:pt x="1050" y="202"/>
                    </a:cubicBezTo>
                    <a:cubicBezTo>
                      <a:pt x="1046" y="202"/>
                      <a:pt x="1049" y="194"/>
                      <a:pt x="1048" y="191"/>
                    </a:cubicBezTo>
                    <a:cubicBezTo>
                      <a:pt x="1047" y="187"/>
                      <a:pt x="1042" y="186"/>
                      <a:pt x="1042" y="189"/>
                    </a:cubicBezTo>
                    <a:cubicBezTo>
                      <a:pt x="1043" y="192"/>
                      <a:pt x="1033" y="193"/>
                      <a:pt x="1031" y="191"/>
                    </a:cubicBezTo>
                    <a:cubicBezTo>
                      <a:pt x="1028" y="189"/>
                      <a:pt x="1024" y="186"/>
                      <a:pt x="1018" y="184"/>
                    </a:cubicBezTo>
                    <a:cubicBezTo>
                      <a:pt x="1011" y="183"/>
                      <a:pt x="1003" y="190"/>
                      <a:pt x="1005" y="192"/>
                    </a:cubicBezTo>
                    <a:cubicBezTo>
                      <a:pt x="1007" y="194"/>
                      <a:pt x="1012" y="192"/>
                      <a:pt x="1012" y="193"/>
                    </a:cubicBezTo>
                    <a:cubicBezTo>
                      <a:pt x="1012" y="196"/>
                      <a:pt x="998" y="195"/>
                      <a:pt x="998" y="197"/>
                    </a:cubicBezTo>
                    <a:cubicBezTo>
                      <a:pt x="998" y="200"/>
                      <a:pt x="985" y="203"/>
                      <a:pt x="981" y="203"/>
                    </a:cubicBezTo>
                    <a:cubicBezTo>
                      <a:pt x="970" y="205"/>
                      <a:pt x="968" y="205"/>
                      <a:pt x="962" y="209"/>
                    </a:cubicBezTo>
                    <a:cubicBezTo>
                      <a:pt x="957" y="213"/>
                      <a:pt x="961" y="205"/>
                      <a:pt x="965" y="201"/>
                    </a:cubicBezTo>
                    <a:cubicBezTo>
                      <a:pt x="969" y="197"/>
                      <a:pt x="973" y="199"/>
                      <a:pt x="976" y="196"/>
                    </a:cubicBezTo>
                    <a:cubicBezTo>
                      <a:pt x="978" y="193"/>
                      <a:pt x="982" y="193"/>
                      <a:pt x="988" y="192"/>
                    </a:cubicBezTo>
                    <a:cubicBezTo>
                      <a:pt x="994" y="191"/>
                      <a:pt x="994" y="187"/>
                      <a:pt x="997" y="186"/>
                    </a:cubicBezTo>
                    <a:cubicBezTo>
                      <a:pt x="1000" y="185"/>
                      <a:pt x="1007" y="182"/>
                      <a:pt x="1009" y="179"/>
                    </a:cubicBezTo>
                    <a:cubicBezTo>
                      <a:pt x="1010" y="176"/>
                      <a:pt x="1025" y="171"/>
                      <a:pt x="1028" y="171"/>
                    </a:cubicBezTo>
                    <a:cubicBezTo>
                      <a:pt x="1031" y="171"/>
                      <a:pt x="1032" y="165"/>
                      <a:pt x="1033" y="165"/>
                    </a:cubicBezTo>
                    <a:cubicBezTo>
                      <a:pt x="1035" y="165"/>
                      <a:pt x="1044" y="161"/>
                      <a:pt x="1047" y="160"/>
                    </a:cubicBezTo>
                    <a:cubicBezTo>
                      <a:pt x="1050" y="158"/>
                      <a:pt x="1052" y="155"/>
                      <a:pt x="1052" y="153"/>
                    </a:cubicBezTo>
                    <a:cubicBezTo>
                      <a:pt x="1052" y="151"/>
                      <a:pt x="1048" y="151"/>
                      <a:pt x="1047" y="149"/>
                    </a:cubicBezTo>
                    <a:cubicBezTo>
                      <a:pt x="1047" y="147"/>
                      <a:pt x="1049" y="148"/>
                      <a:pt x="1053" y="147"/>
                    </a:cubicBezTo>
                    <a:cubicBezTo>
                      <a:pt x="1056" y="146"/>
                      <a:pt x="1053" y="141"/>
                      <a:pt x="1050" y="142"/>
                    </a:cubicBezTo>
                    <a:cubicBezTo>
                      <a:pt x="1047" y="143"/>
                      <a:pt x="1052" y="139"/>
                      <a:pt x="1049" y="136"/>
                    </a:cubicBezTo>
                    <a:cubicBezTo>
                      <a:pt x="1047" y="133"/>
                      <a:pt x="1042" y="138"/>
                      <a:pt x="1042" y="135"/>
                    </a:cubicBezTo>
                    <a:cubicBezTo>
                      <a:pt x="1042" y="132"/>
                      <a:pt x="1041" y="128"/>
                      <a:pt x="1039" y="126"/>
                    </a:cubicBezTo>
                    <a:cubicBezTo>
                      <a:pt x="1037" y="124"/>
                      <a:pt x="1034" y="129"/>
                      <a:pt x="1030" y="126"/>
                    </a:cubicBezTo>
                    <a:cubicBezTo>
                      <a:pt x="1025" y="123"/>
                      <a:pt x="1013" y="121"/>
                      <a:pt x="1013" y="122"/>
                    </a:cubicBezTo>
                    <a:cubicBezTo>
                      <a:pt x="1013" y="124"/>
                      <a:pt x="1007" y="120"/>
                      <a:pt x="1006" y="122"/>
                    </a:cubicBezTo>
                    <a:cubicBezTo>
                      <a:pt x="1005" y="123"/>
                      <a:pt x="995" y="123"/>
                      <a:pt x="992" y="122"/>
                    </a:cubicBezTo>
                    <a:cubicBezTo>
                      <a:pt x="989" y="121"/>
                      <a:pt x="985" y="123"/>
                      <a:pt x="985" y="126"/>
                    </a:cubicBezTo>
                    <a:cubicBezTo>
                      <a:pt x="985" y="129"/>
                      <a:pt x="973" y="128"/>
                      <a:pt x="971" y="127"/>
                    </a:cubicBezTo>
                    <a:cubicBezTo>
                      <a:pt x="969" y="127"/>
                      <a:pt x="979" y="118"/>
                      <a:pt x="979" y="117"/>
                    </a:cubicBezTo>
                    <a:cubicBezTo>
                      <a:pt x="979" y="115"/>
                      <a:pt x="962" y="117"/>
                      <a:pt x="961" y="116"/>
                    </a:cubicBezTo>
                    <a:cubicBezTo>
                      <a:pt x="960" y="114"/>
                      <a:pt x="951" y="113"/>
                      <a:pt x="947" y="114"/>
                    </a:cubicBezTo>
                    <a:cubicBezTo>
                      <a:pt x="943" y="114"/>
                      <a:pt x="947" y="113"/>
                      <a:pt x="951" y="112"/>
                    </a:cubicBezTo>
                    <a:cubicBezTo>
                      <a:pt x="954" y="112"/>
                      <a:pt x="957" y="109"/>
                      <a:pt x="961" y="108"/>
                    </a:cubicBezTo>
                    <a:cubicBezTo>
                      <a:pt x="965" y="108"/>
                      <a:pt x="964" y="106"/>
                      <a:pt x="962" y="104"/>
                    </a:cubicBezTo>
                    <a:cubicBezTo>
                      <a:pt x="961" y="102"/>
                      <a:pt x="957" y="103"/>
                      <a:pt x="953" y="102"/>
                    </a:cubicBezTo>
                    <a:cubicBezTo>
                      <a:pt x="949" y="100"/>
                      <a:pt x="944" y="99"/>
                      <a:pt x="941" y="99"/>
                    </a:cubicBezTo>
                    <a:cubicBezTo>
                      <a:pt x="938" y="98"/>
                      <a:pt x="934" y="100"/>
                      <a:pt x="926" y="102"/>
                    </a:cubicBezTo>
                    <a:cubicBezTo>
                      <a:pt x="918" y="103"/>
                      <a:pt x="918" y="109"/>
                      <a:pt x="914" y="111"/>
                    </a:cubicBezTo>
                    <a:cubicBezTo>
                      <a:pt x="910" y="113"/>
                      <a:pt x="903" y="120"/>
                      <a:pt x="906" y="121"/>
                    </a:cubicBezTo>
                    <a:cubicBezTo>
                      <a:pt x="909" y="122"/>
                      <a:pt x="908" y="124"/>
                      <a:pt x="908" y="126"/>
                    </a:cubicBezTo>
                    <a:cubicBezTo>
                      <a:pt x="909" y="128"/>
                      <a:pt x="906" y="128"/>
                      <a:pt x="902" y="128"/>
                    </a:cubicBezTo>
                    <a:cubicBezTo>
                      <a:pt x="898" y="127"/>
                      <a:pt x="885" y="127"/>
                      <a:pt x="885" y="130"/>
                    </a:cubicBezTo>
                    <a:cubicBezTo>
                      <a:pt x="885" y="133"/>
                      <a:pt x="893" y="134"/>
                      <a:pt x="892" y="136"/>
                    </a:cubicBezTo>
                    <a:cubicBezTo>
                      <a:pt x="892" y="137"/>
                      <a:pt x="886" y="136"/>
                      <a:pt x="884" y="134"/>
                    </a:cubicBezTo>
                    <a:cubicBezTo>
                      <a:pt x="881" y="133"/>
                      <a:pt x="875" y="133"/>
                      <a:pt x="874" y="136"/>
                    </a:cubicBezTo>
                    <a:cubicBezTo>
                      <a:pt x="873" y="139"/>
                      <a:pt x="868" y="138"/>
                      <a:pt x="866" y="138"/>
                    </a:cubicBezTo>
                    <a:cubicBezTo>
                      <a:pt x="865" y="137"/>
                      <a:pt x="862" y="139"/>
                      <a:pt x="859" y="138"/>
                    </a:cubicBezTo>
                    <a:cubicBezTo>
                      <a:pt x="857" y="137"/>
                      <a:pt x="864" y="134"/>
                      <a:pt x="862" y="132"/>
                    </a:cubicBezTo>
                    <a:cubicBezTo>
                      <a:pt x="860" y="130"/>
                      <a:pt x="852" y="132"/>
                      <a:pt x="852" y="135"/>
                    </a:cubicBezTo>
                    <a:cubicBezTo>
                      <a:pt x="851" y="138"/>
                      <a:pt x="846" y="133"/>
                      <a:pt x="844" y="134"/>
                    </a:cubicBezTo>
                    <a:cubicBezTo>
                      <a:pt x="842" y="135"/>
                      <a:pt x="840" y="136"/>
                      <a:pt x="837" y="137"/>
                    </a:cubicBezTo>
                    <a:cubicBezTo>
                      <a:pt x="833" y="139"/>
                      <a:pt x="827" y="136"/>
                      <a:pt x="826" y="138"/>
                    </a:cubicBezTo>
                    <a:cubicBezTo>
                      <a:pt x="825" y="141"/>
                      <a:pt x="833" y="142"/>
                      <a:pt x="833" y="143"/>
                    </a:cubicBezTo>
                    <a:cubicBezTo>
                      <a:pt x="833" y="144"/>
                      <a:pt x="815" y="144"/>
                      <a:pt x="814" y="146"/>
                    </a:cubicBezTo>
                    <a:cubicBezTo>
                      <a:pt x="814" y="148"/>
                      <a:pt x="807" y="148"/>
                      <a:pt x="800" y="148"/>
                    </a:cubicBezTo>
                    <a:cubicBezTo>
                      <a:pt x="792" y="148"/>
                      <a:pt x="795" y="152"/>
                      <a:pt x="789" y="153"/>
                    </a:cubicBezTo>
                    <a:cubicBezTo>
                      <a:pt x="783" y="154"/>
                      <a:pt x="781" y="154"/>
                      <a:pt x="779" y="157"/>
                    </a:cubicBezTo>
                    <a:cubicBezTo>
                      <a:pt x="777" y="160"/>
                      <a:pt x="772" y="161"/>
                      <a:pt x="770" y="158"/>
                    </a:cubicBezTo>
                    <a:cubicBezTo>
                      <a:pt x="768" y="156"/>
                      <a:pt x="763" y="159"/>
                      <a:pt x="766" y="160"/>
                    </a:cubicBezTo>
                    <a:cubicBezTo>
                      <a:pt x="769" y="160"/>
                      <a:pt x="766" y="163"/>
                      <a:pt x="764" y="162"/>
                    </a:cubicBezTo>
                    <a:cubicBezTo>
                      <a:pt x="762" y="162"/>
                      <a:pt x="757" y="166"/>
                      <a:pt x="760" y="165"/>
                    </a:cubicBezTo>
                    <a:cubicBezTo>
                      <a:pt x="763" y="165"/>
                      <a:pt x="764" y="167"/>
                      <a:pt x="763" y="169"/>
                    </a:cubicBezTo>
                    <a:cubicBezTo>
                      <a:pt x="761" y="171"/>
                      <a:pt x="755" y="167"/>
                      <a:pt x="753" y="169"/>
                    </a:cubicBezTo>
                    <a:cubicBezTo>
                      <a:pt x="751" y="170"/>
                      <a:pt x="756" y="173"/>
                      <a:pt x="759" y="172"/>
                    </a:cubicBezTo>
                    <a:cubicBezTo>
                      <a:pt x="762" y="172"/>
                      <a:pt x="764" y="174"/>
                      <a:pt x="764" y="176"/>
                    </a:cubicBezTo>
                    <a:cubicBezTo>
                      <a:pt x="765" y="178"/>
                      <a:pt x="757" y="175"/>
                      <a:pt x="756" y="177"/>
                    </a:cubicBezTo>
                    <a:cubicBezTo>
                      <a:pt x="754" y="178"/>
                      <a:pt x="757" y="179"/>
                      <a:pt x="760" y="180"/>
                    </a:cubicBezTo>
                    <a:cubicBezTo>
                      <a:pt x="763" y="180"/>
                      <a:pt x="761" y="181"/>
                      <a:pt x="764" y="184"/>
                    </a:cubicBezTo>
                    <a:cubicBezTo>
                      <a:pt x="764" y="184"/>
                      <a:pt x="764" y="184"/>
                      <a:pt x="764" y="184"/>
                    </a:cubicBezTo>
                    <a:cubicBezTo>
                      <a:pt x="766" y="186"/>
                      <a:pt x="763" y="187"/>
                      <a:pt x="763" y="189"/>
                    </a:cubicBezTo>
                    <a:cubicBezTo>
                      <a:pt x="763" y="191"/>
                      <a:pt x="760" y="192"/>
                      <a:pt x="760" y="190"/>
                    </a:cubicBezTo>
                    <a:cubicBezTo>
                      <a:pt x="760" y="188"/>
                      <a:pt x="751" y="187"/>
                      <a:pt x="749" y="189"/>
                    </a:cubicBezTo>
                    <a:cubicBezTo>
                      <a:pt x="747" y="192"/>
                      <a:pt x="746" y="193"/>
                      <a:pt x="744" y="191"/>
                    </a:cubicBezTo>
                    <a:cubicBezTo>
                      <a:pt x="742" y="189"/>
                      <a:pt x="735" y="192"/>
                      <a:pt x="727" y="192"/>
                    </a:cubicBezTo>
                    <a:cubicBezTo>
                      <a:pt x="719" y="192"/>
                      <a:pt x="702" y="193"/>
                      <a:pt x="698" y="195"/>
                    </a:cubicBezTo>
                    <a:cubicBezTo>
                      <a:pt x="694" y="196"/>
                      <a:pt x="690" y="202"/>
                      <a:pt x="694" y="206"/>
                    </a:cubicBezTo>
                    <a:cubicBezTo>
                      <a:pt x="698" y="210"/>
                      <a:pt x="694" y="211"/>
                      <a:pt x="694" y="214"/>
                    </a:cubicBezTo>
                    <a:cubicBezTo>
                      <a:pt x="694" y="216"/>
                      <a:pt x="704" y="221"/>
                      <a:pt x="710" y="222"/>
                    </a:cubicBezTo>
                    <a:cubicBezTo>
                      <a:pt x="715" y="222"/>
                      <a:pt x="719" y="229"/>
                      <a:pt x="716" y="233"/>
                    </a:cubicBezTo>
                    <a:cubicBezTo>
                      <a:pt x="713" y="237"/>
                      <a:pt x="703" y="232"/>
                      <a:pt x="697" y="227"/>
                    </a:cubicBezTo>
                    <a:cubicBezTo>
                      <a:pt x="691" y="222"/>
                      <a:pt x="676" y="220"/>
                      <a:pt x="671" y="220"/>
                    </a:cubicBezTo>
                    <a:cubicBezTo>
                      <a:pt x="666" y="220"/>
                      <a:pt x="669" y="216"/>
                      <a:pt x="663" y="216"/>
                    </a:cubicBezTo>
                    <a:cubicBezTo>
                      <a:pt x="657" y="216"/>
                      <a:pt x="652" y="222"/>
                      <a:pt x="656" y="222"/>
                    </a:cubicBezTo>
                    <a:cubicBezTo>
                      <a:pt x="660" y="222"/>
                      <a:pt x="663" y="221"/>
                      <a:pt x="661" y="223"/>
                    </a:cubicBezTo>
                    <a:cubicBezTo>
                      <a:pt x="658" y="225"/>
                      <a:pt x="662" y="225"/>
                      <a:pt x="667" y="227"/>
                    </a:cubicBezTo>
                    <a:cubicBezTo>
                      <a:pt x="672" y="229"/>
                      <a:pt x="663" y="232"/>
                      <a:pt x="657" y="229"/>
                    </a:cubicBezTo>
                    <a:cubicBezTo>
                      <a:pt x="652" y="225"/>
                      <a:pt x="647" y="228"/>
                      <a:pt x="645" y="231"/>
                    </a:cubicBezTo>
                    <a:cubicBezTo>
                      <a:pt x="644" y="234"/>
                      <a:pt x="651" y="241"/>
                      <a:pt x="660" y="243"/>
                    </a:cubicBezTo>
                    <a:cubicBezTo>
                      <a:pt x="669" y="244"/>
                      <a:pt x="666" y="247"/>
                      <a:pt x="670" y="248"/>
                    </a:cubicBezTo>
                    <a:cubicBezTo>
                      <a:pt x="675" y="250"/>
                      <a:pt x="672" y="252"/>
                      <a:pt x="669" y="252"/>
                    </a:cubicBezTo>
                    <a:cubicBezTo>
                      <a:pt x="666" y="252"/>
                      <a:pt x="660" y="247"/>
                      <a:pt x="656" y="245"/>
                    </a:cubicBezTo>
                    <a:cubicBezTo>
                      <a:pt x="651" y="243"/>
                      <a:pt x="639" y="246"/>
                      <a:pt x="637" y="243"/>
                    </a:cubicBezTo>
                    <a:cubicBezTo>
                      <a:pt x="634" y="241"/>
                      <a:pt x="638" y="238"/>
                      <a:pt x="636" y="236"/>
                    </a:cubicBezTo>
                    <a:cubicBezTo>
                      <a:pt x="634" y="234"/>
                      <a:pt x="636" y="230"/>
                      <a:pt x="639" y="225"/>
                    </a:cubicBezTo>
                    <a:cubicBezTo>
                      <a:pt x="642" y="220"/>
                      <a:pt x="638" y="212"/>
                      <a:pt x="634" y="211"/>
                    </a:cubicBezTo>
                    <a:cubicBezTo>
                      <a:pt x="629" y="210"/>
                      <a:pt x="630" y="214"/>
                      <a:pt x="631" y="215"/>
                    </a:cubicBezTo>
                    <a:cubicBezTo>
                      <a:pt x="632" y="217"/>
                      <a:pt x="631" y="223"/>
                      <a:pt x="628" y="227"/>
                    </a:cubicBezTo>
                    <a:cubicBezTo>
                      <a:pt x="625" y="231"/>
                      <a:pt x="614" y="231"/>
                      <a:pt x="614" y="234"/>
                    </a:cubicBezTo>
                    <a:cubicBezTo>
                      <a:pt x="614" y="237"/>
                      <a:pt x="608" y="239"/>
                      <a:pt x="610" y="241"/>
                    </a:cubicBezTo>
                    <a:cubicBezTo>
                      <a:pt x="612" y="243"/>
                      <a:pt x="621" y="254"/>
                      <a:pt x="623" y="257"/>
                    </a:cubicBezTo>
                    <a:cubicBezTo>
                      <a:pt x="624" y="260"/>
                      <a:pt x="615" y="270"/>
                      <a:pt x="616" y="276"/>
                    </a:cubicBezTo>
                    <a:cubicBezTo>
                      <a:pt x="618" y="282"/>
                      <a:pt x="615" y="284"/>
                      <a:pt x="617" y="287"/>
                    </a:cubicBezTo>
                    <a:cubicBezTo>
                      <a:pt x="618" y="290"/>
                      <a:pt x="623" y="287"/>
                      <a:pt x="625" y="289"/>
                    </a:cubicBezTo>
                    <a:cubicBezTo>
                      <a:pt x="628" y="290"/>
                      <a:pt x="632" y="287"/>
                      <a:pt x="638" y="286"/>
                    </a:cubicBezTo>
                    <a:cubicBezTo>
                      <a:pt x="645" y="285"/>
                      <a:pt x="656" y="291"/>
                      <a:pt x="660" y="293"/>
                    </a:cubicBezTo>
                    <a:cubicBezTo>
                      <a:pt x="664" y="295"/>
                      <a:pt x="662" y="298"/>
                      <a:pt x="664" y="302"/>
                    </a:cubicBezTo>
                    <a:cubicBezTo>
                      <a:pt x="666" y="305"/>
                      <a:pt x="659" y="305"/>
                      <a:pt x="659" y="310"/>
                    </a:cubicBezTo>
                    <a:cubicBezTo>
                      <a:pt x="659" y="315"/>
                      <a:pt x="672" y="317"/>
                      <a:pt x="672" y="319"/>
                    </a:cubicBezTo>
                    <a:cubicBezTo>
                      <a:pt x="673" y="320"/>
                      <a:pt x="663" y="319"/>
                      <a:pt x="659" y="318"/>
                    </a:cubicBezTo>
                    <a:cubicBezTo>
                      <a:pt x="656" y="316"/>
                      <a:pt x="655" y="312"/>
                      <a:pt x="654" y="311"/>
                    </a:cubicBezTo>
                    <a:cubicBezTo>
                      <a:pt x="653" y="310"/>
                      <a:pt x="657" y="306"/>
                      <a:pt x="657" y="302"/>
                    </a:cubicBezTo>
                    <a:cubicBezTo>
                      <a:pt x="657" y="299"/>
                      <a:pt x="653" y="297"/>
                      <a:pt x="651" y="295"/>
                    </a:cubicBezTo>
                    <a:cubicBezTo>
                      <a:pt x="650" y="293"/>
                      <a:pt x="647" y="290"/>
                      <a:pt x="644" y="291"/>
                    </a:cubicBezTo>
                    <a:cubicBezTo>
                      <a:pt x="641" y="291"/>
                      <a:pt x="630" y="292"/>
                      <a:pt x="627" y="295"/>
                    </a:cubicBezTo>
                    <a:cubicBezTo>
                      <a:pt x="624" y="298"/>
                      <a:pt x="627" y="307"/>
                      <a:pt x="629" y="311"/>
                    </a:cubicBezTo>
                    <a:cubicBezTo>
                      <a:pt x="631" y="315"/>
                      <a:pt x="620" y="321"/>
                      <a:pt x="620" y="324"/>
                    </a:cubicBezTo>
                    <a:cubicBezTo>
                      <a:pt x="620" y="328"/>
                      <a:pt x="616" y="329"/>
                      <a:pt x="611" y="332"/>
                    </a:cubicBezTo>
                    <a:cubicBezTo>
                      <a:pt x="606" y="334"/>
                      <a:pt x="601" y="336"/>
                      <a:pt x="601" y="341"/>
                    </a:cubicBezTo>
                    <a:cubicBezTo>
                      <a:pt x="601" y="345"/>
                      <a:pt x="594" y="343"/>
                      <a:pt x="591" y="341"/>
                    </a:cubicBezTo>
                    <a:cubicBezTo>
                      <a:pt x="587" y="339"/>
                      <a:pt x="583" y="342"/>
                      <a:pt x="578" y="342"/>
                    </a:cubicBezTo>
                    <a:cubicBezTo>
                      <a:pt x="573" y="342"/>
                      <a:pt x="573" y="337"/>
                      <a:pt x="569" y="339"/>
                    </a:cubicBezTo>
                    <a:cubicBezTo>
                      <a:pt x="565" y="340"/>
                      <a:pt x="562" y="337"/>
                      <a:pt x="563" y="334"/>
                    </a:cubicBezTo>
                    <a:cubicBezTo>
                      <a:pt x="565" y="331"/>
                      <a:pt x="569" y="333"/>
                      <a:pt x="569" y="336"/>
                    </a:cubicBezTo>
                    <a:cubicBezTo>
                      <a:pt x="570" y="338"/>
                      <a:pt x="573" y="337"/>
                      <a:pt x="576" y="335"/>
                    </a:cubicBezTo>
                    <a:cubicBezTo>
                      <a:pt x="579" y="333"/>
                      <a:pt x="578" y="337"/>
                      <a:pt x="582" y="338"/>
                    </a:cubicBezTo>
                    <a:cubicBezTo>
                      <a:pt x="587" y="338"/>
                      <a:pt x="585" y="335"/>
                      <a:pt x="588" y="335"/>
                    </a:cubicBezTo>
                    <a:cubicBezTo>
                      <a:pt x="592" y="336"/>
                      <a:pt x="592" y="335"/>
                      <a:pt x="591" y="333"/>
                    </a:cubicBezTo>
                    <a:cubicBezTo>
                      <a:pt x="590" y="331"/>
                      <a:pt x="594" y="330"/>
                      <a:pt x="596" y="329"/>
                    </a:cubicBezTo>
                    <a:cubicBezTo>
                      <a:pt x="598" y="327"/>
                      <a:pt x="597" y="324"/>
                      <a:pt x="599" y="323"/>
                    </a:cubicBezTo>
                    <a:cubicBezTo>
                      <a:pt x="602" y="321"/>
                      <a:pt x="600" y="319"/>
                      <a:pt x="602" y="319"/>
                    </a:cubicBezTo>
                    <a:cubicBezTo>
                      <a:pt x="605" y="319"/>
                      <a:pt x="606" y="315"/>
                      <a:pt x="608" y="315"/>
                    </a:cubicBezTo>
                    <a:cubicBezTo>
                      <a:pt x="610" y="315"/>
                      <a:pt x="611" y="312"/>
                      <a:pt x="610" y="310"/>
                    </a:cubicBezTo>
                    <a:cubicBezTo>
                      <a:pt x="609" y="308"/>
                      <a:pt x="611" y="303"/>
                      <a:pt x="613" y="302"/>
                    </a:cubicBezTo>
                    <a:cubicBezTo>
                      <a:pt x="615" y="302"/>
                      <a:pt x="615" y="300"/>
                      <a:pt x="613" y="298"/>
                    </a:cubicBezTo>
                    <a:cubicBezTo>
                      <a:pt x="611" y="297"/>
                      <a:pt x="604" y="292"/>
                      <a:pt x="604" y="289"/>
                    </a:cubicBezTo>
                    <a:cubicBezTo>
                      <a:pt x="605" y="285"/>
                      <a:pt x="603" y="280"/>
                      <a:pt x="604" y="277"/>
                    </a:cubicBezTo>
                    <a:cubicBezTo>
                      <a:pt x="605" y="275"/>
                      <a:pt x="604" y="269"/>
                      <a:pt x="604" y="266"/>
                    </a:cubicBezTo>
                    <a:cubicBezTo>
                      <a:pt x="604" y="263"/>
                      <a:pt x="606" y="260"/>
                      <a:pt x="607" y="255"/>
                    </a:cubicBezTo>
                    <a:cubicBezTo>
                      <a:pt x="608" y="249"/>
                      <a:pt x="601" y="243"/>
                      <a:pt x="598" y="242"/>
                    </a:cubicBezTo>
                    <a:cubicBezTo>
                      <a:pt x="594" y="240"/>
                      <a:pt x="596" y="237"/>
                      <a:pt x="601" y="233"/>
                    </a:cubicBezTo>
                    <a:cubicBezTo>
                      <a:pt x="606" y="229"/>
                      <a:pt x="606" y="217"/>
                      <a:pt x="606" y="214"/>
                    </a:cubicBezTo>
                    <a:cubicBezTo>
                      <a:pt x="606" y="211"/>
                      <a:pt x="596" y="209"/>
                      <a:pt x="592" y="209"/>
                    </a:cubicBezTo>
                    <a:cubicBezTo>
                      <a:pt x="588" y="210"/>
                      <a:pt x="574" y="209"/>
                      <a:pt x="571" y="208"/>
                    </a:cubicBezTo>
                    <a:cubicBezTo>
                      <a:pt x="567" y="208"/>
                      <a:pt x="566" y="211"/>
                      <a:pt x="564" y="215"/>
                    </a:cubicBezTo>
                    <a:cubicBezTo>
                      <a:pt x="563" y="218"/>
                      <a:pt x="559" y="223"/>
                      <a:pt x="557" y="231"/>
                    </a:cubicBezTo>
                    <a:cubicBezTo>
                      <a:pt x="555" y="238"/>
                      <a:pt x="546" y="241"/>
                      <a:pt x="542" y="242"/>
                    </a:cubicBezTo>
                    <a:cubicBezTo>
                      <a:pt x="538" y="244"/>
                      <a:pt x="535" y="249"/>
                      <a:pt x="537" y="252"/>
                    </a:cubicBezTo>
                    <a:cubicBezTo>
                      <a:pt x="539" y="255"/>
                      <a:pt x="542" y="253"/>
                      <a:pt x="543" y="254"/>
                    </a:cubicBezTo>
                    <a:cubicBezTo>
                      <a:pt x="545" y="255"/>
                      <a:pt x="543" y="262"/>
                      <a:pt x="542" y="263"/>
                    </a:cubicBezTo>
                    <a:cubicBezTo>
                      <a:pt x="541" y="264"/>
                      <a:pt x="544" y="266"/>
                      <a:pt x="541" y="268"/>
                    </a:cubicBezTo>
                    <a:cubicBezTo>
                      <a:pt x="539" y="270"/>
                      <a:pt x="536" y="274"/>
                      <a:pt x="538" y="276"/>
                    </a:cubicBezTo>
                    <a:cubicBezTo>
                      <a:pt x="539" y="278"/>
                      <a:pt x="547" y="279"/>
                      <a:pt x="551" y="281"/>
                    </a:cubicBezTo>
                    <a:cubicBezTo>
                      <a:pt x="554" y="283"/>
                      <a:pt x="553" y="286"/>
                      <a:pt x="556" y="290"/>
                    </a:cubicBezTo>
                    <a:cubicBezTo>
                      <a:pt x="558" y="293"/>
                      <a:pt x="561" y="291"/>
                      <a:pt x="563" y="293"/>
                    </a:cubicBezTo>
                    <a:cubicBezTo>
                      <a:pt x="564" y="295"/>
                      <a:pt x="558" y="304"/>
                      <a:pt x="556" y="304"/>
                    </a:cubicBezTo>
                    <a:cubicBezTo>
                      <a:pt x="553" y="305"/>
                      <a:pt x="545" y="296"/>
                      <a:pt x="542" y="294"/>
                    </a:cubicBezTo>
                    <a:cubicBezTo>
                      <a:pt x="539" y="292"/>
                      <a:pt x="529" y="288"/>
                      <a:pt x="524" y="286"/>
                    </a:cubicBezTo>
                    <a:cubicBezTo>
                      <a:pt x="519" y="283"/>
                      <a:pt x="514" y="283"/>
                      <a:pt x="509" y="280"/>
                    </a:cubicBezTo>
                    <a:cubicBezTo>
                      <a:pt x="503" y="276"/>
                      <a:pt x="498" y="274"/>
                      <a:pt x="488" y="274"/>
                    </a:cubicBezTo>
                    <a:cubicBezTo>
                      <a:pt x="478" y="274"/>
                      <a:pt x="471" y="272"/>
                      <a:pt x="467" y="272"/>
                    </a:cubicBezTo>
                    <a:cubicBezTo>
                      <a:pt x="464" y="273"/>
                      <a:pt x="465" y="269"/>
                      <a:pt x="459" y="266"/>
                    </a:cubicBezTo>
                    <a:cubicBezTo>
                      <a:pt x="453" y="263"/>
                      <a:pt x="449" y="260"/>
                      <a:pt x="445" y="262"/>
                    </a:cubicBezTo>
                    <a:cubicBezTo>
                      <a:pt x="442" y="263"/>
                      <a:pt x="443" y="270"/>
                      <a:pt x="449" y="271"/>
                    </a:cubicBezTo>
                    <a:cubicBezTo>
                      <a:pt x="454" y="272"/>
                      <a:pt x="451" y="275"/>
                      <a:pt x="457" y="274"/>
                    </a:cubicBezTo>
                    <a:cubicBezTo>
                      <a:pt x="463" y="274"/>
                      <a:pt x="464" y="276"/>
                      <a:pt x="464" y="279"/>
                    </a:cubicBezTo>
                    <a:cubicBezTo>
                      <a:pt x="464" y="283"/>
                      <a:pt x="467" y="286"/>
                      <a:pt x="469" y="289"/>
                    </a:cubicBezTo>
                    <a:cubicBezTo>
                      <a:pt x="472" y="291"/>
                      <a:pt x="470" y="295"/>
                      <a:pt x="466" y="295"/>
                    </a:cubicBezTo>
                    <a:cubicBezTo>
                      <a:pt x="461" y="295"/>
                      <a:pt x="456" y="296"/>
                      <a:pt x="458" y="299"/>
                    </a:cubicBezTo>
                    <a:cubicBezTo>
                      <a:pt x="460" y="302"/>
                      <a:pt x="457" y="303"/>
                      <a:pt x="452" y="301"/>
                    </a:cubicBezTo>
                    <a:cubicBezTo>
                      <a:pt x="448" y="299"/>
                      <a:pt x="450" y="296"/>
                      <a:pt x="452" y="294"/>
                    </a:cubicBezTo>
                    <a:cubicBezTo>
                      <a:pt x="454" y="293"/>
                      <a:pt x="448" y="290"/>
                      <a:pt x="445" y="289"/>
                    </a:cubicBezTo>
                    <a:cubicBezTo>
                      <a:pt x="443" y="288"/>
                      <a:pt x="431" y="297"/>
                      <a:pt x="428" y="298"/>
                    </a:cubicBezTo>
                    <a:cubicBezTo>
                      <a:pt x="425" y="299"/>
                      <a:pt x="417" y="296"/>
                      <a:pt x="409" y="298"/>
                    </a:cubicBezTo>
                    <a:cubicBezTo>
                      <a:pt x="401" y="300"/>
                      <a:pt x="402" y="306"/>
                      <a:pt x="399" y="306"/>
                    </a:cubicBezTo>
                    <a:cubicBezTo>
                      <a:pt x="396" y="305"/>
                      <a:pt x="387" y="306"/>
                      <a:pt x="383" y="304"/>
                    </a:cubicBezTo>
                    <a:cubicBezTo>
                      <a:pt x="380" y="302"/>
                      <a:pt x="383" y="301"/>
                      <a:pt x="386" y="301"/>
                    </a:cubicBezTo>
                    <a:cubicBezTo>
                      <a:pt x="390" y="302"/>
                      <a:pt x="391" y="300"/>
                      <a:pt x="389" y="298"/>
                    </a:cubicBezTo>
                    <a:cubicBezTo>
                      <a:pt x="387" y="296"/>
                      <a:pt x="392" y="292"/>
                      <a:pt x="391" y="290"/>
                    </a:cubicBezTo>
                    <a:cubicBezTo>
                      <a:pt x="391" y="289"/>
                      <a:pt x="378" y="293"/>
                      <a:pt x="376" y="295"/>
                    </a:cubicBezTo>
                    <a:cubicBezTo>
                      <a:pt x="374" y="297"/>
                      <a:pt x="376" y="300"/>
                      <a:pt x="374" y="301"/>
                    </a:cubicBezTo>
                    <a:cubicBezTo>
                      <a:pt x="372" y="302"/>
                      <a:pt x="372" y="299"/>
                      <a:pt x="369" y="298"/>
                    </a:cubicBezTo>
                    <a:cubicBezTo>
                      <a:pt x="366" y="297"/>
                      <a:pt x="347" y="302"/>
                      <a:pt x="343" y="306"/>
                    </a:cubicBezTo>
                    <a:cubicBezTo>
                      <a:pt x="339" y="310"/>
                      <a:pt x="332" y="310"/>
                      <a:pt x="332" y="313"/>
                    </a:cubicBezTo>
                    <a:cubicBezTo>
                      <a:pt x="332" y="315"/>
                      <a:pt x="323" y="315"/>
                      <a:pt x="320" y="316"/>
                    </a:cubicBezTo>
                    <a:cubicBezTo>
                      <a:pt x="316" y="318"/>
                      <a:pt x="319" y="325"/>
                      <a:pt x="317" y="328"/>
                    </a:cubicBezTo>
                    <a:cubicBezTo>
                      <a:pt x="316" y="332"/>
                      <a:pt x="302" y="331"/>
                      <a:pt x="298" y="331"/>
                    </a:cubicBezTo>
                    <a:cubicBezTo>
                      <a:pt x="294" y="331"/>
                      <a:pt x="293" y="323"/>
                      <a:pt x="289" y="322"/>
                    </a:cubicBezTo>
                    <a:cubicBezTo>
                      <a:pt x="286" y="322"/>
                      <a:pt x="288" y="317"/>
                      <a:pt x="289" y="315"/>
                    </a:cubicBezTo>
                    <a:cubicBezTo>
                      <a:pt x="290" y="313"/>
                      <a:pt x="293" y="315"/>
                      <a:pt x="297" y="312"/>
                    </a:cubicBezTo>
                    <a:cubicBezTo>
                      <a:pt x="301" y="309"/>
                      <a:pt x="305" y="313"/>
                      <a:pt x="307" y="312"/>
                    </a:cubicBezTo>
                    <a:cubicBezTo>
                      <a:pt x="308" y="310"/>
                      <a:pt x="300" y="305"/>
                      <a:pt x="300" y="301"/>
                    </a:cubicBezTo>
                    <a:cubicBezTo>
                      <a:pt x="299" y="297"/>
                      <a:pt x="291" y="295"/>
                      <a:pt x="286" y="297"/>
                    </a:cubicBezTo>
                    <a:cubicBezTo>
                      <a:pt x="281" y="298"/>
                      <a:pt x="275" y="297"/>
                      <a:pt x="272" y="295"/>
                    </a:cubicBezTo>
                    <a:cubicBezTo>
                      <a:pt x="268" y="294"/>
                      <a:pt x="268" y="298"/>
                      <a:pt x="274" y="300"/>
                    </a:cubicBezTo>
                    <a:cubicBezTo>
                      <a:pt x="279" y="301"/>
                      <a:pt x="276" y="305"/>
                      <a:pt x="277" y="307"/>
                    </a:cubicBezTo>
                    <a:cubicBezTo>
                      <a:pt x="278" y="310"/>
                      <a:pt x="276" y="316"/>
                      <a:pt x="273" y="320"/>
                    </a:cubicBezTo>
                    <a:cubicBezTo>
                      <a:pt x="270" y="324"/>
                      <a:pt x="272" y="324"/>
                      <a:pt x="276" y="324"/>
                    </a:cubicBezTo>
                    <a:cubicBezTo>
                      <a:pt x="281" y="324"/>
                      <a:pt x="280" y="330"/>
                      <a:pt x="280" y="334"/>
                    </a:cubicBezTo>
                    <a:cubicBezTo>
                      <a:pt x="280" y="338"/>
                      <a:pt x="277" y="339"/>
                      <a:pt x="277" y="343"/>
                    </a:cubicBezTo>
                    <a:cubicBezTo>
                      <a:pt x="277" y="346"/>
                      <a:pt x="273" y="341"/>
                      <a:pt x="272" y="342"/>
                    </a:cubicBezTo>
                    <a:cubicBezTo>
                      <a:pt x="271" y="344"/>
                      <a:pt x="269" y="342"/>
                      <a:pt x="269" y="339"/>
                    </a:cubicBezTo>
                    <a:cubicBezTo>
                      <a:pt x="268" y="336"/>
                      <a:pt x="261" y="338"/>
                      <a:pt x="257" y="337"/>
                    </a:cubicBezTo>
                    <a:cubicBezTo>
                      <a:pt x="254" y="336"/>
                      <a:pt x="252" y="338"/>
                      <a:pt x="250" y="340"/>
                    </a:cubicBezTo>
                    <a:cubicBezTo>
                      <a:pt x="248" y="343"/>
                      <a:pt x="243" y="344"/>
                      <a:pt x="240" y="345"/>
                    </a:cubicBezTo>
                    <a:cubicBezTo>
                      <a:pt x="237" y="345"/>
                      <a:pt x="232" y="351"/>
                      <a:pt x="229" y="353"/>
                    </a:cubicBezTo>
                    <a:cubicBezTo>
                      <a:pt x="226" y="355"/>
                      <a:pt x="226" y="358"/>
                      <a:pt x="230" y="362"/>
                    </a:cubicBezTo>
                    <a:cubicBezTo>
                      <a:pt x="234" y="366"/>
                      <a:pt x="235" y="369"/>
                      <a:pt x="235" y="371"/>
                    </a:cubicBezTo>
                    <a:cubicBezTo>
                      <a:pt x="234" y="373"/>
                      <a:pt x="223" y="373"/>
                      <a:pt x="221" y="370"/>
                    </a:cubicBezTo>
                    <a:cubicBezTo>
                      <a:pt x="219" y="368"/>
                      <a:pt x="212" y="367"/>
                      <a:pt x="210" y="368"/>
                    </a:cubicBezTo>
                    <a:cubicBezTo>
                      <a:pt x="207" y="368"/>
                      <a:pt x="200" y="360"/>
                      <a:pt x="197" y="360"/>
                    </a:cubicBezTo>
                    <a:cubicBezTo>
                      <a:pt x="193" y="360"/>
                      <a:pt x="191" y="364"/>
                      <a:pt x="190" y="366"/>
                    </a:cubicBezTo>
                    <a:cubicBezTo>
                      <a:pt x="189" y="369"/>
                      <a:pt x="192" y="369"/>
                      <a:pt x="193" y="373"/>
                    </a:cubicBezTo>
                    <a:cubicBezTo>
                      <a:pt x="195" y="377"/>
                      <a:pt x="201" y="377"/>
                      <a:pt x="204" y="377"/>
                    </a:cubicBezTo>
                    <a:cubicBezTo>
                      <a:pt x="207" y="377"/>
                      <a:pt x="206" y="382"/>
                      <a:pt x="205" y="384"/>
                    </a:cubicBezTo>
                    <a:cubicBezTo>
                      <a:pt x="204" y="386"/>
                      <a:pt x="198" y="387"/>
                      <a:pt x="197" y="385"/>
                    </a:cubicBezTo>
                    <a:cubicBezTo>
                      <a:pt x="195" y="383"/>
                      <a:pt x="188" y="385"/>
                      <a:pt x="188" y="382"/>
                    </a:cubicBezTo>
                    <a:cubicBezTo>
                      <a:pt x="188" y="380"/>
                      <a:pt x="183" y="376"/>
                      <a:pt x="178" y="376"/>
                    </a:cubicBezTo>
                    <a:cubicBezTo>
                      <a:pt x="172" y="377"/>
                      <a:pt x="171" y="374"/>
                      <a:pt x="172" y="370"/>
                    </a:cubicBezTo>
                    <a:cubicBezTo>
                      <a:pt x="172" y="366"/>
                      <a:pt x="169" y="364"/>
                      <a:pt x="169" y="362"/>
                    </a:cubicBezTo>
                    <a:cubicBezTo>
                      <a:pt x="169" y="360"/>
                      <a:pt x="167" y="356"/>
                      <a:pt x="169" y="354"/>
                    </a:cubicBezTo>
                    <a:cubicBezTo>
                      <a:pt x="172" y="353"/>
                      <a:pt x="170" y="350"/>
                      <a:pt x="170" y="347"/>
                    </a:cubicBezTo>
                    <a:cubicBezTo>
                      <a:pt x="170" y="345"/>
                      <a:pt x="166" y="341"/>
                      <a:pt x="162" y="341"/>
                    </a:cubicBezTo>
                    <a:cubicBezTo>
                      <a:pt x="157" y="341"/>
                      <a:pt x="158" y="337"/>
                      <a:pt x="155" y="336"/>
                    </a:cubicBezTo>
                    <a:cubicBezTo>
                      <a:pt x="151" y="335"/>
                      <a:pt x="144" y="329"/>
                      <a:pt x="144" y="327"/>
                    </a:cubicBezTo>
                    <a:cubicBezTo>
                      <a:pt x="143" y="324"/>
                      <a:pt x="138" y="324"/>
                      <a:pt x="140" y="323"/>
                    </a:cubicBezTo>
                    <a:cubicBezTo>
                      <a:pt x="142" y="322"/>
                      <a:pt x="146" y="323"/>
                      <a:pt x="149" y="326"/>
                    </a:cubicBezTo>
                    <a:cubicBezTo>
                      <a:pt x="152" y="329"/>
                      <a:pt x="157" y="332"/>
                      <a:pt x="164" y="333"/>
                    </a:cubicBezTo>
                    <a:cubicBezTo>
                      <a:pt x="172" y="334"/>
                      <a:pt x="175" y="338"/>
                      <a:pt x="184" y="339"/>
                    </a:cubicBezTo>
                    <a:cubicBezTo>
                      <a:pt x="193" y="341"/>
                      <a:pt x="198" y="342"/>
                      <a:pt x="210" y="344"/>
                    </a:cubicBezTo>
                    <a:cubicBezTo>
                      <a:pt x="223" y="345"/>
                      <a:pt x="240" y="333"/>
                      <a:pt x="243" y="329"/>
                    </a:cubicBezTo>
                    <a:cubicBezTo>
                      <a:pt x="247" y="326"/>
                      <a:pt x="242" y="319"/>
                      <a:pt x="242" y="316"/>
                    </a:cubicBezTo>
                    <a:cubicBezTo>
                      <a:pt x="242" y="313"/>
                      <a:pt x="236" y="313"/>
                      <a:pt x="236" y="311"/>
                    </a:cubicBezTo>
                    <a:cubicBezTo>
                      <a:pt x="235" y="309"/>
                      <a:pt x="231" y="305"/>
                      <a:pt x="226" y="305"/>
                    </a:cubicBezTo>
                    <a:cubicBezTo>
                      <a:pt x="221" y="305"/>
                      <a:pt x="221" y="300"/>
                      <a:pt x="217" y="300"/>
                    </a:cubicBezTo>
                    <a:cubicBezTo>
                      <a:pt x="213" y="300"/>
                      <a:pt x="210" y="298"/>
                      <a:pt x="200" y="292"/>
                    </a:cubicBezTo>
                    <a:cubicBezTo>
                      <a:pt x="190" y="285"/>
                      <a:pt x="177" y="280"/>
                      <a:pt x="174" y="281"/>
                    </a:cubicBezTo>
                    <a:cubicBezTo>
                      <a:pt x="172" y="283"/>
                      <a:pt x="170" y="283"/>
                      <a:pt x="168" y="281"/>
                    </a:cubicBezTo>
                    <a:cubicBezTo>
                      <a:pt x="167" y="278"/>
                      <a:pt x="163" y="279"/>
                      <a:pt x="160" y="281"/>
                    </a:cubicBezTo>
                    <a:cubicBezTo>
                      <a:pt x="157" y="283"/>
                      <a:pt x="155" y="279"/>
                      <a:pt x="150" y="280"/>
                    </a:cubicBezTo>
                    <a:cubicBezTo>
                      <a:pt x="145" y="281"/>
                      <a:pt x="142" y="278"/>
                      <a:pt x="143" y="276"/>
                    </a:cubicBezTo>
                    <a:cubicBezTo>
                      <a:pt x="145" y="275"/>
                      <a:pt x="152" y="276"/>
                      <a:pt x="152" y="274"/>
                    </a:cubicBezTo>
                    <a:cubicBezTo>
                      <a:pt x="151" y="271"/>
                      <a:pt x="149" y="274"/>
                      <a:pt x="144" y="271"/>
                    </a:cubicBezTo>
                    <a:cubicBezTo>
                      <a:pt x="140" y="268"/>
                      <a:pt x="137" y="270"/>
                      <a:pt x="136" y="272"/>
                    </a:cubicBezTo>
                    <a:cubicBezTo>
                      <a:pt x="135" y="275"/>
                      <a:pt x="132" y="274"/>
                      <a:pt x="129" y="272"/>
                    </a:cubicBezTo>
                    <a:cubicBezTo>
                      <a:pt x="129" y="272"/>
                      <a:pt x="129" y="271"/>
                      <a:pt x="129" y="271"/>
                    </a:cubicBezTo>
                    <a:cubicBezTo>
                      <a:pt x="128" y="275"/>
                      <a:pt x="125" y="276"/>
                      <a:pt x="123" y="275"/>
                    </a:cubicBezTo>
                    <a:cubicBezTo>
                      <a:pt x="120" y="275"/>
                      <a:pt x="117" y="280"/>
                      <a:pt x="114" y="280"/>
                    </a:cubicBezTo>
                    <a:cubicBezTo>
                      <a:pt x="110" y="280"/>
                      <a:pt x="107" y="283"/>
                      <a:pt x="106" y="286"/>
                    </a:cubicBezTo>
                    <a:cubicBezTo>
                      <a:pt x="105" y="289"/>
                      <a:pt x="102" y="288"/>
                      <a:pt x="102" y="290"/>
                    </a:cubicBezTo>
                    <a:cubicBezTo>
                      <a:pt x="102" y="292"/>
                      <a:pt x="102" y="294"/>
                      <a:pt x="100" y="296"/>
                    </a:cubicBezTo>
                    <a:cubicBezTo>
                      <a:pt x="98" y="298"/>
                      <a:pt x="100" y="299"/>
                      <a:pt x="102" y="302"/>
                    </a:cubicBezTo>
                    <a:cubicBezTo>
                      <a:pt x="103" y="305"/>
                      <a:pt x="107" y="305"/>
                      <a:pt x="109" y="306"/>
                    </a:cubicBezTo>
                    <a:cubicBezTo>
                      <a:pt x="110" y="307"/>
                      <a:pt x="117" y="312"/>
                      <a:pt x="117" y="314"/>
                    </a:cubicBezTo>
                    <a:cubicBezTo>
                      <a:pt x="117" y="316"/>
                      <a:pt x="112" y="321"/>
                      <a:pt x="110" y="323"/>
                    </a:cubicBezTo>
                    <a:cubicBezTo>
                      <a:pt x="108" y="324"/>
                      <a:pt x="105" y="327"/>
                      <a:pt x="106" y="329"/>
                    </a:cubicBezTo>
                    <a:cubicBezTo>
                      <a:pt x="108" y="331"/>
                      <a:pt x="113" y="340"/>
                      <a:pt x="117" y="346"/>
                    </a:cubicBezTo>
                    <a:cubicBezTo>
                      <a:pt x="121" y="353"/>
                      <a:pt x="116" y="350"/>
                      <a:pt x="113" y="353"/>
                    </a:cubicBezTo>
                    <a:cubicBezTo>
                      <a:pt x="111" y="356"/>
                      <a:pt x="114" y="360"/>
                      <a:pt x="115" y="362"/>
                    </a:cubicBezTo>
                    <a:cubicBezTo>
                      <a:pt x="116" y="364"/>
                      <a:pt x="112" y="363"/>
                      <a:pt x="112" y="365"/>
                    </a:cubicBezTo>
                    <a:cubicBezTo>
                      <a:pt x="113" y="367"/>
                      <a:pt x="118" y="367"/>
                      <a:pt x="118" y="369"/>
                    </a:cubicBezTo>
                    <a:cubicBezTo>
                      <a:pt x="118" y="370"/>
                      <a:pt x="115" y="372"/>
                      <a:pt x="116" y="374"/>
                    </a:cubicBezTo>
                    <a:cubicBezTo>
                      <a:pt x="118" y="377"/>
                      <a:pt x="122" y="377"/>
                      <a:pt x="122" y="380"/>
                    </a:cubicBezTo>
                    <a:cubicBezTo>
                      <a:pt x="123" y="384"/>
                      <a:pt x="115" y="384"/>
                      <a:pt x="115" y="387"/>
                    </a:cubicBezTo>
                    <a:cubicBezTo>
                      <a:pt x="116" y="389"/>
                      <a:pt x="125" y="393"/>
                      <a:pt x="130" y="398"/>
                    </a:cubicBezTo>
                    <a:cubicBezTo>
                      <a:pt x="134" y="403"/>
                      <a:pt x="134" y="404"/>
                      <a:pt x="133" y="407"/>
                    </a:cubicBezTo>
                    <a:cubicBezTo>
                      <a:pt x="131" y="412"/>
                      <a:pt x="119" y="417"/>
                      <a:pt x="116" y="423"/>
                    </a:cubicBezTo>
                    <a:cubicBezTo>
                      <a:pt x="113" y="429"/>
                      <a:pt x="103" y="432"/>
                      <a:pt x="99" y="437"/>
                    </a:cubicBezTo>
                    <a:cubicBezTo>
                      <a:pt x="97" y="438"/>
                      <a:pt x="95" y="441"/>
                      <a:pt x="93" y="443"/>
                    </a:cubicBezTo>
                    <a:cubicBezTo>
                      <a:pt x="95" y="443"/>
                      <a:pt x="97" y="442"/>
                      <a:pt x="98" y="442"/>
                    </a:cubicBezTo>
                    <a:cubicBezTo>
                      <a:pt x="101" y="440"/>
                      <a:pt x="102" y="447"/>
                      <a:pt x="105" y="449"/>
                    </a:cubicBezTo>
                    <a:cubicBezTo>
                      <a:pt x="108" y="451"/>
                      <a:pt x="113" y="449"/>
                      <a:pt x="115" y="451"/>
                    </a:cubicBezTo>
                    <a:cubicBezTo>
                      <a:pt x="117" y="453"/>
                      <a:pt x="113" y="453"/>
                      <a:pt x="110" y="453"/>
                    </a:cubicBezTo>
                    <a:cubicBezTo>
                      <a:pt x="106" y="452"/>
                      <a:pt x="105" y="454"/>
                      <a:pt x="99" y="456"/>
                    </a:cubicBezTo>
                    <a:cubicBezTo>
                      <a:pt x="94" y="458"/>
                      <a:pt x="95" y="459"/>
                      <a:pt x="93" y="461"/>
                    </a:cubicBezTo>
                    <a:cubicBezTo>
                      <a:pt x="96" y="465"/>
                      <a:pt x="92" y="465"/>
                      <a:pt x="91" y="468"/>
                    </a:cubicBezTo>
                    <a:cubicBezTo>
                      <a:pt x="89" y="471"/>
                      <a:pt x="87" y="472"/>
                      <a:pt x="87" y="474"/>
                    </a:cubicBezTo>
                    <a:cubicBezTo>
                      <a:pt x="87" y="476"/>
                      <a:pt x="88" y="477"/>
                      <a:pt x="88" y="480"/>
                    </a:cubicBezTo>
                    <a:cubicBezTo>
                      <a:pt x="88" y="483"/>
                      <a:pt x="89" y="484"/>
                      <a:pt x="90" y="486"/>
                    </a:cubicBezTo>
                    <a:cubicBezTo>
                      <a:pt x="92" y="489"/>
                      <a:pt x="89" y="489"/>
                      <a:pt x="87" y="490"/>
                    </a:cubicBezTo>
                    <a:cubicBezTo>
                      <a:pt x="86" y="491"/>
                      <a:pt x="87" y="494"/>
                      <a:pt x="89" y="496"/>
                    </a:cubicBezTo>
                    <a:cubicBezTo>
                      <a:pt x="91" y="498"/>
                      <a:pt x="91" y="501"/>
                      <a:pt x="90" y="502"/>
                    </a:cubicBezTo>
                    <a:cubicBezTo>
                      <a:pt x="89" y="504"/>
                      <a:pt x="92" y="507"/>
                      <a:pt x="94" y="509"/>
                    </a:cubicBezTo>
                    <a:cubicBezTo>
                      <a:pt x="95" y="511"/>
                      <a:pt x="95" y="515"/>
                      <a:pt x="97" y="517"/>
                    </a:cubicBezTo>
                    <a:cubicBezTo>
                      <a:pt x="98" y="518"/>
                      <a:pt x="100" y="519"/>
                      <a:pt x="103" y="518"/>
                    </a:cubicBezTo>
                    <a:cubicBezTo>
                      <a:pt x="105" y="518"/>
                      <a:pt x="107" y="519"/>
                      <a:pt x="108" y="521"/>
                    </a:cubicBezTo>
                    <a:cubicBezTo>
                      <a:pt x="110" y="523"/>
                      <a:pt x="112" y="522"/>
                      <a:pt x="114" y="521"/>
                    </a:cubicBezTo>
                    <a:cubicBezTo>
                      <a:pt x="117" y="520"/>
                      <a:pt x="123" y="523"/>
                      <a:pt x="125" y="524"/>
                    </a:cubicBezTo>
                    <a:cubicBezTo>
                      <a:pt x="126" y="525"/>
                      <a:pt x="126" y="529"/>
                      <a:pt x="126" y="532"/>
                    </a:cubicBezTo>
                    <a:cubicBezTo>
                      <a:pt x="126" y="535"/>
                      <a:pt x="124" y="538"/>
                      <a:pt x="127" y="540"/>
                    </a:cubicBezTo>
                    <a:cubicBezTo>
                      <a:pt x="130" y="542"/>
                      <a:pt x="129" y="546"/>
                      <a:pt x="132" y="547"/>
                    </a:cubicBezTo>
                    <a:cubicBezTo>
                      <a:pt x="136" y="548"/>
                      <a:pt x="137" y="553"/>
                      <a:pt x="139" y="553"/>
                    </a:cubicBezTo>
                    <a:cubicBezTo>
                      <a:pt x="141" y="554"/>
                      <a:pt x="145" y="557"/>
                      <a:pt x="145" y="559"/>
                    </a:cubicBezTo>
                    <a:cubicBezTo>
                      <a:pt x="146" y="561"/>
                      <a:pt x="142" y="563"/>
                      <a:pt x="139" y="564"/>
                    </a:cubicBezTo>
                    <a:cubicBezTo>
                      <a:pt x="137" y="565"/>
                      <a:pt x="133" y="561"/>
                      <a:pt x="131" y="563"/>
                    </a:cubicBezTo>
                    <a:cubicBezTo>
                      <a:pt x="130" y="565"/>
                      <a:pt x="132" y="568"/>
                      <a:pt x="133" y="573"/>
                    </a:cubicBezTo>
                    <a:cubicBezTo>
                      <a:pt x="134" y="579"/>
                      <a:pt x="135" y="579"/>
                      <a:pt x="138" y="579"/>
                    </a:cubicBezTo>
                    <a:cubicBezTo>
                      <a:pt x="140" y="579"/>
                      <a:pt x="141" y="578"/>
                      <a:pt x="143" y="577"/>
                    </a:cubicBezTo>
                    <a:cubicBezTo>
                      <a:pt x="145" y="576"/>
                      <a:pt x="149" y="577"/>
                      <a:pt x="151" y="576"/>
                    </a:cubicBezTo>
                    <a:cubicBezTo>
                      <a:pt x="152" y="576"/>
                      <a:pt x="159" y="575"/>
                      <a:pt x="160" y="577"/>
                    </a:cubicBezTo>
                    <a:cubicBezTo>
                      <a:pt x="161" y="579"/>
                      <a:pt x="162" y="584"/>
                      <a:pt x="161" y="586"/>
                    </a:cubicBezTo>
                    <a:cubicBezTo>
                      <a:pt x="160" y="588"/>
                      <a:pt x="163" y="590"/>
                      <a:pt x="164" y="592"/>
                    </a:cubicBezTo>
                    <a:cubicBezTo>
                      <a:pt x="165" y="595"/>
                      <a:pt x="170" y="593"/>
                      <a:pt x="172" y="594"/>
                    </a:cubicBezTo>
                    <a:cubicBezTo>
                      <a:pt x="174" y="595"/>
                      <a:pt x="178" y="600"/>
                      <a:pt x="177" y="603"/>
                    </a:cubicBezTo>
                    <a:cubicBezTo>
                      <a:pt x="176" y="605"/>
                      <a:pt x="180" y="606"/>
                      <a:pt x="181" y="605"/>
                    </a:cubicBezTo>
                    <a:cubicBezTo>
                      <a:pt x="183" y="604"/>
                      <a:pt x="185" y="606"/>
                      <a:pt x="187" y="608"/>
                    </a:cubicBezTo>
                    <a:cubicBezTo>
                      <a:pt x="189" y="609"/>
                      <a:pt x="191" y="608"/>
                      <a:pt x="193" y="607"/>
                    </a:cubicBezTo>
                    <a:cubicBezTo>
                      <a:pt x="195" y="606"/>
                      <a:pt x="198" y="605"/>
                      <a:pt x="199" y="607"/>
                    </a:cubicBezTo>
                    <a:cubicBezTo>
                      <a:pt x="200" y="608"/>
                      <a:pt x="204" y="612"/>
                      <a:pt x="204" y="613"/>
                    </a:cubicBezTo>
                    <a:cubicBezTo>
                      <a:pt x="204" y="614"/>
                      <a:pt x="210" y="613"/>
                      <a:pt x="213" y="614"/>
                    </a:cubicBezTo>
                    <a:cubicBezTo>
                      <a:pt x="216" y="616"/>
                      <a:pt x="219" y="615"/>
                      <a:pt x="223" y="617"/>
                    </a:cubicBezTo>
                    <a:cubicBezTo>
                      <a:pt x="226" y="618"/>
                      <a:pt x="229" y="619"/>
                      <a:pt x="229" y="621"/>
                    </a:cubicBezTo>
                    <a:cubicBezTo>
                      <a:pt x="229" y="623"/>
                      <a:pt x="226" y="624"/>
                      <a:pt x="226" y="625"/>
                    </a:cubicBezTo>
                    <a:cubicBezTo>
                      <a:pt x="226" y="626"/>
                      <a:pt x="229" y="627"/>
                      <a:pt x="229" y="629"/>
                    </a:cubicBezTo>
                    <a:cubicBezTo>
                      <a:pt x="229" y="630"/>
                      <a:pt x="225" y="630"/>
                      <a:pt x="225" y="631"/>
                    </a:cubicBezTo>
                    <a:cubicBezTo>
                      <a:pt x="224" y="633"/>
                      <a:pt x="227" y="634"/>
                      <a:pt x="227" y="636"/>
                    </a:cubicBezTo>
                    <a:cubicBezTo>
                      <a:pt x="228" y="637"/>
                      <a:pt x="225" y="641"/>
                      <a:pt x="225" y="642"/>
                    </a:cubicBezTo>
                    <a:cubicBezTo>
                      <a:pt x="225" y="644"/>
                      <a:pt x="218" y="642"/>
                      <a:pt x="216" y="642"/>
                    </a:cubicBezTo>
                    <a:cubicBezTo>
                      <a:pt x="214" y="642"/>
                      <a:pt x="209" y="648"/>
                      <a:pt x="207" y="648"/>
                    </a:cubicBezTo>
                    <a:cubicBezTo>
                      <a:pt x="206" y="648"/>
                      <a:pt x="206" y="651"/>
                      <a:pt x="207" y="654"/>
                    </a:cubicBezTo>
                    <a:cubicBezTo>
                      <a:pt x="212" y="652"/>
                      <a:pt x="218" y="652"/>
                      <a:pt x="218" y="653"/>
                    </a:cubicBezTo>
                    <a:cubicBezTo>
                      <a:pt x="219" y="655"/>
                      <a:pt x="207" y="661"/>
                      <a:pt x="204" y="661"/>
                    </a:cubicBezTo>
                    <a:cubicBezTo>
                      <a:pt x="202" y="662"/>
                      <a:pt x="209" y="666"/>
                      <a:pt x="209" y="668"/>
                    </a:cubicBezTo>
                    <a:cubicBezTo>
                      <a:pt x="209" y="670"/>
                      <a:pt x="201" y="670"/>
                      <a:pt x="202" y="674"/>
                    </a:cubicBezTo>
                    <a:cubicBezTo>
                      <a:pt x="203" y="678"/>
                      <a:pt x="200" y="679"/>
                      <a:pt x="196" y="679"/>
                    </a:cubicBezTo>
                    <a:cubicBezTo>
                      <a:pt x="192" y="679"/>
                      <a:pt x="191" y="681"/>
                      <a:pt x="193" y="682"/>
                    </a:cubicBezTo>
                    <a:cubicBezTo>
                      <a:pt x="195" y="682"/>
                      <a:pt x="195" y="687"/>
                      <a:pt x="202" y="689"/>
                    </a:cubicBezTo>
                    <a:cubicBezTo>
                      <a:pt x="209" y="691"/>
                      <a:pt x="217" y="697"/>
                      <a:pt x="223" y="704"/>
                    </a:cubicBezTo>
                    <a:cubicBezTo>
                      <a:pt x="224" y="705"/>
                      <a:pt x="225" y="706"/>
                      <a:pt x="226" y="706"/>
                    </a:cubicBezTo>
                    <a:cubicBezTo>
                      <a:pt x="227" y="705"/>
                      <a:pt x="229" y="705"/>
                      <a:pt x="230" y="704"/>
                    </a:cubicBezTo>
                    <a:cubicBezTo>
                      <a:pt x="233" y="704"/>
                      <a:pt x="240" y="706"/>
                      <a:pt x="243" y="708"/>
                    </a:cubicBezTo>
                    <a:cubicBezTo>
                      <a:pt x="247" y="711"/>
                      <a:pt x="259" y="708"/>
                      <a:pt x="261" y="710"/>
                    </a:cubicBezTo>
                    <a:cubicBezTo>
                      <a:pt x="262" y="712"/>
                      <a:pt x="265" y="714"/>
                      <a:pt x="268" y="714"/>
                    </a:cubicBezTo>
                    <a:cubicBezTo>
                      <a:pt x="270" y="714"/>
                      <a:pt x="273" y="719"/>
                      <a:pt x="275" y="718"/>
                    </a:cubicBezTo>
                    <a:cubicBezTo>
                      <a:pt x="277" y="716"/>
                      <a:pt x="284" y="716"/>
                      <a:pt x="286" y="716"/>
                    </a:cubicBezTo>
                    <a:cubicBezTo>
                      <a:pt x="288" y="716"/>
                      <a:pt x="288" y="718"/>
                      <a:pt x="290" y="718"/>
                    </a:cubicBezTo>
                    <a:cubicBezTo>
                      <a:pt x="292" y="718"/>
                      <a:pt x="292" y="725"/>
                      <a:pt x="294" y="725"/>
                    </a:cubicBezTo>
                    <a:cubicBezTo>
                      <a:pt x="295" y="724"/>
                      <a:pt x="301" y="729"/>
                      <a:pt x="304" y="730"/>
                    </a:cubicBezTo>
                    <a:cubicBezTo>
                      <a:pt x="308" y="730"/>
                      <a:pt x="311" y="736"/>
                      <a:pt x="313" y="736"/>
                    </a:cubicBezTo>
                    <a:cubicBezTo>
                      <a:pt x="314" y="735"/>
                      <a:pt x="317" y="738"/>
                      <a:pt x="318" y="736"/>
                    </a:cubicBezTo>
                    <a:cubicBezTo>
                      <a:pt x="319" y="734"/>
                      <a:pt x="324" y="735"/>
                      <a:pt x="325" y="731"/>
                    </a:cubicBezTo>
                    <a:cubicBezTo>
                      <a:pt x="319" y="723"/>
                      <a:pt x="312" y="714"/>
                      <a:pt x="312" y="711"/>
                    </a:cubicBezTo>
                    <a:cubicBezTo>
                      <a:pt x="313" y="705"/>
                      <a:pt x="315" y="702"/>
                      <a:pt x="308" y="696"/>
                    </a:cubicBezTo>
                    <a:cubicBezTo>
                      <a:pt x="301" y="690"/>
                      <a:pt x="309" y="686"/>
                      <a:pt x="314" y="679"/>
                    </a:cubicBezTo>
                    <a:cubicBezTo>
                      <a:pt x="318" y="674"/>
                      <a:pt x="327" y="671"/>
                      <a:pt x="334" y="667"/>
                    </a:cubicBezTo>
                    <a:cubicBezTo>
                      <a:pt x="332" y="666"/>
                      <a:pt x="331" y="665"/>
                      <a:pt x="330" y="665"/>
                    </a:cubicBezTo>
                    <a:cubicBezTo>
                      <a:pt x="325" y="663"/>
                      <a:pt x="324" y="661"/>
                      <a:pt x="327" y="660"/>
                    </a:cubicBezTo>
                    <a:cubicBezTo>
                      <a:pt x="331" y="659"/>
                      <a:pt x="329" y="657"/>
                      <a:pt x="326" y="653"/>
                    </a:cubicBezTo>
                    <a:cubicBezTo>
                      <a:pt x="322" y="649"/>
                      <a:pt x="321" y="645"/>
                      <a:pt x="319" y="645"/>
                    </a:cubicBezTo>
                    <a:cubicBezTo>
                      <a:pt x="317" y="645"/>
                      <a:pt x="314" y="644"/>
                      <a:pt x="311" y="645"/>
                    </a:cubicBezTo>
                    <a:cubicBezTo>
                      <a:pt x="308" y="646"/>
                      <a:pt x="308" y="643"/>
                      <a:pt x="309" y="639"/>
                    </a:cubicBezTo>
                    <a:cubicBezTo>
                      <a:pt x="309" y="636"/>
                      <a:pt x="303" y="636"/>
                      <a:pt x="302" y="635"/>
                    </a:cubicBezTo>
                    <a:cubicBezTo>
                      <a:pt x="301" y="633"/>
                      <a:pt x="304" y="628"/>
                      <a:pt x="305" y="628"/>
                    </a:cubicBezTo>
                    <a:cubicBezTo>
                      <a:pt x="306" y="627"/>
                      <a:pt x="309" y="626"/>
                      <a:pt x="309" y="624"/>
                    </a:cubicBezTo>
                    <a:cubicBezTo>
                      <a:pt x="309" y="623"/>
                      <a:pt x="303" y="622"/>
                      <a:pt x="305" y="619"/>
                    </a:cubicBezTo>
                    <a:cubicBezTo>
                      <a:pt x="307" y="615"/>
                      <a:pt x="311" y="615"/>
                      <a:pt x="311" y="612"/>
                    </a:cubicBezTo>
                    <a:cubicBezTo>
                      <a:pt x="311" y="608"/>
                      <a:pt x="314" y="605"/>
                      <a:pt x="318" y="608"/>
                    </a:cubicBezTo>
                    <a:cubicBezTo>
                      <a:pt x="321" y="610"/>
                      <a:pt x="323" y="617"/>
                      <a:pt x="327" y="615"/>
                    </a:cubicBezTo>
                    <a:cubicBezTo>
                      <a:pt x="331" y="614"/>
                      <a:pt x="328" y="610"/>
                      <a:pt x="328" y="608"/>
                    </a:cubicBezTo>
                    <a:cubicBezTo>
                      <a:pt x="327" y="606"/>
                      <a:pt x="326" y="603"/>
                      <a:pt x="331" y="602"/>
                    </a:cubicBezTo>
                    <a:cubicBezTo>
                      <a:pt x="335" y="601"/>
                      <a:pt x="333" y="597"/>
                      <a:pt x="337" y="597"/>
                    </a:cubicBezTo>
                    <a:cubicBezTo>
                      <a:pt x="340" y="597"/>
                      <a:pt x="347" y="592"/>
                      <a:pt x="349" y="591"/>
                    </a:cubicBezTo>
                    <a:cubicBezTo>
                      <a:pt x="351" y="590"/>
                      <a:pt x="355" y="588"/>
                      <a:pt x="357" y="589"/>
                    </a:cubicBezTo>
                    <a:cubicBezTo>
                      <a:pt x="359" y="590"/>
                      <a:pt x="362" y="592"/>
                      <a:pt x="363" y="589"/>
                    </a:cubicBezTo>
                    <a:cubicBezTo>
                      <a:pt x="365" y="585"/>
                      <a:pt x="371" y="587"/>
                      <a:pt x="371" y="589"/>
                    </a:cubicBezTo>
                    <a:cubicBezTo>
                      <a:pt x="372" y="591"/>
                      <a:pt x="381" y="591"/>
                      <a:pt x="384" y="593"/>
                    </a:cubicBezTo>
                    <a:cubicBezTo>
                      <a:pt x="387" y="595"/>
                      <a:pt x="394" y="599"/>
                      <a:pt x="394" y="601"/>
                    </a:cubicBezTo>
                    <a:cubicBezTo>
                      <a:pt x="394" y="603"/>
                      <a:pt x="397" y="606"/>
                      <a:pt x="397" y="602"/>
                    </a:cubicBezTo>
                    <a:cubicBezTo>
                      <a:pt x="397" y="599"/>
                      <a:pt x="399" y="600"/>
                      <a:pt x="403" y="602"/>
                    </a:cubicBezTo>
                    <a:cubicBezTo>
                      <a:pt x="407" y="605"/>
                      <a:pt x="413" y="604"/>
                      <a:pt x="414" y="601"/>
                    </a:cubicBezTo>
                    <a:cubicBezTo>
                      <a:pt x="415" y="599"/>
                      <a:pt x="422" y="596"/>
                      <a:pt x="425" y="598"/>
                    </a:cubicBezTo>
                    <a:cubicBezTo>
                      <a:pt x="427" y="600"/>
                      <a:pt x="428" y="601"/>
                      <a:pt x="431" y="598"/>
                    </a:cubicBezTo>
                    <a:cubicBezTo>
                      <a:pt x="434" y="595"/>
                      <a:pt x="441" y="596"/>
                      <a:pt x="442" y="599"/>
                    </a:cubicBezTo>
                    <a:cubicBezTo>
                      <a:pt x="443" y="602"/>
                      <a:pt x="447" y="602"/>
                      <a:pt x="450" y="602"/>
                    </a:cubicBezTo>
                    <a:cubicBezTo>
                      <a:pt x="453" y="602"/>
                      <a:pt x="453" y="607"/>
                      <a:pt x="455" y="606"/>
                    </a:cubicBezTo>
                    <a:cubicBezTo>
                      <a:pt x="457" y="605"/>
                      <a:pt x="457" y="600"/>
                      <a:pt x="459" y="600"/>
                    </a:cubicBezTo>
                    <a:cubicBezTo>
                      <a:pt x="462" y="601"/>
                      <a:pt x="464" y="604"/>
                      <a:pt x="468" y="604"/>
                    </a:cubicBezTo>
                    <a:cubicBezTo>
                      <a:pt x="472" y="604"/>
                      <a:pt x="475" y="603"/>
                      <a:pt x="475" y="600"/>
                    </a:cubicBezTo>
                    <a:cubicBezTo>
                      <a:pt x="475" y="597"/>
                      <a:pt x="474" y="592"/>
                      <a:pt x="472" y="592"/>
                    </a:cubicBezTo>
                    <a:cubicBezTo>
                      <a:pt x="469" y="592"/>
                      <a:pt x="467" y="589"/>
                      <a:pt x="464" y="589"/>
                    </a:cubicBezTo>
                    <a:cubicBezTo>
                      <a:pt x="461" y="589"/>
                      <a:pt x="458" y="584"/>
                      <a:pt x="461" y="583"/>
                    </a:cubicBezTo>
                    <a:cubicBezTo>
                      <a:pt x="464" y="582"/>
                      <a:pt x="469" y="580"/>
                      <a:pt x="468" y="577"/>
                    </a:cubicBezTo>
                    <a:cubicBezTo>
                      <a:pt x="467" y="575"/>
                      <a:pt x="466" y="570"/>
                      <a:pt x="470" y="569"/>
                    </a:cubicBezTo>
                    <a:cubicBezTo>
                      <a:pt x="474" y="569"/>
                      <a:pt x="482" y="569"/>
                      <a:pt x="482" y="567"/>
                    </a:cubicBezTo>
                    <a:cubicBezTo>
                      <a:pt x="481" y="566"/>
                      <a:pt x="473" y="565"/>
                      <a:pt x="472" y="562"/>
                    </a:cubicBezTo>
                    <a:cubicBezTo>
                      <a:pt x="470" y="560"/>
                      <a:pt x="470" y="554"/>
                      <a:pt x="471" y="553"/>
                    </a:cubicBezTo>
                    <a:cubicBezTo>
                      <a:pt x="473" y="552"/>
                      <a:pt x="478" y="553"/>
                      <a:pt x="481" y="552"/>
                    </a:cubicBezTo>
                    <a:cubicBezTo>
                      <a:pt x="484" y="551"/>
                      <a:pt x="490" y="554"/>
                      <a:pt x="494" y="551"/>
                    </a:cubicBezTo>
                    <a:cubicBezTo>
                      <a:pt x="498" y="548"/>
                      <a:pt x="507" y="547"/>
                      <a:pt x="511" y="547"/>
                    </a:cubicBezTo>
                    <a:cubicBezTo>
                      <a:pt x="516" y="547"/>
                      <a:pt x="519" y="544"/>
                      <a:pt x="523" y="544"/>
                    </a:cubicBezTo>
                    <a:cubicBezTo>
                      <a:pt x="526" y="543"/>
                      <a:pt x="536" y="542"/>
                      <a:pt x="539" y="541"/>
                    </a:cubicBezTo>
                    <a:cubicBezTo>
                      <a:pt x="541" y="540"/>
                      <a:pt x="555" y="538"/>
                      <a:pt x="555" y="535"/>
                    </a:cubicBezTo>
                    <a:cubicBezTo>
                      <a:pt x="556" y="533"/>
                      <a:pt x="567" y="531"/>
                      <a:pt x="569" y="532"/>
                    </a:cubicBezTo>
                    <a:cubicBezTo>
                      <a:pt x="572" y="533"/>
                      <a:pt x="576" y="534"/>
                      <a:pt x="578" y="533"/>
                    </a:cubicBezTo>
                    <a:cubicBezTo>
                      <a:pt x="581" y="532"/>
                      <a:pt x="586" y="535"/>
                      <a:pt x="585" y="538"/>
                    </a:cubicBezTo>
                    <a:cubicBezTo>
                      <a:pt x="585" y="541"/>
                      <a:pt x="588" y="544"/>
                      <a:pt x="587" y="546"/>
                    </a:cubicBezTo>
                    <a:cubicBezTo>
                      <a:pt x="587" y="548"/>
                      <a:pt x="585" y="549"/>
                      <a:pt x="586" y="551"/>
                    </a:cubicBezTo>
                    <a:cubicBezTo>
                      <a:pt x="588" y="552"/>
                      <a:pt x="594" y="551"/>
                      <a:pt x="596" y="549"/>
                    </a:cubicBezTo>
                    <a:cubicBezTo>
                      <a:pt x="598" y="547"/>
                      <a:pt x="601" y="550"/>
                      <a:pt x="601" y="552"/>
                    </a:cubicBezTo>
                    <a:cubicBezTo>
                      <a:pt x="601" y="553"/>
                      <a:pt x="604" y="555"/>
                      <a:pt x="604" y="552"/>
                    </a:cubicBezTo>
                    <a:cubicBezTo>
                      <a:pt x="604" y="550"/>
                      <a:pt x="608" y="552"/>
                      <a:pt x="609" y="553"/>
                    </a:cubicBezTo>
                    <a:cubicBezTo>
                      <a:pt x="610" y="555"/>
                      <a:pt x="615" y="551"/>
                      <a:pt x="615" y="554"/>
                    </a:cubicBezTo>
                    <a:cubicBezTo>
                      <a:pt x="615" y="556"/>
                      <a:pt x="608" y="558"/>
                      <a:pt x="611" y="561"/>
                    </a:cubicBezTo>
                    <a:cubicBezTo>
                      <a:pt x="614" y="564"/>
                      <a:pt x="616" y="558"/>
                      <a:pt x="620" y="559"/>
                    </a:cubicBezTo>
                    <a:cubicBezTo>
                      <a:pt x="623" y="560"/>
                      <a:pt x="628" y="555"/>
                      <a:pt x="632" y="554"/>
                    </a:cubicBezTo>
                    <a:cubicBezTo>
                      <a:pt x="635" y="553"/>
                      <a:pt x="639" y="550"/>
                      <a:pt x="642" y="548"/>
                    </a:cubicBezTo>
                    <a:cubicBezTo>
                      <a:pt x="645" y="547"/>
                      <a:pt x="652" y="547"/>
                      <a:pt x="650" y="549"/>
                    </a:cubicBezTo>
                    <a:cubicBezTo>
                      <a:pt x="648" y="551"/>
                      <a:pt x="645" y="555"/>
                      <a:pt x="653" y="558"/>
                    </a:cubicBezTo>
                    <a:cubicBezTo>
                      <a:pt x="660" y="560"/>
                      <a:pt x="669" y="575"/>
                      <a:pt x="674" y="582"/>
                    </a:cubicBezTo>
                    <a:cubicBezTo>
                      <a:pt x="678" y="589"/>
                      <a:pt x="683" y="602"/>
                      <a:pt x="685" y="602"/>
                    </a:cubicBezTo>
                    <a:cubicBezTo>
                      <a:pt x="688" y="602"/>
                      <a:pt x="689" y="596"/>
                      <a:pt x="692" y="595"/>
                    </a:cubicBezTo>
                    <a:cubicBezTo>
                      <a:pt x="695" y="594"/>
                      <a:pt x="697" y="601"/>
                      <a:pt x="701" y="601"/>
                    </a:cubicBezTo>
                    <a:cubicBezTo>
                      <a:pt x="704" y="602"/>
                      <a:pt x="709" y="604"/>
                      <a:pt x="712" y="603"/>
                    </a:cubicBezTo>
                    <a:cubicBezTo>
                      <a:pt x="714" y="602"/>
                      <a:pt x="721" y="599"/>
                      <a:pt x="723" y="600"/>
                    </a:cubicBezTo>
                    <a:cubicBezTo>
                      <a:pt x="725" y="601"/>
                      <a:pt x="728" y="601"/>
                      <a:pt x="730" y="606"/>
                    </a:cubicBezTo>
                    <a:cubicBezTo>
                      <a:pt x="732" y="611"/>
                      <a:pt x="735" y="612"/>
                      <a:pt x="737" y="612"/>
                    </a:cubicBezTo>
                    <a:cubicBezTo>
                      <a:pt x="739" y="612"/>
                      <a:pt x="740" y="614"/>
                      <a:pt x="740" y="616"/>
                    </a:cubicBezTo>
                    <a:cubicBezTo>
                      <a:pt x="740" y="618"/>
                      <a:pt x="743" y="621"/>
                      <a:pt x="745" y="621"/>
                    </a:cubicBezTo>
                    <a:cubicBezTo>
                      <a:pt x="747" y="621"/>
                      <a:pt x="753" y="620"/>
                      <a:pt x="754" y="619"/>
                    </a:cubicBezTo>
                    <a:cubicBezTo>
                      <a:pt x="756" y="618"/>
                      <a:pt x="758" y="617"/>
                      <a:pt x="758" y="619"/>
                    </a:cubicBezTo>
                    <a:cubicBezTo>
                      <a:pt x="759" y="622"/>
                      <a:pt x="762" y="625"/>
                      <a:pt x="764" y="625"/>
                    </a:cubicBezTo>
                    <a:cubicBezTo>
                      <a:pt x="766" y="625"/>
                      <a:pt x="770" y="627"/>
                      <a:pt x="770" y="625"/>
                    </a:cubicBezTo>
                    <a:cubicBezTo>
                      <a:pt x="770" y="624"/>
                      <a:pt x="776" y="623"/>
                      <a:pt x="778" y="622"/>
                    </a:cubicBezTo>
                    <a:cubicBezTo>
                      <a:pt x="780" y="622"/>
                      <a:pt x="787" y="621"/>
                      <a:pt x="788" y="618"/>
                    </a:cubicBezTo>
                    <a:cubicBezTo>
                      <a:pt x="789" y="615"/>
                      <a:pt x="795" y="615"/>
                      <a:pt x="797" y="613"/>
                    </a:cubicBezTo>
                    <a:cubicBezTo>
                      <a:pt x="798" y="611"/>
                      <a:pt x="803" y="610"/>
                      <a:pt x="804" y="608"/>
                    </a:cubicBezTo>
                    <a:cubicBezTo>
                      <a:pt x="805" y="606"/>
                      <a:pt x="811" y="606"/>
                      <a:pt x="812" y="604"/>
                    </a:cubicBezTo>
                    <a:cubicBezTo>
                      <a:pt x="812" y="603"/>
                      <a:pt x="817" y="602"/>
                      <a:pt x="820" y="603"/>
                    </a:cubicBezTo>
                    <a:cubicBezTo>
                      <a:pt x="822" y="604"/>
                      <a:pt x="834" y="606"/>
                      <a:pt x="835" y="606"/>
                    </a:cubicBezTo>
                    <a:cubicBezTo>
                      <a:pt x="837" y="605"/>
                      <a:pt x="837" y="612"/>
                      <a:pt x="839" y="612"/>
                    </a:cubicBezTo>
                    <a:cubicBezTo>
                      <a:pt x="841" y="612"/>
                      <a:pt x="847" y="617"/>
                      <a:pt x="848" y="616"/>
                    </a:cubicBezTo>
                    <a:cubicBezTo>
                      <a:pt x="850" y="614"/>
                      <a:pt x="854" y="613"/>
                      <a:pt x="857" y="615"/>
                    </a:cubicBezTo>
                    <a:cubicBezTo>
                      <a:pt x="861" y="617"/>
                      <a:pt x="864" y="620"/>
                      <a:pt x="865" y="617"/>
                    </a:cubicBezTo>
                    <a:cubicBezTo>
                      <a:pt x="867" y="615"/>
                      <a:pt x="874" y="614"/>
                      <a:pt x="875" y="613"/>
                    </a:cubicBezTo>
                    <a:cubicBezTo>
                      <a:pt x="876" y="611"/>
                      <a:pt x="877" y="607"/>
                      <a:pt x="875" y="606"/>
                    </a:cubicBezTo>
                    <a:cubicBezTo>
                      <a:pt x="873" y="605"/>
                      <a:pt x="872" y="599"/>
                      <a:pt x="871" y="597"/>
                    </a:cubicBezTo>
                    <a:cubicBezTo>
                      <a:pt x="870" y="594"/>
                      <a:pt x="875" y="593"/>
                      <a:pt x="876" y="591"/>
                    </a:cubicBezTo>
                    <a:cubicBezTo>
                      <a:pt x="876" y="589"/>
                      <a:pt x="880" y="588"/>
                      <a:pt x="882" y="587"/>
                    </a:cubicBezTo>
                    <a:cubicBezTo>
                      <a:pt x="883" y="586"/>
                      <a:pt x="883" y="583"/>
                      <a:pt x="886" y="583"/>
                    </a:cubicBezTo>
                    <a:cubicBezTo>
                      <a:pt x="888" y="584"/>
                      <a:pt x="893" y="586"/>
                      <a:pt x="894" y="587"/>
                    </a:cubicBezTo>
                    <a:cubicBezTo>
                      <a:pt x="895" y="588"/>
                      <a:pt x="899" y="588"/>
                      <a:pt x="901" y="588"/>
                    </a:cubicBezTo>
                    <a:cubicBezTo>
                      <a:pt x="903" y="588"/>
                      <a:pt x="907" y="590"/>
                      <a:pt x="909" y="592"/>
                    </a:cubicBezTo>
                    <a:cubicBezTo>
                      <a:pt x="912" y="593"/>
                      <a:pt x="919" y="593"/>
                      <a:pt x="920" y="595"/>
                    </a:cubicBezTo>
                    <a:cubicBezTo>
                      <a:pt x="922" y="597"/>
                      <a:pt x="920" y="603"/>
                      <a:pt x="922" y="605"/>
                    </a:cubicBezTo>
                    <a:cubicBezTo>
                      <a:pt x="923" y="607"/>
                      <a:pt x="927" y="611"/>
                      <a:pt x="929" y="610"/>
                    </a:cubicBezTo>
                    <a:cubicBezTo>
                      <a:pt x="930" y="609"/>
                      <a:pt x="936" y="613"/>
                      <a:pt x="939" y="613"/>
                    </a:cubicBezTo>
                    <a:cubicBezTo>
                      <a:pt x="941" y="613"/>
                      <a:pt x="945" y="609"/>
                      <a:pt x="947" y="609"/>
                    </a:cubicBezTo>
                    <a:cubicBezTo>
                      <a:pt x="949" y="609"/>
                      <a:pt x="955" y="607"/>
                      <a:pt x="957" y="608"/>
                    </a:cubicBezTo>
                    <a:cubicBezTo>
                      <a:pt x="959" y="608"/>
                      <a:pt x="966" y="611"/>
                      <a:pt x="967" y="610"/>
                    </a:cubicBezTo>
                    <a:cubicBezTo>
                      <a:pt x="968" y="609"/>
                      <a:pt x="975" y="610"/>
                      <a:pt x="976" y="612"/>
                    </a:cubicBezTo>
                    <a:cubicBezTo>
                      <a:pt x="977" y="614"/>
                      <a:pt x="985" y="614"/>
                      <a:pt x="985" y="617"/>
                    </a:cubicBezTo>
                    <a:cubicBezTo>
                      <a:pt x="985" y="619"/>
                      <a:pt x="990" y="620"/>
                      <a:pt x="991" y="623"/>
                    </a:cubicBezTo>
                    <a:cubicBezTo>
                      <a:pt x="993" y="626"/>
                      <a:pt x="1004" y="624"/>
                      <a:pt x="1006" y="626"/>
                    </a:cubicBezTo>
                    <a:cubicBezTo>
                      <a:pt x="1008" y="627"/>
                      <a:pt x="1020" y="627"/>
                      <a:pt x="1021" y="626"/>
                    </a:cubicBezTo>
                    <a:cubicBezTo>
                      <a:pt x="1021" y="624"/>
                      <a:pt x="1033" y="624"/>
                      <a:pt x="1035" y="622"/>
                    </a:cubicBezTo>
                    <a:cubicBezTo>
                      <a:pt x="1038" y="620"/>
                      <a:pt x="1044" y="621"/>
                      <a:pt x="1044" y="619"/>
                    </a:cubicBezTo>
                    <a:cubicBezTo>
                      <a:pt x="1045" y="616"/>
                      <a:pt x="1051" y="615"/>
                      <a:pt x="1053" y="613"/>
                    </a:cubicBezTo>
                    <a:cubicBezTo>
                      <a:pt x="1056" y="611"/>
                      <a:pt x="1067" y="611"/>
                      <a:pt x="1067" y="613"/>
                    </a:cubicBezTo>
                    <a:cubicBezTo>
                      <a:pt x="1068" y="616"/>
                      <a:pt x="1074" y="616"/>
                      <a:pt x="1077" y="615"/>
                    </a:cubicBezTo>
                    <a:cubicBezTo>
                      <a:pt x="1080" y="614"/>
                      <a:pt x="1087" y="616"/>
                      <a:pt x="1088" y="618"/>
                    </a:cubicBezTo>
                    <a:cubicBezTo>
                      <a:pt x="1089" y="620"/>
                      <a:pt x="1097" y="622"/>
                      <a:pt x="1099" y="621"/>
                    </a:cubicBezTo>
                    <a:cubicBezTo>
                      <a:pt x="1101" y="620"/>
                      <a:pt x="1107" y="616"/>
                      <a:pt x="1109" y="615"/>
                    </a:cubicBezTo>
                    <a:cubicBezTo>
                      <a:pt x="1112" y="615"/>
                      <a:pt x="1115" y="613"/>
                      <a:pt x="1114" y="610"/>
                    </a:cubicBezTo>
                    <a:cubicBezTo>
                      <a:pt x="1114" y="608"/>
                      <a:pt x="1119" y="601"/>
                      <a:pt x="1120" y="599"/>
                    </a:cubicBezTo>
                    <a:cubicBezTo>
                      <a:pt x="1120" y="596"/>
                      <a:pt x="1125" y="589"/>
                      <a:pt x="1127" y="588"/>
                    </a:cubicBezTo>
                    <a:cubicBezTo>
                      <a:pt x="1128" y="587"/>
                      <a:pt x="1132" y="584"/>
                      <a:pt x="1132" y="582"/>
                    </a:cubicBezTo>
                    <a:cubicBezTo>
                      <a:pt x="1131" y="580"/>
                      <a:pt x="1130" y="574"/>
                      <a:pt x="1128" y="574"/>
                    </a:cubicBezTo>
                    <a:cubicBezTo>
                      <a:pt x="1126" y="574"/>
                      <a:pt x="1123" y="575"/>
                      <a:pt x="1127" y="568"/>
                    </a:cubicBezTo>
                    <a:cubicBezTo>
                      <a:pt x="1132" y="562"/>
                      <a:pt x="1140" y="564"/>
                      <a:pt x="1142" y="564"/>
                    </a:cubicBezTo>
                    <a:cubicBezTo>
                      <a:pt x="1143" y="564"/>
                      <a:pt x="1154" y="561"/>
                      <a:pt x="1158" y="562"/>
                    </a:cubicBezTo>
                    <a:cubicBezTo>
                      <a:pt x="1163" y="564"/>
                      <a:pt x="1166" y="562"/>
                      <a:pt x="1171" y="564"/>
                    </a:cubicBezTo>
                    <a:cubicBezTo>
                      <a:pt x="1176" y="567"/>
                      <a:pt x="1183" y="566"/>
                      <a:pt x="1185" y="568"/>
                    </a:cubicBezTo>
                    <a:cubicBezTo>
                      <a:pt x="1186" y="571"/>
                      <a:pt x="1193" y="573"/>
                      <a:pt x="1192" y="577"/>
                    </a:cubicBezTo>
                    <a:cubicBezTo>
                      <a:pt x="1191" y="581"/>
                      <a:pt x="1196" y="578"/>
                      <a:pt x="1197" y="587"/>
                    </a:cubicBezTo>
                    <a:cubicBezTo>
                      <a:pt x="1199" y="596"/>
                      <a:pt x="1203" y="596"/>
                      <a:pt x="1204" y="600"/>
                    </a:cubicBezTo>
                    <a:cubicBezTo>
                      <a:pt x="1205" y="604"/>
                      <a:pt x="1210" y="612"/>
                      <a:pt x="1210" y="614"/>
                    </a:cubicBezTo>
                    <a:cubicBezTo>
                      <a:pt x="1209" y="616"/>
                      <a:pt x="1208" y="620"/>
                      <a:pt x="1214" y="620"/>
                    </a:cubicBezTo>
                    <a:cubicBezTo>
                      <a:pt x="1220" y="621"/>
                      <a:pt x="1224" y="625"/>
                      <a:pt x="1225" y="624"/>
                    </a:cubicBezTo>
                    <a:cubicBezTo>
                      <a:pt x="1226" y="624"/>
                      <a:pt x="1233" y="626"/>
                      <a:pt x="1236" y="629"/>
                    </a:cubicBezTo>
                    <a:cubicBezTo>
                      <a:pt x="1240" y="633"/>
                      <a:pt x="1245" y="631"/>
                      <a:pt x="1244" y="635"/>
                    </a:cubicBezTo>
                    <a:cubicBezTo>
                      <a:pt x="1244" y="638"/>
                      <a:pt x="1247" y="641"/>
                      <a:pt x="1247" y="644"/>
                    </a:cubicBezTo>
                    <a:cubicBezTo>
                      <a:pt x="1246" y="647"/>
                      <a:pt x="1253" y="649"/>
                      <a:pt x="1258" y="649"/>
                    </a:cubicBezTo>
                    <a:cubicBezTo>
                      <a:pt x="1262" y="648"/>
                      <a:pt x="1266" y="650"/>
                      <a:pt x="1268" y="646"/>
                    </a:cubicBezTo>
                    <a:cubicBezTo>
                      <a:pt x="1270" y="642"/>
                      <a:pt x="1276" y="644"/>
                      <a:pt x="1279" y="642"/>
                    </a:cubicBezTo>
                    <a:cubicBezTo>
                      <a:pt x="1281" y="641"/>
                      <a:pt x="1288" y="639"/>
                      <a:pt x="1288" y="645"/>
                    </a:cubicBezTo>
                    <a:cubicBezTo>
                      <a:pt x="1287" y="651"/>
                      <a:pt x="1291" y="652"/>
                      <a:pt x="1288" y="654"/>
                    </a:cubicBezTo>
                    <a:cubicBezTo>
                      <a:pt x="1285" y="656"/>
                      <a:pt x="1283" y="665"/>
                      <a:pt x="1282" y="668"/>
                    </a:cubicBezTo>
                    <a:cubicBezTo>
                      <a:pt x="1281" y="672"/>
                      <a:pt x="1276" y="673"/>
                      <a:pt x="1275" y="677"/>
                    </a:cubicBezTo>
                    <a:cubicBezTo>
                      <a:pt x="1275" y="681"/>
                      <a:pt x="1270" y="681"/>
                      <a:pt x="1270" y="684"/>
                    </a:cubicBezTo>
                    <a:cubicBezTo>
                      <a:pt x="1270" y="687"/>
                      <a:pt x="1263" y="687"/>
                      <a:pt x="1260" y="684"/>
                    </a:cubicBezTo>
                    <a:cubicBezTo>
                      <a:pt x="1257" y="682"/>
                      <a:pt x="1253" y="689"/>
                      <a:pt x="1251" y="689"/>
                    </a:cubicBezTo>
                    <a:cubicBezTo>
                      <a:pt x="1248" y="689"/>
                      <a:pt x="1248" y="694"/>
                      <a:pt x="1249" y="697"/>
                    </a:cubicBezTo>
                    <a:cubicBezTo>
                      <a:pt x="1250" y="699"/>
                      <a:pt x="1248" y="702"/>
                      <a:pt x="1250" y="706"/>
                    </a:cubicBezTo>
                    <a:cubicBezTo>
                      <a:pt x="1250" y="708"/>
                      <a:pt x="1250" y="712"/>
                      <a:pt x="1250" y="717"/>
                    </a:cubicBezTo>
                    <a:cubicBezTo>
                      <a:pt x="1254" y="714"/>
                      <a:pt x="1258" y="712"/>
                      <a:pt x="1260" y="712"/>
                    </a:cubicBezTo>
                    <a:cubicBezTo>
                      <a:pt x="1264" y="712"/>
                      <a:pt x="1268" y="719"/>
                      <a:pt x="1273" y="719"/>
                    </a:cubicBezTo>
                    <a:cubicBezTo>
                      <a:pt x="1277" y="719"/>
                      <a:pt x="1299" y="705"/>
                      <a:pt x="1299" y="703"/>
                    </a:cubicBezTo>
                    <a:cubicBezTo>
                      <a:pt x="1299" y="700"/>
                      <a:pt x="1311" y="688"/>
                      <a:pt x="1317" y="682"/>
                    </a:cubicBezTo>
                    <a:cubicBezTo>
                      <a:pt x="1323" y="676"/>
                      <a:pt x="1331" y="667"/>
                      <a:pt x="1334" y="660"/>
                    </a:cubicBezTo>
                    <a:cubicBezTo>
                      <a:pt x="1335" y="656"/>
                      <a:pt x="1344" y="647"/>
                      <a:pt x="1346" y="644"/>
                    </a:cubicBezTo>
                    <a:cubicBezTo>
                      <a:pt x="1348" y="641"/>
                      <a:pt x="1349" y="640"/>
                      <a:pt x="1353" y="633"/>
                    </a:cubicBezTo>
                    <a:cubicBezTo>
                      <a:pt x="1356" y="625"/>
                      <a:pt x="1356" y="604"/>
                      <a:pt x="1357" y="603"/>
                    </a:cubicBezTo>
                    <a:cubicBezTo>
                      <a:pt x="1359" y="602"/>
                      <a:pt x="1358" y="598"/>
                      <a:pt x="1360" y="596"/>
                    </a:cubicBezTo>
                    <a:cubicBezTo>
                      <a:pt x="1361" y="594"/>
                      <a:pt x="1360" y="591"/>
                      <a:pt x="1364" y="588"/>
                    </a:cubicBezTo>
                    <a:cubicBezTo>
                      <a:pt x="1367" y="585"/>
                      <a:pt x="1366" y="583"/>
                      <a:pt x="1366" y="580"/>
                    </a:cubicBezTo>
                    <a:cubicBezTo>
                      <a:pt x="1365" y="578"/>
                      <a:pt x="1366" y="573"/>
                      <a:pt x="1365" y="572"/>
                    </a:cubicBezTo>
                    <a:cubicBezTo>
                      <a:pt x="1364" y="570"/>
                      <a:pt x="1364" y="570"/>
                      <a:pt x="1366" y="569"/>
                    </a:cubicBezTo>
                    <a:cubicBezTo>
                      <a:pt x="1368" y="567"/>
                      <a:pt x="1365" y="564"/>
                      <a:pt x="1362" y="563"/>
                    </a:cubicBezTo>
                    <a:cubicBezTo>
                      <a:pt x="1359" y="562"/>
                      <a:pt x="1356" y="561"/>
                      <a:pt x="1355" y="557"/>
                    </a:cubicBezTo>
                    <a:cubicBezTo>
                      <a:pt x="1355" y="554"/>
                      <a:pt x="1350" y="550"/>
                      <a:pt x="1346" y="551"/>
                    </a:cubicBezTo>
                    <a:cubicBezTo>
                      <a:pt x="1343" y="551"/>
                      <a:pt x="1336" y="549"/>
                      <a:pt x="1337" y="551"/>
                    </a:cubicBezTo>
                    <a:cubicBezTo>
                      <a:pt x="1338" y="553"/>
                      <a:pt x="1336" y="555"/>
                      <a:pt x="1335" y="555"/>
                    </a:cubicBezTo>
                    <a:cubicBezTo>
                      <a:pt x="1333" y="554"/>
                      <a:pt x="1332" y="556"/>
                      <a:pt x="1330" y="559"/>
                    </a:cubicBezTo>
                    <a:cubicBezTo>
                      <a:pt x="1328" y="563"/>
                      <a:pt x="1320" y="563"/>
                      <a:pt x="1323" y="560"/>
                    </a:cubicBezTo>
                    <a:cubicBezTo>
                      <a:pt x="1327" y="557"/>
                      <a:pt x="1322" y="556"/>
                      <a:pt x="1323" y="553"/>
                    </a:cubicBezTo>
                    <a:cubicBezTo>
                      <a:pt x="1324" y="550"/>
                      <a:pt x="1326" y="546"/>
                      <a:pt x="1323" y="549"/>
                    </a:cubicBezTo>
                    <a:cubicBezTo>
                      <a:pt x="1319" y="551"/>
                      <a:pt x="1319" y="556"/>
                      <a:pt x="1316" y="557"/>
                    </a:cubicBezTo>
                    <a:cubicBezTo>
                      <a:pt x="1312" y="557"/>
                      <a:pt x="1313" y="548"/>
                      <a:pt x="1314" y="545"/>
                    </a:cubicBezTo>
                    <a:cubicBezTo>
                      <a:pt x="1315" y="543"/>
                      <a:pt x="1308" y="545"/>
                      <a:pt x="1301" y="545"/>
                    </a:cubicBezTo>
                    <a:cubicBezTo>
                      <a:pt x="1294" y="544"/>
                      <a:pt x="1296" y="539"/>
                      <a:pt x="1302" y="536"/>
                    </a:cubicBezTo>
                    <a:cubicBezTo>
                      <a:pt x="1308" y="533"/>
                      <a:pt x="1307" y="531"/>
                      <a:pt x="1309" y="529"/>
                    </a:cubicBezTo>
                    <a:cubicBezTo>
                      <a:pt x="1312" y="528"/>
                      <a:pt x="1320" y="523"/>
                      <a:pt x="1324" y="521"/>
                    </a:cubicBezTo>
                    <a:cubicBezTo>
                      <a:pt x="1328" y="518"/>
                      <a:pt x="1329" y="516"/>
                      <a:pt x="1330" y="513"/>
                    </a:cubicBezTo>
                    <a:cubicBezTo>
                      <a:pt x="1331" y="510"/>
                      <a:pt x="1339" y="506"/>
                      <a:pt x="1346" y="501"/>
                    </a:cubicBezTo>
                    <a:cubicBezTo>
                      <a:pt x="1353" y="495"/>
                      <a:pt x="1357" y="491"/>
                      <a:pt x="1359" y="488"/>
                    </a:cubicBezTo>
                    <a:cubicBezTo>
                      <a:pt x="1360" y="484"/>
                      <a:pt x="1371" y="480"/>
                      <a:pt x="1371" y="477"/>
                    </a:cubicBezTo>
                    <a:cubicBezTo>
                      <a:pt x="1371" y="475"/>
                      <a:pt x="1384" y="468"/>
                      <a:pt x="1392" y="466"/>
                    </a:cubicBezTo>
                    <a:cubicBezTo>
                      <a:pt x="1401" y="465"/>
                      <a:pt x="1414" y="467"/>
                      <a:pt x="1417" y="469"/>
                    </a:cubicBezTo>
                    <a:cubicBezTo>
                      <a:pt x="1419" y="472"/>
                      <a:pt x="1421" y="471"/>
                      <a:pt x="1423" y="469"/>
                    </a:cubicBezTo>
                    <a:cubicBezTo>
                      <a:pt x="1424" y="468"/>
                      <a:pt x="1427" y="468"/>
                      <a:pt x="1433" y="469"/>
                    </a:cubicBezTo>
                    <a:cubicBezTo>
                      <a:pt x="1439" y="470"/>
                      <a:pt x="1440" y="466"/>
                      <a:pt x="1444" y="468"/>
                    </a:cubicBezTo>
                    <a:cubicBezTo>
                      <a:pt x="1448" y="469"/>
                      <a:pt x="1451" y="469"/>
                      <a:pt x="1453" y="465"/>
                    </a:cubicBezTo>
                    <a:cubicBezTo>
                      <a:pt x="1456" y="460"/>
                      <a:pt x="1467" y="461"/>
                      <a:pt x="1469" y="463"/>
                    </a:cubicBezTo>
                    <a:cubicBezTo>
                      <a:pt x="1472" y="465"/>
                      <a:pt x="1474" y="467"/>
                      <a:pt x="1478" y="465"/>
                    </a:cubicBezTo>
                    <a:cubicBezTo>
                      <a:pt x="1482" y="462"/>
                      <a:pt x="1482" y="468"/>
                      <a:pt x="1485" y="469"/>
                    </a:cubicBezTo>
                    <a:cubicBezTo>
                      <a:pt x="1489" y="469"/>
                      <a:pt x="1487" y="473"/>
                      <a:pt x="1483" y="472"/>
                    </a:cubicBezTo>
                    <a:cubicBezTo>
                      <a:pt x="1480" y="472"/>
                      <a:pt x="1476" y="474"/>
                      <a:pt x="1480" y="476"/>
                    </a:cubicBezTo>
                    <a:cubicBezTo>
                      <a:pt x="1484" y="478"/>
                      <a:pt x="1488" y="474"/>
                      <a:pt x="1491" y="474"/>
                    </a:cubicBezTo>
                    <a:cubicBezTo>
                      <a:pt x="1494" y="475"/>
                      <a:pt x="1499" y="475"/>
                      <a:pt x="1503" y="472"/>
                    </a:cubicBezTo>
                    <a:cubicBezTo>
                      <a:pt x="1507" y="470"/>
                      <a:pt x="1508" y="475"/>
                      <a:pt x="1511" y="472"/>
                    </a:cubicBezTo>
                    <a:cubicBezTo>
                      <a:pt x="1514" y="470"/>
                      <a:pt x="1520" y="469"/>
                      <a:pt x="1523" y="469"/>
                    </a:cubicBezTo>
                    <a:cubicBezTo>
                      <a:pt x="1526" y="470"/>
                      <a:pt x="1523" y="466"/>
                      <a:pt x="1518" y="466"/>
                    </a:cubicBezTo>
                    <a:cubicBezTo>
                      <a:pt x="1513" y="466"/>
                      <a:pt x="1513" y="463"/>
                      <a:pt x="1517" y="456"/>
                    </a:cubicBezTo>
                    <a:cubicBezTo>
                      <a:pt x="1521" y="450"/>
                      <a:pt x="1529" y="446"/>
                      <a:pt x="1534" y="442"/>
                    </a:cubicBezTo>
                    <a:cubicBezTo>
                      <a:pt x="1539" y="438"/>
                      <a:pt x="1542" y="440"/>
                      <a:pt x="1542" y="437"/>
                    </a:cubicBezTo>
                    <a:cubicBezTo>
                      <a:pt x="1542" y="434"/>
                      <a:pt x="1544" y="427"/>
                      <a:pt x="1548" y="427"/>
                    </a:cubicBezTo>
                    <a:cubicBezTo>
                      <a:pt x="1552" y="426"/>
                      <a:pt x="1561" y="428"/>
                      <a:pt x="1567" y="425"/>
                    </a:cubicBezTo>
                    <a:cubicBezTo>
                      <a:pt x="1572" y="422"/>
                      <a:pt x="1572" y="427"/>
                      <a:pt x="1574" y="428"/>
                    </a:cubicBezTo>
                    <a:cubicBezTo>
                      <a:pt x="1576" y="429"/>
                      <a:pt x="1580" y="423"/>
                      <a:pt x="1582" y="425"/>
                    </a:cubicBezTo>
                    <a:cubicBezTo>
                      <a:pt x="1585" y="427"/>
                      <a:pt x="1578" y="431"/>
                      <a:pt x="1577" y="435"/>
                    </a:cubicBezTo>
                    <a:cubicBezTo>
                      <a:pt x="1575" y="440"/>
                      <a:pt x="1580" y="438"/>
                      <a:pt x="1583" y="440"/>
                    </a:cubicBezTo>
                    <a:cubicBezTo>
                      <a:pt x="1586" y="441"/>
                      <a:pt x="1579" y="443"/>
                      <a:pt x="1580" y="444"/>
                    </a:cubicBezTo>
                    <a:cubicBezTo>
                      <a:pt x="1581" y="446"/>
                      <a:pt x="1586" y="446"/>
                      <a:pt x="1594" y="438"/>
                    </a:cubicBezTo>
                    <a:cubicBezTo>
                      <a:pt x="1601" y="431"/>
                      <a:pt x="1608" y="429"/>
                      <a:pt x="1612" y="430"/>
                    </a:cubicBezTo>
                    <a:cubicBezTo>
                      <a:pt x="1617" y="430"/>
                      <a:pt x="1614" y="425"/>
                      <a:pt x="1615" y="419"/>
                    </a:cubicBezTo>
                    <a:cubicBezTo>
                      <a:pt x="1615" y="412"/>
                      <a:pt x="1629" y="410"/>
                      <a:pt x="1634" y="412"/>
                    </a:cubicBezTo>
                    <a:cubicBezTo>
                      <a:pt x="1639" y="414"/>
                      <a:pt x="1638" y="416"/>
                      <a:pt x="1634" y="414"/>
                    </a:cubicBezTo>
                    <a:cubicBezTo>
                      <a:pt x="1629" y="413"/>
                      <a:pt x="1625" y="417"/>
                      <a:pt x="1625" y="423"/>
                    </a:cubicBezTo>
                    <a:cubicBezTo>
                      <a:pt x="1626" y="429"/>
                      <a:pt x="1621" y="430"/>
                      <a:pt x="1624" y="433"/>
                    </a:cubicBezTo>
                    <a:cubicBezTo>
                      <a:pt x="1626" y="435"/>
                      <a:pt x="1620" y="435"/>
                      <a:pt x="1620" y="438"/>
                    </a:cubicBezTo>
                    <a:cubicBezTo>
                      <a:pt x="1620" y="440"/>
                      <a:pt x="1620" y="442"/>
                      <a:pt x="1617" y="443"/>
                    </a:cubicBezTo>
                    <a:cubicBezTo>
                      <a:pt x="1614" y="444"/>
                      <a:pt x="1602" y="445"/>
                      <a:pt x="1602" y="449"/>
                    </a:cubicBezTo>
                    <a:cubicBezTo>
                      <a:pt x="1602" y="454"/>
                      <a:pt x="1596" y="454"/>
                      <a:pt x="1593" y="459"/>
                    </a:cubicBezTo>
                    <a:cubicBezTo>
                      <a:pt x="1590" y="465"/>
                      <a:pt x="1579" y="468"/>
                      <a:pt x="1572" y="479"/>
                    </a:cubicBezTo>
                    <a:cubicBezTo>
                      <a:pt x="1565" y="489"/>
                      <a:pt x="1554" y="489"/>
                      <a:pt x="1554" y="491"/>
                    </a:cubicBezTo>
                    <a:cubicBezTo>
                      <a:pt x="1554" y="493"/>
                      <a:pt x="1546" y="493"/>
                      <a:pt x="1543" y="493"/>
                    </a:cubicBezTo>
                    <a:cubicBezTo>
                      <a:pt x="1540" y="494"/>
                      <a:pt x="1546" y="500"/>
                      <a:pt x="1539" y="507"/>
                    </a:cubicBezTo>
                    <a:cubicBezTo>
                      <a:pt x="1533" y="514"/>
                      <a:pt x="1529" y="523"/>
                      <a:pt x="1529" y="533"/>
                    </a:cubicBezTo>
                    <a:cubicBezTo>
                      <a:pt x="1529" y="542"/>
                      <a:pt x="1532" y="570"/>
                      <a:pt x="1535" y="575"/>
                    </a:cubicBezTo>
                    <a:cubicBezTo>
                      <a:pt x="1538" y="579"/>
                      <a:pt x="1536" y="591"/>
                      <a:pt x="1539" y="594"/>
                    </a:cubicBezTo>
                    <a:cubicBezTo>
                      <a:pt x="1541" y="596"/>
                      <a:pt x="1540" y="600"/>
                      <a:pt x="1542" y="602"/>
                    </a:cubicBezTo>
                    <a:cubicBezTo>
                      <a:pt x="1543" y="603"/>
                      <a:pt x="1549" y="595"/>
                      <a:pt x="1553" y="592"/>
                    </a:cubicBezTo>
                    <a:cubicBezTo>
                      <a:pt x="1558" y="588"/>
                      <a:pt x="1556" y="587"/>
                      <a:pt x="1559" y="585"/>
                    </a:cubicBezTo>
                    <a:cubicBezTo>
                      <a:pt x="1562" y="583"/>
                      <a:pt x="1561" y="576"/>
                      <a:pt x="1562" y="574"/>
                    </a:cubicBezTo>
                    <a:cubicBezTo>
                      <a:pt x="1562" y="572"/>
                      <a:pt x="1568" y="571"/>
                      <a:pt x="1569" y="569"/>
                    </a:cubicBezTo>
                    <a:cubicBezTo>
                      <a:pt x="1571" y="566"/>
                      <a:pt x="1575" y="568"/>
                      <a:pt x="1578" y="567"/>
                    </a:cubicBezTo>
                    <a:cubicBezTo>
                      <a:pt x="1580" y="566"/>
                      <a:pt x="1577" y="561"/>
                      <a:pt x="1577" y="557"/>
                    </a:cubicBezTo>
                    <a:cubicBezTo>
                      <a:pt x="1576" y="554"/>
                      <a:pt x="1583" y="550"/>
                      <a:pt x="1587" y="547"/>
                    </a:cubicBezTo>
                    <a:cubicBezTo>
                      <a:pt x="1591" y="544"/>
                      <a:pt x="1596" y="549"/>
                      <a:pt x="1601" y="545"/>
                    </a:cubicBezTo>
                    <a:cubicBezTo>
                      <a:pt x="1605" y="541"/>
                      <a:pt x="1601" y="536"/>
                      <a:pt x="1599" y="534"/>
                    </a:cubicBezTo>
                    <a:cubicBezTo>
                      <a:pt x="1597" y="531"/>
                      <a:pt x="1603" y="521"/>
                      <a:pt x="1607" y="520"/>
                    </a:cubicBezTo>
                    <a:cubicBezTo>
                      <a:pt x="1610" y="519"/>
                      <a:pt x="1612" y="522"/>
                      <a:pt x="1616" y="519"/>
                    </a:cubicBezTo>
                    <a:cubicBezTo>
                      <a:pt x="1619" y="516"/>
                      <a:pt x="1613" y="512"/>
                      <a:pt x="1610" y="512"/>
                    </a:cubicBezTo>
                    <a:cubicBezTo>
                      <a:pt x="1608" y="512"/>
                      <a:pt x="1607" y="503"/>
                      <a:pt x="1613" y="499"/>
                    </a:cubicBezTo>
                    <a:cubicBezTo>
                      <a:pt x="1618" y="495"/>
                      <a:pt x="1616" y="494"/>
                      <a:pt x="1612" y="493"/>
                    </a:cubicBezTo>
                    <a:cubicBezTo>
                      <a:pt x="1609" y="492"/>
                      <a:pt x="1608" y="494"/>
                      <a:pt x="1605" y="494"/>
                    </a:cubicBezTo>
                    <a:cubicBezTo>
                      <a:pt x="1602" y="494"/>
                      <a:pt x="1599" y="488"/>
                      <a:pt x="1604" y="482"/>
                    </a:cubicBezTo>
                    <a:cubicBezTo>
                      <a:pt x="1608" y="476"/>
                      <a:pt x="1612" y="477"/>
                      <a:pt x="1613" y="472"/>
                    </a:cubicBezTo>
                    <a:cubicBezTo>
                      <a:pt x="1614" y="467"/>
                      <a:pt x="1620" y="460"/>
                      <a:pt x="1622" y="458"/>
                    </a:cubicBezTo>
                    <a:cubicBezTo>
                      <a:pt x="1623" y="455"/>
                      <a:pt x="1629" y="458"/>
                      <a:pt x="1632" y="457"/>
                    </a:cubicBezTo>
                    <a:cubicBezTo>
                      <a:pt x="1634" y="457"/>
                      <a:pt x="1633" y="462"/>
                      <a:pt x="1636" y="459"/>
                    </a:cubicBezTo>
                    <a:cubicBezTo>
                      <a:pt x="1639" y="457"/>
                      <a:pt x="1643" y="449"/>
                      <a:pt x="1647" y="449"/>
                    </a:cubicBezTo>
                    <a:cubicBezTo>
                      <a:pt x="1651" y="449"/>
                      <a:pt x="1649" y="455"/>
                      <a:pt x="1650" y="458"/>
                    </a:cubicBezTo>
                    <a:cubicBezTo>
                      <a:pt x="1651" y="462"/>
                      <a:pt x="1653" y="457"/>
                      <a:pt x="1660" y="452"/>
                    </a:cubicBezTo>
                    <a:cubicBezTo>
                      <a:pt x="1667" y="447"/>
                      <a:pt x="1683" y="448"/>
                      <a:pt x="1688" y="450"/>
                    </a:cubicBezTo>
                    <a:cubicBezTo>
                      <a:pt x="1693" y="453"/>
                      <a:pt x="1694" y="458"/>
                      <a:pt x="1697" y="457"/>
                    </a:cubicBezTo>
                    <a:cubicBezTo>
                      <a:pt x="1701" y="456"/>
                      <a:pt x="1697" y="452"/>
                      <a:pt x="1701" y="451"/>
                    </a:cubicBezTo>
                    <a:cubicBezTo>
                      <a:pt x="1705" y="450"/>
                      <a:pt x="1712" y="445"/>
                      <a:pt x="1718" y="442"/>
                    </a:cubicBezTo>
                    <a:cubicBezTo>
                      <a:pt x="1723" y="438"/>
                      <a:pt x="1721" y="441"/>
                      <a:pt x="1724" y="437"/>
                    </a:cubicBezTo>
                    <a:cubicBezTo>
                      <a:pt x="1727" y="434"/>
                      <a:pt x="1730" y="435"/>
                      <a:pt x="1731" y="433"/>
                    </a:cubicBezTo>
                    <a:cubicBezTo>
                      <a:pt x="1732" y="430"/>
                      <a:pt x="1739" y="427"/>
                      <a:pt x="1750" y="424"/>
                    </a:cubicBezTo>
                    <a:cubicBezTo>
                      <a:pt x="1760" y="422"/>
                      <a:pt x="1774" y="415"/>
                      <a:pt x="1773" y="413"/>
                    </a:cubicBezTo>
                    <a:cubicBezTo>
                      <a:pt x="1773" y="411"/>
                      <a:pt x="1777" y="410"/>
                      <a:pt x="1778" y="412"/>
                    </a:cubicBezTo>
                    <a:cubicBezTo>
                      <a:pt x="1778" y="414"/>
                      <a:pt x="1782" y="413"/>
                      <a:pt x="1788" y="414"/>
                    </a:cubicBezTo>
                    <a:cubicBezTo>
                      <a:pt x="1793" y="415"/>
                      <a:pt x="1796" y="418"/>
                      <a:pt x="1800" y="413"/>
                    </a:cubicBezTo>
                    <a:cubicBezTo>
                      <a:pt x="1804" y="409"/>
                      <a:pt x="1800" y="407"/>
                      <a:pt x="1800" y="404"/>
                    </a:cubicBezTo>
                    <a:cubicBezTo>
                      <a:pt x="1800" y="401"/>
                      <a:pt x="1792" y="397"/>
                      <a:pt x="1793" y="394"/>
                    </a:cubicBezTo>
                    <a:cubicBezTo>
                      <a:pt x="1794" y="390"/>
                      <a:pt x="1788" y="381"/>
                      <a:pt x="1786" y="383"/>
                    </a:cubicBezTo>
                    <a:cubicBezTo>
                      <a:pt x="1784" y="385"/>
                      <a:pt x="1779" y="381"/>
                      <a:pt x="1779" y="379"/>
                    </a:cubicBezTo>
                    <a:cubicBezTo>
                      <a:pt x="1779" y="376"/>
                      <a:pt x="1779" y="373"/>
                      <a:pt x="1775" y="375"/>
                    </a:cubicBezTo>
                    <a:cubicBezTo>
                      <a:pt x="1772" y="377"/>
                      <a:pt x="1767" y="376"/>
                      <a:pt x="1766" y="373"/>
                    </a:cubicBezTo>
                    <a:cubicBezTo>
                      <a:pt x="1765" y="370"/>
                      <a:pt x="1772" y="368"/>
                      <a:pt x="1777" y="370"/>
                    </a:cubicBezTo>
                    <a:cubicBezTo>
                      <a:pt x="1782" y="372"/>
                      <a:pt x="1781" y="374"/>
                      <a:pt x="1783" y="375"/>
                    </a:cubicBezTo>
                    <a:cubicBezTo>
                      <a:pt x="1786" y="377"/>
                      <a:pt x="1792" y="376"/>
                      <a:pt x="1796" y="374"/>
                    </a:cubicBezTo>
                    <a:cubicBezTo>
                      <a:pt x="1799" y="373"/>
                      <a:pt x="1809" y="369"/>
                      <a:pt x="1811" y="367"/>
                    </a:cubicBezTo>
                    <a:cubicBezTo>
                      <a:pt x="1813" y="364"/>
                      <a:pt x="1811" y="362"/>
                      <a:pt x="1814" y="361"/>
                    </a:cubicBezTo>
                    <a:cubicBezTo>
                      <a:pt x="1817" y="359"/>
                      <a:pt x="1815" y="356"/>
                      <a:pt x="1812" y="354"/>
                    </a:cubicBezTo>
                    <a:cubicBezTo>
                      <a:pt x="1809" y="353"/>
                      <a:pt x="1810" y="349"/>
                      <a:pt x="1813" y="349"/>
                    </a:cubicBezTo>
                    <a:cubicBezTo>
                      <a:pt x="1816" y="349"/>
                      <a:pt x="1815" y="345"/>
                      <a:pt x="1817" y="345"/>
                    </a:cubicBezTo>
                    <a:cubicBezTo>
                      <a:pt x="1819" y="345"/>
                      <a:pt x="1819" y="346"/>
                      <a:pt x="1823" y="345"/>
                    </a:cubicBezTo>
                    <a:cubicBezTo>
                      <a:pt x="1827" y="343"/>
                      <a:pt x="1823" y="347"/>
                      <a:pt x="1822" y="351"/>
                    </a:cubicBezTo>
                    <a:cubicBezTo>
                      <a:pt x="1820" y="354"/>
                      <a:pt x="1825" y="356"/>
                      <a:pt x="1826" y="358"/>
                    </a:cubicBezTo>
                    <a:cubicBezTo>
                      <a:pt x="1826" y="360"/>
                      <a:pt x="1833" y="361"/>
                      <a:pt x="1837" y="359"/>
                    </a:cubicBezTo>
                    <a:cubicBezTo>
                      <a:pt x="1841" y="356"/>
                      <a:pt x="1854" y="361"/>
                      <a:pt x="1855" y="364"/>
                    </a:cubicBezTo>
                    <a:cubicBezTo>
                      <a:pt x="1856" y="368"/>
                      <a:pt x="1858" y="371"/>
                      <a:pt x="1863" y="374"/>
                    </a:cubicBezTo>
                    <a:cubicBezTo>
                      <a:pt x="1868" y="377"/>
                      <a:pt x="1873" y="376"/>
                      <a:pt x="1874" y="378"/>
                    </a:cubicBezTo>
                    <a:cubicBezTo>
                      <a:pt x="1875" y="381"/>
                      <a:pt x="1877" y="382"/>
                      <a:pt x="1880" y="381"/>
                    </a:cubicBezTo>
                    <a:cubicBezTo>
                      <a:pt x="1883" y="381"/>
                      <a:pt x="1885" y="384"/>
                      <a:pt x="1887" y="382"/>
                    </a:cubicBezTo>
                    <a:cubicBezTo>
                      <a:pt x="1889" y="380"/>
                      <a:pt x="1890" y="383"/>
                      <a:pt x="1893" y="381"/>
                    </a:cubicBezTo>
                    <a:cubicBezTo>
                      <a:pt x="1896" y="378"/>
                      <a:pt x="1887" y="376"/>
                      <a:pt x="1888" y="374"/>
                    </a:cubicBezTo>
                    <a:cubicBezTo>
                      <a:pt x="1889" y="372"/>
                      <a:pt x="1891" y="376"/>
                      <a:pt x="1894" y="376"/>
                    </a:cubicBezTo>
                    <a:cubicBezTo>
                      <a:pt x="1896" y="376"/>
                      <a:pt x="1893" y="371"/>
                      <a:pt x="1895" y="370"/>
                    </a:cubicBezTo>
                    <a:cubicBezTo>
                      <a:pt x="1897" y="370"/>
                      <a:pt x="1895" y="360"/>
                      <a:pt x="1893" y="359"/>
                    </a:cubicBezTo>
                    <a:cubicBezTo>
                      <a:pt x="1891" y="358"/>
                      <a:pt x="1893" y="355"/>
                      <a:pt x="1897" y="358"/>
                    </a:cubicBezTo>
                    <a:cubicBezTo>
                      <a:pt x="1900" y="361"/>
                      <a:pt x="1906" y="360"/>
                      <a:pt x="1909" y="360"/>
                    </a:cubicBezTo>
                    <a:cubicBezTo>
                      <a:pt x="1912" y="360"/>
                      <a:pt x="1909" y="358"/>
                      <a:pt x="1907" y="357"/>
                    </a:cubicBezTo>
                    <a:cubicBezTo>
                      <a:pt x="1904" y="357"/>
                      <a:pt x="1907" y="354"/>
                      <a:pt x="1909" y="356"/>
                    </a:cubicBezTo>
                    <a:cubicBezTo>
                      <a:pt x="1911" y="358"/>
                      <a:pt x="1915" y="359"/>
                      <a:pt x="1915" y="357"/>
                    </a:cubicBezTo>
                    <a:cubicBezTo>
                      <a:pt x="1916" y="355"/>
                      <a:pt x="1918" y="351"/>
                      <a:pt x="1921" y="351"/>
                    </a:cubicBezTo>
                    <a:cubicBezTo>
                      <a:pt x="1925" y="351"/>
                      <a:pt x="1926" y="349"/>
                      <a:pt x="1922" y="348"/>
                    </a:cubicBezTo>
                    <a:close/>
                    <a:moveTo>
                      <a:pt x="993" y="566"/>
                    </a:moveTo>
                    <a:cubicBezTo>
                      <a:pt x="983" y="575"/>
                      <a:pt x="964" y="577"/>
                      <a:pt x="964" y="584"/>
                    </a:cubicBezTo>
                    <a:cubicBezTo>
                      <a:pt x="964" y="591"/>
                      <a:pt x="941" y="594"/>
                      <a:pt x="939" y="591"/>
                    </a:cubicBezTo>
                    <a:cubicBezTo>
                      <a:pt x="938" y="589"/>
                      <a:pt x="956" y="588"/>
                      <a:pt x="961" y="578"/>
                    </a:cubicBezTo>
                    <a:cubicBezTo>
                      <a:pt x="965" y="568"/>
                      <a:pt x="982" y="563"/>
                      <a:pt x="991" y="549"/>
                    </a:cubicBezTo>
                    <a:cubicBezTo>
                      <a:pt x="997" y="540"/>
                      <a:pt x="1002" y="525"/>
                      <a:pt x="1005" y="526"/>
                    </a:cubicBezTo>
                    <a:cubicBezTo>
                      <a:pt x="1009" y="527"/>
                      <a:pt x="1002" y="558"/>
                      <a:pt x="993" y="566"/>
                    </a:cubicBezTo>
                    <a:close/>
                    <a:moveTo>
                      <a:pt x="1035" y="175"/>
                    </a:moveTo>
                    <a:cubicBezTo>
                      <a:pt x="1034" y="178"/>
                      <a:pt x="1027" y="178"/>
                      <a:pt x="1029" y="180"/>
                    </a:cubicBezTo>
                    <a:cubicBezTo>
                      <a:pt x="1032" y="185"/>
                      <a:pt x="1049" y="182"/>
                      <a:pt x="1049" y="177"/>
                    </a:cubicBezTo>
                    <a:cubicBezTo>
                      <a:pt x="1049" y="172"/>
                      <a:pt x="1037" y="172"/>
                      <a:pt x="1035" y="175"/>
                    </a:cubicBezTo>
                    <a:close/>
                    <a:moveTo>
                      <a:pt x="340" y="22"/>
                    </a:moveTo>
                    <a:cubicBezTo>
                      <a:pt x="345" y="25"/>
                      <a:pt x="327" y="24"/>
                      <a:pt x="325" y="27"/>
                    </a:cubicBezTo>
                    <a:cubicBezTo>
                      <a:pt x="322" y="31"/>
                      <a:pt x="312" y="29"/>
                      <a:pt x="314" y="33"/>
                    </a:cubicBezTo>
                    <a:cubicBezTo>
                      <a:pt x="316" y="37"/>
                      <a:pt x="333" y="38"/>
                      <a:pt x="333" y="34"/>
                    </a:cubicBezTo>
                    <a:cubicBezTo>
                      <a:pt x="333" y="31"/>
                      <a:pt x="341" y="34"/>
                      <a:pt x="342" y="31"/>
                    </a:cubicBezTo>
                    <a:cubicBezTo>
                      <a:pt x="342" y="28"/>
                      <a:pt x="346" y="25"/>
                      <a:pt x="355" y="24"/>
                    </a:cubicBezTo>
                    <a:cubicBezTo>
                      <a:pt x="364" y="23"/>
                      <a:pt x="364" y="20"/>
                      <a:pt x="356" y="16"/>
                    </a:cubicBezTo>
                    <a:cubicBezTo>
                      <a:pt x="347" y="12"/>
                      <a:pt x="335" y="18"/>
                      <a:pt x="340" y="22"/>
                    </a:cubicBezTo>
                    <a:close/>
                    <a:moveTo>
                      <a:pt x="387" y="33"/>
                    </a:moveTo>
                    <a:cubicBezTo>
                      <a:pt x="387" y="27"/>
                      <a:pt x="369" y="33"/>
                      <a:pt x="373" y="34"/>
                    </a:cubicBezTo>
                    <a:cubicBezTo>
                      <a:pt x="376" y="35"/>
                      <a:pt x="387" y="38"/>
                      <a:pt x="387" y="33"/>
                    </a:cubicBezTo>
                    <a:close/>
                    <a:moveTo>
                      <a:pt x="428" y="10"/>
                    </a:moveTo>
                    <a:cubicBezTo>
                      <a:pt x="436" y="10"/>
                      <a:pt x="434" y="5"/>
                      <a:pt x="439" y="6"/>
                    </a:cubicBezTo>
                    <a:cubicBezTo>
                      <a:pt x="445" y="7"/>
                      <a:pt x="452" y="6"/>
                      <a:pt x="449" y="3"/>
                    </a:cubicBezTo>
                    <a:cubicBezTo>
                      <a:pt x="446" y="0"/>
                      <a:pt x="427" y="1"/>
                      <a:pt x="429" y="4"/>
                    </a:cubicBezTo>
                    <a:cubicBezTo>
                      <a:pt x="431" y="6"/>
                      <a:pt x="413" y="5"/>
                      <a:pt x="414" y="6"/>
                    </a:cubicBezTo>
                    <a:cubicBezTo>
                      <a:pt x="414" y="8"/>
                      <a:pt x="420" y="10"/>
                      <a:pt x="428" y="10"/>
                    </a:cubicBezTo>
                    <a:close/>
                    <a:moveTo>
                      <a:pt x="430" y="28"/>
                    </a:moveTo>
                    <a:cubicBezTo>
                      <a:pt x="431" y="31"/>
                      <a:pt x="428" y="31"/>
                      <a:pt x="422" y="31"/>
                    </a:cubicBezTo>
                    <a:cubicBezTo>
                      <a:pt x="415" y="31"/>
                      <a:pt x="411" y="35"/>
                      <a:pt x="415" y="38"/>
                    </a:cubicBezTo>
                    <a:cubicBezTo>
                      <a:pt x="419" y="41"/>
                      <a:pt x="437" y="40"/>
                      <a:pt x="440" y="36"/>
                    </a:cubicBezTo>
                    <a:cubicBezTo>
                      <a:pt x="443" y="32"/>
                      <a:pt x="450" y="35"/>
                      <a:pt x="452" y="31"/>
                    </a:cubicBezTo>
                    <a:cubicBezTo>
                      <a:pt x="453" y="27"/>
                      <a:pt x="429" y="26"/>
                      <a:pt x="430" y="28"/>
                    </a:cubicBezTo>
                    <a:close/>
                    <a:moveTo>
                      <a:pt x="487" y="22"/>
                    </a:moveTo>
                    <a:cubicBezTo>
                      <a:pt x="489" y="19"/>
                      <a:pt x="483" y="19"/>
                      <a:pt x="482" y="16"/>
                    </a:cubicBezTo>
                    <a:cubicBezTo>
                      <a:pt x="481" y="13"/>
                      <a:pt x="463" y="12"/>
                      <a:pt x="464" y="16"/>
                    </a:cubicBezTo>
                    <a:cubicBezTo>
                      <a:pt x="465" y="19"/>
                      <a:pt x="451" y="23"/>
                      <a:pt x="455" y="26"/>
                    </a:cubicBezTo>
                    <a:cubicBezTo>
                      <a:pt x="463" y="32"/>
                      <a:pt x="485" y="25"/>
                      <a:pt x="487" y="22"/>
                    </a:cubicBezTo>
                    <a:close/>
                    <a:moveTo>
                      <a:pt x="384" y="202"/>
                    </a:moveTo>
                    <a:cubicBezTo>
                      <a:pt x="385" y="205"/>
                      <a:pt x="383" y="207"/>
                      <a:pt x="376" y="207"/>
                    </a:cubicBezTo>
                    <a:cubicBezTo>
                      <a:pt x="370" y="207"/>
                      <a:pt x="379" y="211"/>
                      <a:pt x="380" y="215"/>
                    </a:cubicBezTo>
                    <a:cubicBezTo>
                      <a:pt x="381" y="219"/>
                      <a:pt x="374" y="216"/>
                      <a:pt x="373" y="222"/>
                    </a:cubicBezTo>
                    <a:cubicBezTo>
                      <a:pt x="373" y="227"/>
                      <a:pt x="361" y="222"/>
                      <a:pt x="359" y="229"/>
                    </a:cubicBezTo>
                    <a:cubicBezTo>
                      <a:pt x="358" y="236"/>
                      <a:pt x="365" y="235"/>
                      <a:pt x="371" y="236"/>
                    </a:cubicBezTo>
                    <a:cubicBezTo>
                      <a:pt x="376" y="236"/>
                      <a:pt x="369" y="241"/>
                      <a:pt x="373" y="244"/>
                    </a:cubicBezTo>
                    <a:cubicBezTo>
                      <a:pt x="377" y="247"/>
                      <a:pt x="380" y="246"/>
                      <a:pt x="377" y="240"/>
                    </a:cubicBezTo>
                    <a:cubicBezTo>
                      <a:pt x="374" y="235"/>
                      <a:pt x="391" y="242"/>
                      <a:pt x="386" y="247"/>
                    </a:cubicBezTo>
                    <a:cubicBezTo>
                      <a:pt x="381" y="251"/>
                      <a:pt x="394" y="254"/>
                      <a:pt x="400" y="255"/>
                    </a:cubicBezTo>
                    <a:cubicBezTo>
                      <a:pt x="407" y="255"/>
                      <a:pt x="429" y="260"/>
                      <a:pt x="430" y="255"/>
                    </a:cubicBezTo>
                    <a:cubicBezTo>
                      <a:pt x="430" y="251"/>
                      <a:pt x="421" y="248"/>
                      <a:pt x="414" y="241"/>
                    </a:cubicBezTo>
                    <a:cubicBezTo>
                      <a:pt x="407" y="234"/>
                      <a:pt x="402" y="222"/>
                      <a:pt x="410" y="217"/>
                    </a:cubicBezTo>
                    <a:cubicBezTo>
                      <a:pt x="418" y="212"/>
                      <a:pt x="411" y="209"/>
                      <a:pt x="419" y="204"/>
                    </a:cubicBezTo>
                    <a:cubicBezTo>
                      <a:pt x="427" y="198"/>
                      <a:pt x="423" y="193"/>
                      <a:pt x="429" y="192"/>
                    </a:cubicBezTo>
                    <a:cubicBezTo>
                      <a:pt x="436" y="191"/>
                      <a:pt x="429" y="185"/>
                      <a:pt x="435" y="184"/>
                    </a:cubicBezTo>
                    <a:cubicBezTo>
                      <a:pt x="442" y="183"/>
                      <a:pt x="443" y="176"/>
                      <a:pt x="442" y="173"/>
                    </a:cubicBezTo>
                    <a:cubicBezTo>
                      <a:pt x="441" y="171"/>
                      <a:pt x="449" y="174"/>
                      <a:pt x="453" y="170"/>
                    </a:cubicBezTo>
                    <a:cubicBezTo>
                      <a:pt x="457" y="166"/>
                      <a:pt x="465" y="168"/>
                      <a:pt x="468" y="163"/>
                    </a:cubicBezTo>
                    <a:cubicBezTo>
                      <a:pt x="471" y="157"/>
                      <a:pt x="509" y="144"/>
                      <a:pt x="531" y="139"/>
                    </a:cubicBezTo>
                    <a:cubicBezTo>
                      <a:pt x="552" y="134"/>
                      <a:pt x="567" y="125"/>
                      <a:pt x="560" y="119"/>
                    </a:cubicBezTo>
                    <a:cubicBezTo>
                      <a:pt x="552" y="113"/>
                      <a:pt x="530" y="121"/>
                      <a:pt x="525" y="126"/>
                    </a:cubicBezTo>
                    <a:cubicBezTo>
                      <a:pt x="520" y="130"/>
                      <a:pt x="512" y="127"/>
                      <a:pt x="507" y="130"/>
                    </a:cubicBezTo>
                    <a:cubicBezTo>
                      <a:pt x="501" y="133"/>
                      <a:pt x="490" y="136"/>
                      <a:pt x="484" y="132"/>
                    </a:cubicBezTo>
                    <a:cubicBezTo>
                      <a:pt x="479" y="128"/>
                      <a:pt x="472" y="136"/>
                      <a:pt x="468" y="136"/>
                    </a:cubicBezTo>
                    <a:cubicBezTo>
                      <a:pt x="463" y="136"/>
                      <a:pt x="458" y="140"/>
                      <a:pt x="454" y="140"/>
                    </a:cubicBezTo>
                    <a:cubicBezTo>
                      <a:pt x="449" y="140"/>
                      <a:pt x="440" y="144"/>
                      <a:pt x="439" y="146"/>
                    </a:cubicBezTo>
                    <a:cubicBezTo>
                      <a:pt x="438" y="149"/>
                      <a:pt x="430" y="148"/>
                      <a:pt x="430" y="152"/>
                    </a:cubicBezTo>
                    <a:cubicBezTo>
                      <a:pt x="430" y="155"/>
                      <a:pt x="424" y="158"/>
                      <a:pt x="421" y="155"/>
                    </a:cubicBezTo>
                    <a:cubicBezTo>
                      <a:pt x="417" y="152"/>
                      <a:pt x="413" y="158"/>
                      <a:pt x="418" y="163"/>
                    </a:cubicBezTo>
                    <a:cubicBezTo>
                      <a:pt x="423" y="167"/>
                      <a:pt x="409" y="167"/>
                      <a:pt x="412" y="170"/>
                    </a:cubicBezTo>
                    <a:cubicBezTo>
                      <a:pt x="414" y="173"/>
                      <a:pt x="407" y="174"/>
                      <a:pt x="408" y="177"/>
                    </a:cubicBezTo>
                    <a:cubicBezTo>
                      <a:pt x="410" y="180"/>
                      <a:pt x="404" y="181"/>
                      <a:pt x="399" y="182"/>
                    </a:cubicBezTo>
                    <a:cubicBezTo>
                      <a:pt x="394" y="183"/>
                      <a:pt x="391" y="190"/>
                      <a:pt x="397" y="190"/>
                    </a:cubicBezTo>
                    <a:cubicBezTo>
                      <a:pt x="404" y="191"/>
                      <a:pt x="394" y="192"/>
                      <a:pt x="394" y="197"/>
                    </a:cubicBezTo>
                    <a:cubicBezTo>
                      <a:pt x="395" y="202"/>
                      <a:pt x="384" y="198"/>
                      <a:pt x="384" y="202"/>
                    </a:cubicBezTo>
                    <a:close/>
                    <a:moveTo>
                      <a:pt x="434" y="17"/>
                    </a:moveTo>
                    <a:cubicBezTo>
                      <a:pt x="435" y="10"/>
                      <a:pt x="423" y="15"/>
                      <a:pt x="415" y="12"/>
                    </a:cubicBezTo>
                    <a:cubicBezTo>
                      <a:pt x="406" y="8"/>
                      <a:pt x="401" y="8"/>
                      <a:pt x="407" y="13"/>
                    </a:cubicBezTo>
                    <a:cubicBezTo>
                      <a:pt x="409" y="16"/>
                      <a:pt x="392" y="17"/>
                      <a:pt x="395" y="20"/>
                    </a:cubicBezTo>
                    <a:cubicBezTo>
                      <a:pt x="401" y="27"/>
                      <a:pt x="433" y="24"/>
                      <a:pt x="434" y="1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6" name="Freeform 164">
                <a:extLst>
                  <a:ext uri="{FF2B5EF4-FFF2-40B4-BE49-F238E27FC236}">
                    <a16:creationId xmlns:a16="http://schemas.microsoft.com/office/drawing/2014/main" id="{BF8AA9BC-73E9-4FE1-B717-9BD18B33F0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5363" y="1406525"/>
                <a:ext cx="4227512" cy="1620838"/>
              </a:xfrm>
              <a:custGeom>
                <a:avLst/>
                <a:gdLst>
                  <a:gd name="T0" fmla="*/ 811 w 1926"/>
                  <a:gd name="T1" fmla="*/ 44 h 738"/>
                  <a:gd name="T2" fmla="*/ 883 w 1926"/>
                  <a:gd name="T3" fmla="*/ 71 h 738"/>
                  <a:gd name="T4" fmla="*/ 891 w 1926"/>
                  <a:gd name="T5" fmla="*/ 92 h 738"/>
                  <a:gd name="T6" fmla="*/ 1450 w 1926"/>
                  <a:gd name="T7" fmla="*/ 169 h 738"/>
                  <a:gd name="T8" fmla="*/ 1330 w 1926"/>
                  <a:gd name="T9" fmla="*/ 168 h 738"/>
                  <a:gd name="T10" fmla="*/ 1358 w 1926"/>
                  <a:gd name="T11" fmla="*/ 198 h 738"/>
                  <a:gd name="T12" fmla="*/ 1387 w 1926"/>
                  <a:gd name="T13" fmla="*/ 564 h 738"/>
                  <a:gd name="T14" fmla="*/ 1922 w 1926"/>
                  <a:gd name="T15" fmla="*/ 348 h 738"/>
                  <a:gd name="T16" fmla="*/ 1737 w 1926"/>
                  <a:gd name="T17" fmla="*/ 273 h 738"/>
                  <a:gd name="T18" fmla="*/ 1592 w 1926"/>
                  <a:gd name="T19" fmla="*/ 280 h 738"/>
                  <a:gd name="T20" fmla="*/ 1409 w 1926"/>
                  <a:gd name="T21" fmla="*/ 233 h 738"/>
                  <a:gd name="T22" fmla="*/ 1331 w 1926"/>
                  <a:gd name="T23" fmla="*/ 239 h 738"/>
                  <a:gd name="T24" fmla="*/ 1228 w 1926"/>
                  <a:gd name="T25" fmla="*/ 219 h 738"/>
                  <a:gd name="T26" fmla="*/ 1122 w 1926"/>
                  <a:gd name="T27" fmla="*/ 205 h 738"/>
                  <a:gd name="T28" fmla="*/ 962 w 1926"/>
                  <a:gd name="T29" fmla="*/ 209 h 738"/>
                  <a:gd name="T30" fmla="*/ 1039 w 1926"/>
                  <a:gd name="T31" fmla="*/ 126 h 738"/>
                  <a:gd name="T32" fmla="*/ 926 w 1926"/>
                  <a:gd name="T33" fmla="*/ 102 h 738"/>
                  <a:gd name="T34" fmla="*/ 826 w 1926"/>
                  <a:gd name="T35" fmla="*/ 138 h 738"/>
                  <a:gd name="T36" fmla="*/ 760 w 1926"/>
                  <a:gd name="T37" fmla="*/ 180 h 738"/>
                  <a:gd name="T38" fmla="*/ 663 w 1926"/>
                  <a:gd name="T39" fmla="*/ 216 h 738"/>
                  <a:gd name="T40" fmla="*/ 628 w 1926"/>
                  <a:gd name="T41" fmla="*/ 227 h 738"/>
                  <a:gd name="T42" fmla="*/ 651 w 1926"/>
                  <a:gd name="T43" fmla="*/ 295 h 738"/>
                  <a:gd name="T44" fmla="*/ 591 w 1926"/>
                  <a:gd name="T45" fmla="*/ 333 h 738"/>
                  <a:gd name="T46" fmla="*/ 592 w 1926"/>
                  <a:gd name="T47" fmla="*/ 209 h 738"/>
                  <a:gd name="T48" fmla="*/ 524 w 1926"/>
                  <a:gd name="T49" fmla="*/ 286 h 738"/>
                  <a:gd name="T50" fmla="*/ 428 w 1926"/>
                  <a:gd name="T51" fmla="*/ 298 h 738"/>
                  <a:gd name="T52" fmla="*/ 289 w 1926"/>
                  <a:gd name="T53" fmla="*/ 322 h 738"/>
                  <a:gd name="T54" fmla="*/ 257 w 1926"/>
                  <a:gd name="T55" fmla="*/ 337 h 738"/>
                  <a:gd name="T56" fmla="*/ 178 w 1926"/>
                  <a:gd name="T57" fmla="*/ 376 h 738"/>
                  <a:gd name="T58" fmla="*/ 236 w 1926"/>
                  <a:gd name="T59" fmla="*/ 311 h 738"/>
                  <a:gd name="T60" fmla="*/ 114 w 1926"/>
                  <a:gd name="T61" fmla="*/ 280 h 738"/>
                  <a:gd name="T62" fmla="*/ 122 w 1926"/>
                  <a:gd name="T63" fmla="*/ 380 h 738"/>
                  <a:gd name="T64" fmla="*/ 88 w 1926"/>
                  <a:gd name="T65" fmla="*/ 480 h 738"/>
                  <a:gd name="T66" fmla="*/ 145 w 1926"/>
                  <a:gd name="T67" fmla="*/ 559 h 738"/>
                  <a:gd name="T68" fmla="*/ 199 w 1926"/>
                  <a:gd name="T69" fmla="*/ 607 h 738"/>
                  <a:gd name="T70" fmla="*/ 209 w 1926"/>
                  <a:gd name="T71" fmla="*/ 668 h 738"/>
                  <a:gd name="T72" fmla="*/ 304 w 1926"/>
                  <a:gd name="T73" fmla="*/ 730 h 738"/>
                  <a:gd name="T74" fmla="*/ 305 w 1926"/>
                  <a:gd name="T75" fmla="*/ 628 h 738"/>
                  <a:gd name="T76" fmla="*/ 397 w 1926"/>
                  <a:gd name="T77" fmla="*/ 602 h 738"/>
                  <a:gd name="T78" fmla="*/ 470 w 1926"/>
                  <a:gd name="T79" fmla="*/ 569 h 738"/>
                  <a:gd name="T80" fmla="*/ 596 w 1926"/>
                  <a:gd name="T81" fmla="*/ 549 h 738"/>
                  <a:gd name="T82" fmla="*/ 712 w 1926"/>
                  <a:gd name="T83" fmla="*/ 603 h 738"/>
                  <a:gd name="T84" fmla="*/ 820 w 1926"/>
                  <a:gd name="T85" fmla="*/ 603 h 738"/>
                  <a:gd name="T86" fmla="*/ 920 w 1926"/>
                  <a:gd name="T87" fmla="*/ 595 h 738"/>
                  <a:gd name="T88" fmla="*/ 1067 w 1926"/>
                  <a:gd name="T89" fmla="*/ 613 h 738"/>
                  <a:gd name="T90" fmla="*/ 1192 w 1926"/>
                  <a:gd name="T91" fmla="*/ 577 h 738"/>
                  <a:gd name="T92" fmla="*/ 1275 w 1926"/>
                  <a:gd name="T93" fmla="*/ 677 h 738"/>
                  <a:gd name="T94" fmla="*/ 1360 w 1926"/>
                  <a:gd name="T95" fmla="*/ 596 h 738"/>
                  <a:gd name="T96" fmla="*/ 1314 w 1926"/>
                  <a:gd name="T97" fmla="*/ 545 h 738"/>
                  <a:gd name="T98" fmla="*/ 1469 w 1926"/>
                  <a:gd name="T99" fmla="*/ 463 h 738"/>
                  <a:gd name="T100" fmla="*/ 1574 w 1926"/>
                  <a:gd name="T101" fmla="*/ 428 h 738"/>
                  <a:gd name="T102" fmla="*/ 1593 w 1926"/>
                  <a:gd name="T103" fmla="*/ 459 h 738"/>
                  <a:gd name="T104" fmla="*/ 1587 w 1926"/>
                  <a:gd name="T105" fmla="*/ 547 h 738"/>
                  <a:gd name="T106" fmla="*/ 1650 w 1926"/>
                  <a:gd name="T107" fmla="*/ 458 h 738"/>
                  <a:gd name="T108" fmla="*/ 1786 w 1926"/>
                  <a:gd name="T109" fmla="*/ 383 h 738"/>
                  <a:gd name="T110" fmla="*/ 1837 w 1926"/>
                  <a:gd name="T111" fmla="*/ 359 h 738"/>
                  <a:gd name="T112" fmla="*/ 1915 w 1926"/>
                  <a:gd name="T113" fmla="*/ 357 h 738"/>
                  <a:gd name="T114" fmla="*/ 325 w 1926"/>
                  <a:gd name="T115" fmla="*/ 27 h 738"/>
                  <a:gd name="T116" fmla="*/ 428 w 1926"/>
                  <a:gd name="T117" fmla="*/ 10 h 738"/>
                  <a:gd name="T118" fmla="*/ 373 w 1926"/>
                  <a:gd name="T119" fmla="*/ 222 h 738"/>
                  <a:gd name="T120" fmla="*/ 468 w 1926"/>
                  <a:gd name="T121" fmla="*/ 163 h 738"/>
                  <a:gd name="T122" fmla="*/ 397 w 1926"/>
                  <a:gd name="T123" fmla="*/ 19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26" h="738">
                    <a:moveTo>
                      <a:pt x="29" y="534"/>
                    </a:moveTo>
                    <a:cubicBezTo>
                      <a:pt x="27" y="534"/>
                      <a:pt x="23" y="533"/>
                      <a:pt x="22" y="531"/>
                    </a:cubicBezTo>
                    <a:cubicBezTo>
                      <a:pt x="21" y="530"/>
                      <a:pt x="18" y="530"/>
                      <a:pt x="15" y="531"/>
                    </a:cubicBezTo>
                    <a:cubicBezTo>
                      <a:pt x="16" y="531"/>
                      <a:pt x="17" y="531"/>
                      <a:pt x="17" y="532"/>
                    </a:cubicBezTo>
                    <a:cubicBezTo>
                      <a:pt x="19" y="535"/>
                      <a:pt x="11" y="535"/>
                      <a:pt x="13" y="538"/>
                    </a:cubicBezTo>
                    <a:cubicBezTo>
                      <a:pt x="16" y="542"/>
                      <a:pt x="8" y="542"/>
                      <a:pt x="8" y="538"/>
                    </a:cubicBezTo>
                    <a:cubicBezTo>
                      <a:pt x="8" y="535"/>
                      <a:pt x="0" y="537"/>
                      <a:pt x="0" y="539"/>
                    </a:cubicBezTo>
                    <a:cubicBezTo>
                      <a:pt x="0" y="540"/>
                      <a:pt x="0" y="541"/>
                      <a:pt x="0" y="542"/>
                    </a:cubicBezTo>
                    <a:cubicBezTo>
                      <a:pt x="2" y="542"/>
                      <a:pt x="4" y="543"/>
                      <a:pt x="5" y="544"/>
                    </a:cubicBezTo>
                    <a:cubicBezTo>
                      <a:pt x="7" y="544"/>
                      <a:pt x="27" y="546"/>
                      <a:pt x="35" y="545"/>
                    </a:cubicBezTo>
                    <a:cubicBezTo>
                      <a:pt x="34" y="543"/>
                      <a:pt x="35" y="539"/>
                      <a:pt x="35" y="537"/>
                    </a:cubicBezTo>
                    <a:cubicBezTo>
                      <a:pt x="35" y="535"/>
                      <a:pt x="30" y="533"/>
                      <a:pt x="29" y="534"/>
                    </a:cubicBezTo>
                    <a:close/>
                    <a:moveTo>
                      <a:pt x="822" y="35"/>
                    </a:moveTo>
                    <a:cubicBezTo>
                      <a:pt x="828" y="38"/>
                      <a:pt x="826" y="40"/>
                      <a:pt x="819" y="40"/>
                    </a:cubicBezTo>
                    <a:cubicBezTo>
                      <a:pt x="813" y="40"/>
                      <a:pt x="807" y="42"/>
                      <a:pt x="811" y="44"/>
                    </a:cubicBezTo>
                    <a:cubicBezTo>
                      <a:pt x="815" y="45"/>
                      <a:pt x="814" y="49"/>
                      <a:pt x="821" y="50"/>
                    </a:cubicBezTo>
                    <a:cubicBezTo>
                      <a:pt x="828" y="52"/>
                      <a:pt x="835" y="46"/>
                      <a:pt x="835" y="42"/>
                    </a:cubicBezTo>
                    <a:cubicBezTo>
                      <a:pt x="834" y="38"/>
                      <a:pt x="859" y="35"/>
                      <a:pt x="866" y="33"/>
                    </a:cubicBezTo>
                    <a:cubicBezTo>
                      <a:pt x="872" y="31"/>
                      <a:pt x="861" y="24"/>
                      <a:pt x="869" y="24"/>
                    </a:cubicBezTo>
                    <a:cubicBezTo>
                      <a:pt x="876" y="23"/>
                      <a:pt x="873" y="20"/>
                      <a:pt x="864" y="18"/>
                    </a:cubicBezTo>
                    <a:cubicBezTo>
                      <a:pt x="855" y="17"/>
                      <a:pt x="859" y="9"/>
                      <a:pt x="856" y="7"/>
                    </a:cubicBezTo>
                    <a:cubicBezTo>
                      <a:pt x="853" y="4"/>
                      <a:pt x="851" y="10"/>
                      <a:pt x="839" y="12"/>
                    </a:cubicBezTo>
                    <a:cubicBezTo>
                      <a:pt x="828" y="15"/>
                      <a:pt x="822" y="18"/>
                      <a:pt x="827" y="20"/>
                    </a:cubicBezTo>
                    <a:cubicBezTo>
                      <a:pt x="831" y="22"/>
                      <a:pt x="827" y="28"/>
                      <a:pt x="822" y="28"/>
                    </a:cubicBezTo>
                    <a:cubicBezTo>
                      <a:pt x="817" y="27"/>
                      <a:pt x="816" y="33"/>
                      <a:pt x="822" y="35"/>
                    </a:cubicBezTo>
                    <a:close/>
                    <a:moveTo>
                      <a:pt x="840" y="45"/>
                    </a:moveTo>
                    <a:cubicBezTo>
                      <a:pt x="840" y="48"/>
                      <a:pt x="829" y="52"/>
                      <a:pt x="832" y="55"/>
                    </a:cubicBezTo>
                    <a:cubicBezTo>
                      <a:pt x="835" y="57"/>
                      <a:pt x="837" y="56"/>
                      <a:pt x="840" y="57"/>
                    </a:cubicBezTo>
                    <a:cubicBezTo>
                      <a:pt x="844" y="58"/>
                      <a:pt x="845" y="66"/>
                      <a:pt x="851" y="65"/>
                    </a:cubicBezTo>
                    <a:cubicBezTo>
                      <a:pt x="857" y="63"/>
                      <a:pt x="874" y="71"/>
                      <a:pt x="883" y="71"/>
                    </a:cubicBezTo>
                    <a:cubicBezTo>
                      <a:pt x="893" y="71"/>
                      <a:pt x="894" y="63"/>
                      <a:pt x="891" y="63"/>
                    </a:cubicBezTo>
                    <a:cubicBezTo>
                      <a:pt x="888" y="63"/>
                      <a:pt x="891" y="58"/>
                      <a:pt x="896" y="50"/>
                    </a:cubicBezTo>
                    <a:cubicBezTo>
                      <a:pt x="901" y="43"/>
                      <a:pt x="879" y="37"/>
                      <a:pt x="879" y="43"/>
                    </a:cubicBezTo>
                    <a:cubicBezTo>
                      <a:pt x="879" y="49"/>
                      <a:pt x="873" y="42"/>
                      <a:pt x="871" y="38"/>
                    </a:cubicBezTo>
                    <a:cubicBezTo>
                      <a:pt x="869" y="34"/>
                      <a:pt x="840" y="41"/>
                      <a:pt x="840" y="45"/>
                    </a:cubicBezTo>
                    <a:close/>
                    <a:moveTo>
                      <a:pt x="576" y="206"/>
                    </a:moveTo>
                    <a:cubicBezTo>
                      <a:pt x="580" y="206"/>
                      <a:pt x="592" y="204"/>
                      <a:pt x="593" y="202"/>
                    </a:cubicBezTo>
                    <a:cubicBezTo>
                      <a:pt x="594" y="199"/>
                      <a:pt x="588" y="197"/>
                      <a:pt x="581" y="197"/>
                    </a:cubicBezTo>
                    <a:cubicBezTo>
                      <a:pt x="573" y="197"/>
                      <a:pt x="572" y="205"/>
                      <a:pt x="576" y="206"/>
                    </a:cubicBezTo>
                    <a:close/>
                    <a:moveTo>
                      <a:pt x="511" y="20"/>
                    </a:moveTo>
                    <a:cubicBezTo>
                      <a:pt x="524" y="19"/>
                      <a:pt x="524" y="12"/>
                      <a:pt x="517" y="11"/>
                    </a:cubicBezTo>
                    <a:cubicBezTo>
                      <a:pt x="510" y="9"/>
                      <a:pt x="509" y="15"/>
                      <a:pt x="506" y="14"/>
                    </a:cubicBezTo>
                    <a:cubicBezTo>
                      <a:pt x="503" y="14"/>
                      <a:pt x="490" y="16"/>
                      <a:pt x="493" y="19"/>
                    </a:cubicBezTo>
                    <a:cubicBezTo>
                      <a:pt x="496" y="23"/>
                      <a:pt x="505" y="21"/>
                      <a:pt x="511" y="20"/>
                    </a:cubicBezTo>
                    <a:close/>
                    <a:moveTo>
                      <a:pt x="891" y="92"/>
                    </a:moveTo>
                    <a:cubicBezTo>
                      <a:pt x="896" y="94"/>
                      <a:pt x="911" y="88"/>
                      <a:pt x="921" y="89"/>
                    </a:cubicBezTo>
                    <a:cubicBezTo>
                      <a:pt x="931" y="89"/>
                      <a:pt x="959" y="81"/>
                      <a:pt x="960" y="76"/>
                    </a:cubicBezTo>
                    <a:cubicBezTo>
                      <a:pt x="961" y="70"/>
                      <a:pt x="950" y="71"/>
                      <a:pt x="945" y="66"/>
                    </a:cubicBezTo>
                    <a:cubicBezTo>
                      <a:pt x="941" y="61"/>
                      <a:pt x="931" y="65"/>
                      <a:pt x="929" y="69"/>
                    </a:cubicBezTo>
                    <a:cubicBezTo>
                      <a:pt x="927" y="73"/>
                      <a:pt x="924" y="70"/>
                      <a:pt x="930" y="63"/>
                    </a:cubicBezTo>
                    <a:cubicBezTo>
                      <a:pt x="937" y="57"/>
                      <a:pt x="924" y="52"/>
                      <a:pt x="924" y="56"/>
                    </a:cubicBezTo>
                    <a:cubicBezTo>
                      <a:pt x="923" y="60"/>
                      <a:pt x="912" y="57"/>
                      <a:pt x="912" y="60"/>
                    </a:cubicBezTo>
                    <a:cubicBezTo>
                      <a:pt x="912" y="64"/>
                      <a:pt x="907" y="66"/>
                      <a:pt x="908" y="69"/>
                    </a:cubicBezTo>
                    <a:cubicBezTo>
                      <a:pt x="908" y="73"/>
                      <a:pt x="900" y="67"/>
                      <a:pt x="899" y="76"/>
                    </a:cubicBezTo>
                    <a:cubicBezTo>
                      <a:pt x="899" y="84"/>
                      <a:pt x="886" y="89"/>
                      <a:pt x="891" y="92"/>
                    </a:cubicBezTo>
                    <a:close/>
                    <a:moveTo>
                      <a:pt x="813" y="12"/>
                    </a:moveTo>
                    <a:cubicBezTo>
                      <a:pt x="815" y="7"/>
                      <a:pt x="792" y="9"/>
                      <a:pt x="798" y="14"/>
                    </a:cubicBezTo>
                    <a:cubicBezTo>
                      <a:pt x="800" y="15"/>
                      <a:pt x="812" y="17"/>
                      <a:pt x="813" y="12"/>
                    </a:cubicBezTo>
                    <a:close/>
                    <a:moveTo>
                      <a:pt x="1422" y="160"/>
                    </a:moveTo>
                    <a:cubicBezTo>
                      <a:pt x="1430" y="161"/>
                      <a:pt x="1434" y="168"/>
                      <a:pt x="1450" y="169"/>
                    </a:cubicBezTo>
                    <a:cubicBezTo>
                      <a:pt x="1465" y="170"/>
                      <a:pt x="1476" y="167"/>
                      <a:pt x="1477" y="164"/>
                    </a:cubicBezTo>
                    <a:cubicBezTo>
                      <a:pt x="1477" y="161"/>
                      <a:pt x="1463" y="156"/>
                      <a:pt x="1458" y="158"/>
                    </a:cubicBezTo>
                    <a:cubicBezTo>
                      <a:pt x="1454" y="161"/>
                      <a:pt x="1451" y="154"/>
                      <a:pt x="1445" y="156"/>
                    </a:cubicBezTo>
                    <a:cubicBezTo>
                      <a:pt x="1440" y="157"/>
                      <a:pt x="1433" y="157"/>
                      <a:pt x="1430" y="152"/>
                    </a:cubicBezTo>
                    <a:cubicBezTo>
                      <a:pt x="1427" y="148"/>
                      <a:pt x="1418" y="160"/>
                      <a:pt x="1422" y="160"/>
                    </a:cubicBezTo>
                    <a:close/>
                    <a:moveTo>
                      <a:pt x="1364" y="181"/>
                    </a:moveTo>
                    <a:cubicBezTo>
                      <a:pt x="1364" y="176"/>
                      <a:pt x="1346" y="183"/>
                      <a:pt x="1354" y="185"/>
                    </a:cubicBezTo>
                    <a:cubicBezTo>
                      <a:pt x="1358" y="187"/>
                      <a:pt x="1364" y="186"/>
                      <a:pt x="1364" y="181"/>
                    </a:cubicBezTo>
                    <a:close/>
                    <a:moveTo>
                      <a:pt x="1794" y="253"/>
                    </a:moveTo>
                    <a:cubicBezTo>
                      <a:pt x="1801" y="257"/>
                      <a:pt x="1805" y="249"/>
                      <a:pt x="1810" y="253"/>
                    </a:cubicBezTo>
                    <a:cubicBezTo>
                      <a:pt x="1816" y="257"/>
                      <a:pt x="1829" y="251"/>
                      <a:pt x="1834" y="250"/>
                    </a:cubicBezTo>
                    <a:cubicBezTo>
                      <a:pt x="1839" y="249"/>
                      <a:pt x="1837" y="243"/>
                      <a:pt x="1822" y="241"/>
                    </a:cubicBezTo>
                    <a:cubicBezTo>
                      <a:pt x="1807" y="239"/>
                      <a:pt x="1787" y="250"/>
                      <a:pt x="1794" y="253"/>
                    </a:cubicBezTo>
                    <a:close/>
                    <a:moveTo>
                      <a:pt x="1321" y="160"/>
                    </a:moveTo>
                    <a:cubicBezTo>
                      <a:pt x="1326" y="163"/>
                      <a:pt x="1328" y="165"/>
                      <a:pt x="1330" y="168"/>
                    </a:cubicBezTo>
                    <a:cubicBezTo>
                      <a:pt x="1333" y="170"/>
                      <a:pt x="1343" y="166"/>
                      <a:pt x="1347" y="165"/>
                    </a:cubicBezTo>
                    <a:cubicBezTo>
                      <a:pt x="1351" y="164"/>
                      <a:pt x="1351" y="171"/>
                      <a:pt x="1358" y="167"/>
                    </a:cubicBezTo>
                    <a:cubicBezTo>
                      <a:pt x="1364" y="163"/>
                      <a:pt x="1370" y="165"/>
                      <a:pt x="1378" y="165"/>
                    </a:cubicBezTo>
                    <a:cubicBezTo>
                      <a:pt x="1385" y="165"/>
                      <a:pt x="1376" y="156"/>
                      <a:pt x="1377" y="152"/>
                    </a:cubicBezTo>
                    <a:cubicBezTo>
                      <a:pt x="1377" y="148"/>
                      <a:pt x="1385" y="151"/>
                      <a:pt x="1383" y="154"/>
                    </a:cubicBezTo>
                    <a:cubicBezTo>
                      <a:pt x="1380" y="157"/>
                      <a:pt x="1387" y="165"/>
                      <a:pt x="1397" y="164"/>
                    </a:cubicBezTo>
                    <a:cubicBezTo>
                      <a:pt x="1408" y="164"/>
                      <a:pt x="1400" y="157"/>
                      <a:pt x="1405" y="155"/>
                    </a:cubicBezTo>
                    <a:cubicBezTo>
                      <a:pt x="1411" y="152"/>
                      <a:pt x="1410" y="150"/>
                      <a:pt x="1402" y="145"/>
                    </a:cubicBezTo>
                    <a:cubicBezTo>
                      <a:pt x="1395" y="140"/>
                      <a:pt x="1385" y="143"/>
                      <a:pt x="1378" y="140"/>
                    </a:cubicBezTo>
                    <a:cubicBezTo>
                      <a:pt x="1371" y="137"/>
                      <a:pt x="1362" y="137"/>
                      <a:pt x="1362" y="144"/>
                    </a:cubicBezTo>
                    <a:cubicBezTo>
                      <a:pt x="1362" y="152"/>
                      <a:pt x="1348" y="136"/>
                      <a:pt x="1340" y="134"/>
                    </a:cubicBezTo>
                    <a:cubicBezTo>
                      <a:pt x="1333" y="132"/>
                      <a:pt x="1310" y="155"/>
                      <a:pt x="1321" y="160"/>
                    </a:cubicBezTo>
                    <a:close/>
                    <a:moveTo>
                      <a:pt x="1391" y="203"/>
                    </a:moveTo>
                    <a:cubicBezTo>
                      <a:pt x="1397" y="202"/>
                      <a:pt x="1387" y="191"/>
                      <a:pt x="1376" y="189"/>
                    </a:cubicBezTo>
                    <a:cubicBezTo>
                      <a:pt x="1366" y="187"/>
                      <a:pt x="1356" y="196"/>
                      <a:pt x="1358" y="198"/>
                    </a:cubicBezTo>
                    <a:cubicBezTo>
                      <a:pt x="1361" y="202"/>
                      <a:pt x="1385" y="204"/>
                      <a:pt x="1391" y="203"/>
                    </a:cubicBezTo>
                    <a:close/>
                    <a:moveTo>
                      <a:pt x="673" y="211"/>
                    </a:moveTo>
                    <a:cubicBezTo>
                      <a:pt x="678" y="213"/>
                      <a:pt x="682" y="212"/>
                      <a:pt x="682" y="207"/>
                    </a:cubicBezTo>
                    <a:cubicBezTo>
                      <a:pt x="681" y="202"/>
                      <a:pt x="669" y="208"/>
                      <a:pt x="673" y="211"/>
                    </a:cubicBezTo>
                    <a:close/>
                    <a:moveTo>
                      <a:pt x="309" y="25"/>
                    </a:moveTo>
                    <a:cubicBezTo>
                      <a:pt x="316" y="18"/>
                      <a:pt x="326" y="24"/>
                      <a:pt x="328" y="21"/>
                    </a:cubicBezTo>
                    <a:cubicBezTo>
                      <a:pt x="329" y="18"/>
                      <a:pt x="313" y="17"/>
                      <a:pt x="308" y="20"/>
                    </a:cubicBezTo>
                    <a:cubicBezTo>
                      <a:pt x="302" y="23"/>
                      <a:pt x="289" y="20"/>
                      <a:pt x="290" y="24"/>
                    </a:cubicBezTo>
                    <a:cubicBezTo>
                      <a:pt x="291" y="26"/>
                      <a:pt x="301" y="32"/>
                      <a:pt x="309" y="25"/>
                    </a:cubicBezTo>
                    <a:close/>
                    <a:moveTo>
                      <a:pt x="326" y="291"/>
                    </a:moveTo>
                    <a:cubicBezTo>
                      <a:pt x="335" y="299"/>
                      <a:pt x="342" y="287"/>
                      <a:pt x="347" y="287"/>
                    </a:cubicBezTo>
                    <a:cubicBezTo>
                      <a:pt x="351" y="286"/>
                      <a:pt x="344" y="281"/>
                      <a:pt x="337" y="279"/>
                    </a:cubicBezTo>
                    <a:cubicBezTo>
                      <a:pt x="329" y="277"/>
                      <a:pt x="319" y="285"/>
                      <a:pt x="326" y="291"/>
                    </a:cubicBezTo>
                    <a:close/>
                    <a:moveTo>
                      <a:pt x="1388" y="588"/>
                    </a:moveTo>
                    <a:cubicBezTo>
                      <a:pt x="1385" y="578"/>
                      <a:pt x="1394" y="569"/>
                      <a:pt x="1387" y="564"/>
                    </a:cubicBezTo>
                    <a:cubicBezTo>
                      <a:pt x="1380" y="559"/>
                      <a:pt x="1383" y="549"/>
                      <a:pt x="1380" y="551"/>
                    </a:cubicBezTo>
                    <a:cubicBezTo>
                      <a:pt x="1376" y="553"/>
                      <a:pt x="1380" y="562"/>
                      <a:pt x="1374" y="562"/>
                    </a:cubicBezTo>
                    <a:cubicBezTo>
                      <a:pt x="1369" y="563"/>
                      <a:pt x="1374" y="568"/>
                      <a:pt x="1372" y="575"/>
                    </a:cubicBezTo>
                    <a:cubicBezTo>
                      <a:pt x="1370" y="581"/>
                      <a:pt x="1373" y="591"/>
                      <a:pt x="1376" y="597"/>
                    </a:cubicBezTo>
                    <a:cubicBezTo>
                      <a:pt x="1378" y="603"/>
                      <a:pt x="1372" y="635"/>
                      <a:pt x="1375" y="640"/>
                    </a:cubicBezTo>
                    <a:cubicBezTo>
                      <a:pt x="1377" y="646"/>
                      <a:pt x="1370" y="669"/>
                      <a:pt x="1373" y="672"/>
                    </a:cubicBezTo>
                    <a:cubicBezTo>
                      <a:pt x="1377" y="677"/>
                      <a:pt x="1374" y="666"/>
                      <a:pt x="1380" y="665"/>
                    </a:cubicBezTo>
                    <a:cubicBezTo>
                      <a:pt x="1386" y="664"/>
                      <a:pt x="1386" y="671"/>
                      <a:pt x="1390" y="673"/>
                    </a:cubicBezTo>
                    <a:cubicBezTo>
                      <a:pt x="1393" y="675"/>
                      <a:pt x="1391" y="662"/>
                      <a:pt x="1388" y="663"/>
                    </a:cubicBezTo>
                    <a:cubicBezTo>
                      <a:pt x="1384" y="664"/>
                      <a:pt x="1382" y="655"/>
                      <a:pt x="1380" y="650"/>
                    </a:cubicBezTo>
                    <a:cubicBezTo>
                      <a:pt x="1378" y="644"/>
                      <a:pt x="1383" y="638"/>
                      <a:pt x="1383" y="631"/>
                    </a:cubicBezTo>
                    <a:cubicBezTo>
                      <a:pt x="1383" y="625"/>
                      <a:pt x="1392" y="625"/>
                      <a:pt x="1397" y="630"/>
                    </a:cubicBezTo>
                    <a:cubicBezTo>
                      <a:pt x="1402" y="635"/>
                      <a:pt x="1402" y="632"/>
                      <a:pt x="1400" y="628"/>
                    </a:cubicBezTo>
                    <a:cubicBezTo>
                      <a:pt x="1398" y="624"/>
                      <a:pt x="1392" y="598"/>
                      <a:pt x="1388" y="588"/>
                    </a:cubicBezTo>
                    <a:close/>
                    <a:moveTo>
                      <a:pt x="1922" y="348"/>
                    </a:moveTo>
                    <a:cubicBezTo>
                      <a:pt x="1919" y="347"/>
                      <a:pt x="1908" y="340"/>
                      <a:pt x="1906" y="336"/>
                    </a:cubicBezTo>
                    <a:cubicBezTo>
                      <a:pt x="1903" y="332"/>
                      <a:pt x="1890" y="330"/>
                      <a:pt x="1890" y="332"/>
                    </a:cubicBezTo>
                    <a:cubicBezTo>
                      <a:pt x="1890" y="334"/>
                      <a:pt x="1886" y="332"/>
                      <a:pt x="1885" y="330"/>
                    </a:cubicBezTo>
                    <a:cubicBezTo>
                      <a:pt x="1884" y="327"/>
                      <a:pt x="1871" y="327"/>
                      <a:pt x="1870" y="329"/>
                    </a:cubicBezTo>
                    <a:cubicBezTo>
                      <a:pt x="1870" y="332"/>
                      <a:pt x="1874" y="332"/>
                      <a:pt x="1876" y="335"/>
                    </a:cubicBezTo>
                    <a:cubicBezTo>
                      <a:pt x="1878" y="337"/>
                      <a:pt x="1873" y="339"/>
                      <a:pt x="1874" y="342"/>
                    </a:cubicBezTo>
                    <a:cubicBezTo>
                      <a:pt x="1875" y="345"/>
                      <a:pt x="1869" y="340"/>
                      <a:pt x="1867" y="339"/>
                    </a:cubicBezTo>
                    <a:cubicBezTo>
                      <a:pt x="1865" y="337"/>
                      <a:pt x="1866" y="330"/>
                      <a:pt x="1866" y="327"/>
                    </a:cubicBezTo>
                    <a:cubicBezTo>
                      <a:pt x="1867" y="324"/>
                      <a:pt x="1862" y="324"/>
                      <a:pt x="1862" y="321"/>
                    </a:cubicBezTo>
                    <a:cubicBezTo>
                      <a:pt x="1861" y="318"/>
                      <a:pt x="1846" y="311"/>
                      <a:pt x="1840" y="308"/>
                    </a:cubicBezTo>
                    <a:cubicBezTo>
                      <a:pt x="1834" y="306"/>
                      <a:pt x="1826" y="303"/>
                      <a:pt x="1823" y="300"/>
                    </a:cubicBezTo>
                    <a:cubicBezTo>
                      <a:pt x="1821" y="297"/>
                      <a:pt x="1810" y="296"/>
                      <a:pt x="1806" y="292"/>
                    </a:cubicBezTo>
                    <a:cubicBezTo>
                      <a:pt x="1801" y="287"/>
                      <a:pt x="1782" y="279"/>
                      <a:pt x="1774" y="279"/>
                    </a:cubicBezTo>
                    <a:cubicBezTo>
                      <a:pt x="1766" y="278"/>
                      <a:pt x="1768" y="274"/>
                      <a:pt x="1764" y="274"/>
                    </a:cubicBezTo>
                    <a:cubicBezTo>
                      <a:pt x="1760" y="275"/>
                      <a:pt x="1743" y="274"/>
                      <a:pt x="1737" y="273"/>
                    </a:cubicBezTo>
                    <a:cubicBezTo>
                      <a:pt x="1732" y="273"/>
                      <a:pt x="1731" y="277"/>
                      <a:pt x="1727" y="275"/>
                    </a:cubicBezTo>
                    <a:cubicBezTo>
                      <a:pt x="1723" y="274"/>
                      <a:pt x="1703" y="266"/>
                      <a:pt x="1701" y="269"/>
                    </a:cubicBezTo>
                    <a:cubicBezTo>
                      <a:pt x="1699" y="272"/>
                      <a:pt x="1700" y="276"/>
                      <a:pt x="1697" y="276"/>
                    </a:cubicBezTo>
                    <a:cubicBezTo>
                      <a:pt x="1695" y="277"/>
                      <a:pt x="1697" y="280"/>
                      <a:pt x="1703" y="285"/>
                    </a:cubicBezTo>
                    <a:cubicBezTo>
                      <a:pt x="1708" y="290"/>
                      <a:pt x="1705" y="294"/>
                      <a:pt x="1700" y="296"/>
                    </a:cubicBezTo>
                    <a:cubicBezTo>
                      <a:pt x="1695" y="298"/>
                      <a:pt x="1687" y="294"/>
                      <a:pt x="1684" y="290"/>
                    </a:cubicBezTo>
                    <a:cubicBezTo>
                      <a:pt x="1682" y="287"/>
                      <a:pt x="1675" y="288"/>
                      <a:pt x="1673" y="283"/>
                    </a:cubicBezTo>
                    <a:cubicBezTo>
                      <a:pt x="1672" y="278"/>
                      <a:pt x="1675" y="277"/>
                      <a:pt x="1679" y="280"/>
                    </a:cubicBezTo>
                    <a:cubicBezTo>
                      <a:pt x="1682" y="283"/>
                      <a:pt x="1687" y="281"/>
                      <a:pt x="1687" y="277"/>
                    </a:cubicBezTo>
                    <a:cubicBezTo>
                      <a:pt x="1688" y="273"/>
                      <a:pt x="1678" y="271"/>
                      <a:pt x="1673" y="271"/>
                    </a:cubicBezTo>
                    <a:cubicBezTo>
                      <a:pt x="1668" y="272"/>
                      <a:pt x="1665" y="279"/>
                      <a:pt x="1660" y="282"/>
                    </a:cubicBezTo>
                    <a:cubicBezTo>
                      <a:pt x="1654" y="285"/>
                      <a:pt x="1634" y="281"/>
                      <a:pt x="1631" y="279"/>
                    </a:cubicBezTo>
                    <a:cubicBezTo>
                      <a:pt x="1629" y="277"/>
                      <a:pt x="1600" y="279"/>
                      <a:pt x="1597" y="281"/>
                    </a:cubicBezTo>
                    <a:cubicBezTo>
                      <a:pt x="1594" y="283"/>
                      <a:pt x="1597" y="290"/>
                      <a:pt x="1595" y="291"/>
                    </a:cubicBezTo>
                    <a:cubicBezTo>
                      <a:pt x="1594" y="292"/>
                      <a:pt x="1592" y="282"/>
                      <a:pt x="1592" y="280"/>
                    </a:cubicBezTo>
                    <a:cubicBezTo>
                      <a:pt x="1592" y="278"/>
                      <a:pt x="1589" y="277"/>
                      <a:pt x="1583" y="277"/>
                    </a:cubicBezTo>
                    <a:cubicBezTo>
                      <a:pt x="1578" y="277"/>
                      <a:pt x="1575" y="277"/>
                      <a:pt x="1577" y="275"/>
                    </a:cubicBezTo>
                    <a:cubicBezTo>
                      <a:pt x="1580" y="273"/>
                      <a:pt x="1575" y="270"/>
                      <a:pt x="1579" y="268"/>
                    </a:cubicBezTo>
                    <a:cubicBezTo>
                      <a:pt x="1583" y="265"/>
                      <a:pt x="1572" y="256"/>
                      <a:pt x="1561" y="252"/>
                    </a:cubicBezTo>
                    <a:cubicBezTo>
                      <a:pt x="1550" y="247"/>
                      <a:pt x="1525" y="250"/>
                      <a:pt x="1518" y="252"/>
                    </a:cubicBezTo>
                    <a:cubicBezTo>
                      <a:pt x="1512" y="254"/>
                      <a:pt x="1498" y="253"/>
                      <a:pt x="1492" y="253"/>
                    </a:cubicBezTo>
                    <a:cubicBezTo>
                      <a:pt x="1486" y="253"/>
                      <a:pt x="1491" y="251"/>
                      <a:pt x="1489" y="248"/>
                    </a:cubicBezTo>
                    <a:cubicBezTo>
                      <a:pt x="1487" y="245"/>
                      <a:pt x="1476" y="241"/>
                      <a:pt x="1475" y="244"/>
                    </a:cubicBezTo>
                    <a:cubicBezTo>
                      <a:pt x="1473" y="246"/>
                      <a:pt x="1471" y="244"/>
                      <a:pt x="1471" y="242"/>
                    </a:cubicBezTo>
                    <a:cubicBezTo>
                      <a:pt x="1471" y="240"/>
                      <a:pt x="1460" y="236"/>
                      <a:pt x="1456" y="237"/>
                    </a:cubicBezTo>
                    <a:cubicBezTo>
                      <a:pt x="1452" y="238"/>
                      <a:pt x="1451" y="233"/>
                      <a:pt x="1455" y="233"/>
                    </a:cubicBezTo>
                    <a:cubicBezTo>
                      <a:pt x="1460" y="233"/>
                      <a:pt x="1468" y="234"/>
                      <a:pt x="1464" y="229"/>
                    </a:cubicBezTo>
                    <a:cubicBezTo>
                      <a:pt x="1461" y="224"/>
                      <a:pt x="1431" y="222"/>
                      <a:pt x="1428" y="223"/>
                    </a:cubicBezTo>
                    <a:cubicBezTo>
                      <a:pt x="1425" y="224"/>
                      <a:pt x="1428" y="228"/>
                      <a:pt x="1421" y="234"/>
                    </a:cubicBezTo>
                    <a:cubicBezTo>
                      <a:pt x="1415" y="240"/>
                      <a:pt x="1409" y="236"/>
                      <a:pt x="1409" y="233"/>
                    </a:cubicBezTo>
                    <a:cubicBezTo>
                      <a:pt x="1410" y="230"/>
                      <a:pt x="1418" y="231"/>
                      <a:pt x="1418" y="228"/>
                    </a:cubicBezTo>
                    <a:cubicBezTo>
                      <a:pt x="1418" y="225"/>
                      <a:pt x="1407" y="226"/>
                      <a:pt x="1406" y="224"/>
                    </a:cubicBezTo>
                    <a:cubicBezTo>
                      <a:pt x="1404" y="221"/>
                      <a:pt x="1408" y="220"/>
                      <a:pt x="1412" y="221"/>
                    </a:cubicBezTo>
                    <a:cubicBezTo>
                      <a:pt x="1416" y="222"/>
                      <a:pt x="1423" y="223"/>
                      <a:pt x="1423" y="221"/>
                    </a:cubicBezTo>
                    <a:cubicBezTo>
                      <a:pt x="1424" y="219"/>
                      <a:pt x="1419" y="219"/>
                      <a:pt x="1412" y="217"/>
                    </a:cubicBezTo>
                    <a:cubicBezTo>
                      <a:pt x="1406" y="216"/>
                      <a:pt x="1390" y="212"/>
                      <a:pt x="1381" y="213"/>
                    </a:cubicBezTo>
                    <a:cubicBezTo>
                      <a:pt x="1373" y="214"/>
                      <a:pt x="1369" y="210"/>
                      <a:pt x="1364" y="210"/>
                    </a:cubicBezTo>
                    <a:cubicBezTo>
                      <a:pt x="1359" y="209"/>
                      <a:pt x="1359" y="212"/>
                      <a:pt x="1362" y="215"/>
                    </a:cubicBezTo>
                    <a:cubicBezTo>
                      <a:pt x="1364" y="218"/>
                      <a:pt x="1357" y="219"/>
                      <a:pt x="1352" y="218"/>
                    </a:cubicBezTo>
                    <a:cubicBezTo>
                      <a:pt x="1346" y="218"/>
                      <a:pt x="1338" y="221"/>
                      <a:pt x="1341" y="225"/>
                    </a:cubicBezTo>
                    <a:cubicBezTo>
                      <a:pt x="1344" y="229"/>
                      <a:pt x="1348" y="224"/>
                      <a:pt x="1350" y="226"/>
                    </a:cubicBezTo>
                    <a:cubicBezTo>
                      <a:pt x="1353" y="227"/>
                      <a:pt x="1343" y="230"/>
                      <a:pt x="1347" y="232"/>
                    </a:cubicBezTo>
                    <a:cubicBezTo>
                      <a:pt x="1351" y="233"/>
                      <a:pt x="1351" y="237"/>
                      <a:pt x="1351" y="239"/>
                    </a:cubicBezTo>
                    <a:cubicBezTo>
                      <a:pt x="1351" y="241"/>
                      <a:pt x="1344" y="242"/>
                      <a:pt x="1342" y="239"/>
                    </a:cubicBezTo>
                    <a:cubicBezTo>
                      <a:pt x="1339" y="236"/>
                      <a:pt x="1336" y="239"/>
                      <a:pt x="1331" y="239"/>
                    </a:cubicBezTo>
                    <a:cubicBezTo>
                      <a:pt x="1326" y="238"/>
                      <a:pt x="1323" y="240"/>
                      <a:pt x="1328" y="241"/>
                    </a:cubicBezTo>
                    <a:cubicBezTo>
                      <a:pt x="1333" y="242"/>
                      <a:pt x="1334" y="245"/>
                      <a:pt x="1328" y="246"/>
                    </a:cubicBezTo>
                    <a:cubicBezTo>
                      <a:pt x="1321" y="246"/>
                      <a:pt x="1323" y="239"/>
                      <a:pt x="1319" y="240"/>
                    </a:cubicBezTo>
                    <a:cubicBezTo>
                      <a:pt x="1315" y="241"/>
                      <a:pt x="1306" y="237"/>
                      <a:pt x="1301" y="237"/>
                    </a:cubicBezTo>
                    <a:cubicBezTo>
                      <a:pt x="1297" y="237"/>
                      <a:pt x="1295" y="241"/>
                      <a:pt x="1288" y="242"/>
                    </a:cubicBezTo>
                    <a:cubicBezTo>
                      <a:pt x="1282" y="242"/>
                      <a:pt x="1274" y="238"/>
                      <a:pt x="1271" y="235"/>
                    </a:cubicBezTo>
                    <a:cubicBezTo>
                      <a:pt x="1269" y="232"/>
                      <a:pt x="1268" y="231"/>
                      <a:pt x="1265" y="235"/>
                    </a:cubicBezTo>
                    <a:cubicBezTo>
                      <a:pt x="1262" y="238"/>
                      <a:pt x="1262" y="246"/>
                      <a:pt x="1259" y="246"/>
                    </a:cubicBezTo>
                    <a:cubicBezTo>
                      <a:pt x="1256" y="247"/>
                      <a:pt x="1255" y="253"/>
                      <a:pt x="1252" y="255"/>
                    </a:cubicBezTo>
                    <a:cubicBezTo>
                      <a:pt x="1249" y="257"/>
                      <a:pt x="1249" y="252"/>
                      <a:pt x="1245" y="253"/>
                    </a:cubicBezTo>
                    <a:cubicBezTo>
                      <a:pt x="1241" y="253"/>
                      <a:pt x="1229" y="241"/>
                      <a:pt x="1228" y="238"/>
                    </a:cubicBezTo>
                    <a:cubicBezTo>
                      <a:pt x="1227" y="234"/>
                      <a:pt x="1220" y="227"/>
                      <a:pt x="1218" y="226"/>
                    </a:cubicBezTo>
                    <a:cubicBezTo>
                      <a:pt x="1216" y="225"/>
                      <a:pt x="1220" y="224"/>
                      <a:pt x="1222" y="226"/>
                    </a:cubicBezTo>
                    <a:cubicBezTo>
                      <a:pt x="1225" y="228"/>
                      <a:pt x="1228" y="228"/>
                      <a:pt x="1230" y="227"/>
                    </a:cubicBezTo>
                    <a:cubicBezTo>
                      <a:pt x="1233" y="226"/>
                      <a:pt x="1232" y="220"/>
                      <a:pt x="1228" y="219"/>
                    </a:cubicBezTo>
                    <a:cubicBezTo>
                      <a:pt x="1224" y="219"/>
                      <a:pt x="1225" y="216"/>
                      <a:pt x="1228" y="215"/>
                    </a:cubicBezTo>
                    <a:cubicBezTo>
                      <a:pt x="1230" y="214"/>
                      <a:pt x="1223" y="208"/>
                      <a:pt x="1225" y="207"/>
                    </a:cubicBezTo>
                    <a:cubicBezTo>
                      <a:pt x="1228" y="206"/>
                      <a:pt x="1227" y="204"/>
                      <a:pt x="1223" y="203"/>
                    </a:cubicBezTo>
                    <a:cubicBezTo>
                      <a:pt x="1219" y="203"/>
                      <a:pt x="1216" y="200"/>
                      <a:pt x="1215" y="198"/>
                    </a:cubicBezTo>
                    <a:cubicBezTo>
                      <a:pt x="1215" y="196"/>
                      <a:pt x="1200" y="195"/>
                      <a:pt x="1200" y="198"/>
                    </a:cubicBezTo>
                    <a:cubicBezTo>
                      <a:pt x="1201" y="201"/>
                      <a:pt x="1195" y="200"/>
                      <a:pt x="1196" y="198"/>
                    </a:cubicBezTo>
                    <a:cubicBezTo>
                      <a:pt x="1197" y="195"/>
                      <a:pt x="1191" y="196"/>
                      <a:pt x="1183" y="194"/>
                    </a:cubicBezTo>
                    <a:cubicBezTo>
                      <a:pt x="1176" y="192"/>
                      <a:pt x="1176" y="187"/>
                      <a:pt x="1173" y="187"/>
                    </a:cubicBezTo>
                    <a:cubicBezTo>
                      <a:pt x="1171" y="186"/>
                      <a:pt x="1172" y="194"/>
                      <a:pt x="1168" y="192"/>
                    </a:cubicBezTo>
                    <a:cubicBezTo>
                      <a:pt x="1164" y="190"/>
                      <a:pt x="1160" y="194"/>
                      <a:pt x="1162" y="198"/>
                    </a:cubicBezTo>
                    <a:cubicBezTo>
                      <a:pt x="1164" y="202"/>
                      <a:pt x="1163" y="203"/>
                      <a:pt x="1162" y="206"/>
                    </a:cubicBezTo>
                    <a:cubicBezTo>
                      <a:pt x="1162" y="210"/>
                      <a:pt x="1160" y="208"/>
                      <a:pt x="1156" y="207"/>
                    </a:cubicBezTo>
                    <a:cubicBezTo>
                      <a:pt x="1151" y="205"/>
                      <a:pt x="1151" y="211"/>
                      <a:pt x="1142" y="208"/>
                    </a:cubicBezTo>
                    <a:cubicBezTo>
                      <a:pt x="1133" y="206"/>
                      <a:pt x="1128" y="208"/>
                      <a:pt x="1127" y="205"/>
                    </a:cubicBezTo>
                    <a:cubicBezTo>
                      <a:pt x="1125" y="202"/>
                      <a:pt x="1122" y="202"/>
                      <a:pt x="1122" y="205"/>
                    </a:cubicBezTo>
                    <a:cubicBezTo>
                      <a:pt x="1122" y="207"/>
                      <a:pt x="1107" y="206"/>
                      <a:pt x="1106" y="202"/>
                    </a:cubicBezTo>
                    <a:cubicBezTo>
                      <a:pt x="1105" y="199"/>
                      <a:pt x="1109" y="198"/>
                      <a:pt x="1111" y="197"/>
                    </a:cubicBezTo>
                    <a:cubicBezTo>
                      <a:pt x="1113" y="196"/>
                      <a:pt x="1108" y="195"/>
                      <a:pt x="1101" y="195"/>
                    </a:cubicBezTo>
                    <a:cubicBezTo>
                      <a:pt x="1093" y="196"/>
                      <a:pt x="1088" y="191"/>
                      <a:pt x="1080" y="192"/>
                    </a:cubicBezTo>
                    <a:cubicBezTo>
                      <a:pt x="1072" y="193"/>
                      <a:pt x="1054" y="194"/>
                      <a:pt x="1051" y="196"/>
                    </a:cubicBezTo>
                    <a:cubicBezTo>
                      <a:pt x="1049" y="197"/>
                      <a:pt x="1054" y="201"/>
                      <a:pt x="1050" y="202"/>
                    </a:cubicBezTo>
                    <a:cubicBezTo>
                      <a:pt x="1046" y="202"/>
                      <a:pt x="1049" y="194"/>
                      <a:pt x="1048" y="191"/>
                    </a:cubicBezTo>
                    <a:cubicBezTo>
                      <a:pt x="1047" y="187"/>
                      <a:pt x="1042" y="186"/>
                      <a:pt x="1042" y="189"/>
                    </a:cubicBezTo>
                    <a:cubicBezTo>
                      <a:pt x="1043" y="192"/>
                      <a:pt x="1033" y="193"/>
                      <a:pt x="1031" y="191"/>
                    </a:cubicBezTo>
                    <a:cubicBezTo>
                      <a:pt x="1028" y="189"/>
                      <a:pt x="1024" y="186"/>
                      <a:pt x="1018" y="184"/>
                    </a:cubicBezTo>
                    <a:cubicBezTo>
                      <a:pt x="1011" y="183"/>
                      <a:pt x="1003" y="190"/>
                      <a:pt x="1005" y="192"/>
                    </a:cubicBezTo>
                    <a:cubicBezTo>
                      <a:pt x="1007" y="194"/>
                      <a:pt x="1012" y="192"/>
                      <a:pt x="1012" y="193"/>
                    </a:cubicBezTo>
                    <a:cubicBezTo>
                      <a:pt x="1012" y="196"/>
                      <a:pt x="998" y="195"/>
                      <a:pt x="998" y="197"/>
                    </a:cubicBezTo>
                    <a:cubicBezTo>
                      <a:pt x="998" y="200"/>
                      <a:pt x="985" y="203"/>
                      <a:pt x="981" y="203"/>
                    </a:cubicBezTo>
                    <a:cubicBezTo>
                      <a:pt x="970" y="205"/>
                      <a:pt x="968" y="205"/>
                      <a:pt x="962" y="209"/>
                    </a:cubicBezTo>
                    <a:cubicBezTo>
                      <a:pt x="957" y="213"/>
                      <a:pt x="961" y="205"/>
                      <a:pt x="965" y="201"/>
                    </a:cubicBezTo>
                    <a:cubicBezTo>
                      <a:pt x="969" y="197"/>
                      <a:pt x="973" y="199"/>
                      <a:pt x="976" y="196"/>
                    </a:cubicBezTo>
                    <a:cubicBezTo>
                      <a:pt x="978" y="193"/>
                      <a:pt x="982" y="193"/>
                      <a:pt x="988" y="192"/>
                    </a:cubicBezTo>
                    <a:cubicBezTo>
                      <a:pt x="994" y="191"/>
                      <a:pt x="994" y="187"/>
                      <a:pt x="997" y="186"/>
                    </a:cubicBezTo>
                    <a:cubicBezTo>
                      <a:pt x="1000" y="185"/>
                      <a:pt x="1007" y="182"/>
                      <a:pt x="1009" y="179"/>
                    </a:cubicBezTo>
                    <a:cubicBezTo>
                      <a:pt x="1010" y="176"/>
                      <a:pt x="1025" y="171"/>
                      <a:pt x="1028" y="171"/>
                    </a:cubicBezTo>
                    <a:cubicBezTo>
                      <a:pt x="1031" y="171"/>
                      <a:pt x="1032" y="165"/>
                      <a:pt x="1033" y="165"/>
                    </a:cubicBezTo>
                    <a:cubicBezTo>
                      <a:pt x="1035" y="165"/>
                      <a:pt x="1044" y="161"/>
                      <a:pt x="1047" y="160"/>
                    </a:cubicBezTo>
                    <a:cubicBezTo>
                      <a:pt x="1050" y="158"/>
                      <a:pt x="1052" y="155"/>
                      <a:pt x="1052" y="153"/>
                    </a:cubicBezTo>
                    <a:cubicBezTo>
                      <a:pt x="1052" y="151"/>
                      <a:pt x="1048" y="151"/>
                      <a:pt x="1047" y="149"/>
                    </a:cubicBezTo>
                    <a:cubicBezTo>
                      <a:pt x="1047" y="147"/>
                      <a:pt x="1049" y="148"/>
                      <a:pt x="1053" y="147"/>
                    </a:cubicBezTo>
                    <a:cubicBezTo>
                      <a:pt x="1056" y="146"/>
                      <a:pt x="1053" y="141"/>
                      <a:pt x="1050" y="142"/>
                    </a:cubicBezTo>
                    <a:cubicBezTo>
                      <a:pt x="1047" y="143"/>
                      <a:pt x="1052" y="139"/>
                      <a:pt x="1049" y="136"/>
                    </a:cubicBezTo>
                    <a:cubicBezTo>
                      <a:pt x="1047" y="133"/>
                      <a:pt x="1042" y="138"/>
                      <a:pt x="1042" y="135"/>
                    </a:cubicBezTo>
                    <a:cubicBezTo>
                      <a:pt x="1042" y="132"/>
                      <a:pt x="1041" y="128"/>
                      <a:pt x="1039" y="126"/>
                    </a:cubicBezTo>
                    <a:cubicBezTo>
                      <a:pt x="1037" y="124"/>
                      <a:pt x="1034" y="129"/>
                      <a:pt x="1030" y="126"/>
                    </a:cubicBezTo>
                    <a:cubicBezTo>
                      <a:pt x="1025" y="123"/>
                      <a:pt x="1013" y="121"/>
                      <a:pt x="1013" y="122"/>
                    </a:cubicBezTo>
                    <a:cubicBezTo>
                      <a:pt x="1013" y="124"/>
                      <a:pt x="1007" y="120"/>
                      <a:pt x="1006" y="122"/>
                    </a:cubicBezTo>
                    <a:cubicBezTo>
                      <a:pt x="1005" y="123"/>
                      <a:pt x="995" y="123"/>
                      <a:pt x="992" y="122"/>
                    </a:cubicBezTo>
                    <a:cubicBezTo>
                      <a:pt x="989" y="121"/>
                      <a:pt x="985" y="123"/>
                      <a:pt x="985" y="126"/>
                    </a:cubicBezTo>
                    <a:cubicBezTo>
                      <a:pt x="985" y="129"/>
                      <a:pt x="973" y="128"/>
                      <a:pt x="971" y="127"/>
                    </a:cubicBezTo>
                    <a:cubicBezTo>
                      <a:pt x="969" y="127"/>
                      <a:pt x="979" y="118"/>
                      <a:pt x="979" y="117"/>
                    </a:cubicBezTo>
                    <a:cubicBezTo>
                      <a:pt x="979" y="115"/>
                      <a:pt x="962" y="117"/>
                      <a:pt x="961" y="116"/>
                    </a:cubicBezTo>
                    <a:cubicBezTo>
                      <a:pt x="960" y="114"/>
                      <a:pt x="951" y="113"/>
                      <a:pt x="947" y="114"/>
                    </a:cubicBezTo>
                    <a:cubicBezTo>
                      <a:pt x="943" y="114"/>
                      <a:pt x="947" y="113"/>
                      <a:pt x="951" y="112"/>
                    </a:cubicBezTo>
                    <a:cubicBezTo>
                      <a:pt x="954" y="112"/>
                      <a:pt x="957" y="109"/>
                      <a:pt x="961" y="108"/>
                    </a:cubicBezTo>
                    <a:cubicBezTo>
                      <a:pt x="965" y="108"/>
                      <a:pt x="964" y="106"/>
                      <a:pt x="962" y="104"/>
                    </a:cubicBezTo>
                    <a:cubicBezTo>
                      <a:pt x="961" y="102"/>
                      <a:pt x="957" y="103"/>
                      <a:pt x="953" y="102"/>
                    </a:cubicBezTo>
                    <a:cubicBezTo>
                      <a:pt x="949" y="100"/>
                      <a:pt x="944" y="99"/>
                      <a:pt x="941" y="99"/>
                    </a:cubicBezTo>
                    <a:cubicBezTo>
                      <a:pt x="938" y="98"/>
                      <a:pt x="934" y="100"/>
                      <a:pt x="926" y="102"/>
                    </a:cubicBezTo>
                    <a:cubicBezTo>
                      <a:pt x="918" y="103"/>
                      <a:pt x="918" y="109"/>
                      <a:pt x="914" y="111"/>
                    </a:cubicBezTo>
                    <a:cubicBezTo>
                      <a:pt x="910" y="113"/>
                      <a:pt x="903" y="120"/>
                      <a:pt x="906" y="121"/>
                    </a:cubicBezTo>
                    <a:cubicBezTo>
                      <a:pt x="909" y="122"/>
                      <a:pt x="908" y="124"/>
                      <a:pt x="908" y="126"/>
                    </a:cubicBezTo>
                    <a:cubicBezTo>
                      <a:pt x="909" y="128"/>
                      <a:pt x="906" y="128"/>
                      <a:pt x="902" y="128"/>
                    </a:cubicBezTo>
                    <a:cubicBezTo>
                      <a:pt x="898" y="127"/>
                      <a:pt x="885" y="127"/>
                      <a:pt x="885" y="130"/>
                    </a:cubicBezTo>
                    <a:cubicBezTo>
                      <a:pt x="885" y="133"/>
                      <a:pt x="893" y="134"/>
                      <a:pt x="892" y="136"/>
                    </a:cubicBezTo>
                    <a:cubicBezTo>
                      <a:pt x="892" y="137"/>
                      <a:pt x="886" y="136"/>
                      <a:pt x="884" y="134"/>
                    </a:cubicBezTo>
                    <a:cubicBezTo>
                      <a:pt x="881" y="133"/>
                      <a:pt x="875" y="133"/>
                      <a:pt x="874" y="136"/>
                    </a:cubicBezTo>
                    <a:cubicBezTo>
                      <a:pt x="873" y="139"/>
                      <a:pt x="868" y="138"/>
                      <a:pt x="866" y="138"/>
                    </a:cubicBezTo>
                    <a:cubicBezTo>
                      <a:pt x="865" y="137"/>
                      <a:pt x="862" y="139"/>
                      <a:pt x="859" y="138"/>
                    </a:cubicBezTo>
                    <a:cubicBezTo>
                      <a:pt x="857" y="137"/>
                      <a:pt x="864" y="134"/>
                      <a:pt x="862" y="132"/>
                    </a:cubicBezTo>
                    <a:cubicBezTo>
                      <a:pt x="860" y="130"/>
                      <a:pt x="852" y="132"/>
                      <a:pt x="852" y="135"/>
                    </a:cubicBezTo>
                    <a:cubicBezTo>
                      <a:pt x="851" y="138"/>
                      <a:pt x="846" y="133"/>
                      <a:pt x="844" y="134"/>
                    </a:cubicBezTo>
                    <a:cubicBezTo>
                      <a:pt x="842" y="135"/>
                      <a:pt x="840" y="136"/>
                      <a:pt x="837" y="137"/>
                    </a:cubicBezTo>
                    <a:cubicBezTo>
                      <a:pt x="833" y="139"/>
                      <a:pt x="827" y="136"/>
                      <a:pt x="826" y="138"/>
                    </a:cubicBezTo>
                    <a:cubicBezTo>
                      <a:pt x="825" y="141"/>
                      <a:pt x="833" y="142"/>
                      <a:pt x="833" y="143"/>
                    </a:cubicBezTo>
                    <a:cubicBezTo>
                      <a:pt x="833" y="144"/>
                      <a:pt x="815" y="144"/>
                      <a:pt x="814" y="146"/>
                    </a:cubicBezTo>
                    <a:cubicBezTo>
                      <a:pt x="814" y="148"/>
                      <a:pt x="807" y="148"/>
                      <a:pt x="800" y="148"/>
                    </a:cubicBezTo>
                    <a:cubicBezTo>
                      <a:pt x="792" y="148"/>
                      <a:pt x="795" y="152"/>
                      <a:pt x="789" y="153"/>
                    </a:cubicBezTo>
                    <a:cubicBezTo>
                      <a:pt x="783" y="154"/>
                      <a:pt x="781" y="154"/>
                      <a:pt x="779" y="157"/>
                    </a:cubicBezTo>
                    <a:cubicBezTo>
                      <a:pt x="777" y="160"/>
                      <a:pt x="772" y="161"/>
                      <a:pt x="770" y="158"/>
                    </a:cubicBezTo>
                    <a:cubicBezTo>
                      <a:pt x="768" y="156"/>
                      <a:pt x="763" y="159"/>
                      <a:pt x="766" y="160"/>
                    </a:cubicBezTo>
                    <a:cubicBezTo>
                      <a:pt x="769" y="160"/>
                      <a:pt x="766" y="163"/>
                      <a:pt x="764" y="162"/>
                    </a:cubicBezTo>
                    <a:cubicBezTo>
                      <a:pt x="762" y="162"/>
                      <a:pt x="757" y="166"/>
                      <a:pt x="760" y="165"/>
                    </a:cubicBezTo>
                    <a:cubicBezTo>
                      <a:pt x="763" y="165"/>
                      <a:pt x="764" y="167"/>
                      <a:pt x="763" y="169"/>
                    </a:cubicBezTo>
                    <a:cubicBezTo>
                      <a:pt x="761" y="171"/>
                      <a:pt x="755" y="167"/>
                      <a:pt x="753" y="169"/>
                    </a:cubicBezTo>
                    <a:cubicBezTo>
                      <a:pt x="751" y="170"/>
                      <a:pt x="756" y="173"/>
                      <a:pt x="759" y="172"/>
                    </a:cubicBezTo>
                    <a:cubicBezTo>
                      <a:pt x="762" y="172"/>
                      <a:pt x="764" y="174"/>
                      <a:pt x="764" y="176"/>
                    </a:cubicBezTo>
                    <a:cubicBezTo>
                      <a:pt x="765" y="178"/>
                      <a:pt x="757" y="175"/>
                      <a:pt x="756" y="177"/>
                    </a:cubicBezTo>
                    <a:cubicBezTo>
                      <a:pt x="754" y="178"/>
                      <a:pt x="757" y="179"/>
                      <a:pt x="760" y="180"/>
                    </a:cubicBezTo>
                    <a:cubicBezTo>
                      <a:pt x="763" y="180"/>
                      <a:pt x="761" y="181"/>
                      <a:pt x="764" y="184"/>
                    </a:cubicBezTo>
                    <a:cubicBezTo>
                      <a:pt x="764" y="184"/>
                      <a:pt x="764" y="184"/>
                      <a:pt x="764" y="184"/>
                    </a:cubicBezTo>
                    <a:cubicBezTo>
                      <a:pt x="766" y="186"/>
                      <a:pt x="763" y="187"/>
                      <a:pt x="763" y="189"/>
                    </a:cubicBezTo>
                    <a:cubicBezTo>
                      <a:pt x="763" y="191"/>
                      <a:pt x="760" y="192"/>
                      <a:pt x="760" y="190"/>
                    </a:cubicBezTo>
                    <a:cubicBezTo>
                      <a:pt x="760" y="188"/>
                      <a:pt x="751" y="187"/>
                      <a:pt x="749" y="189"/>
                    </a:cubicBezTo>
                    <a:cubicBezTo>
                      <a:pt x="747" y="192"/>
                      <a:pt x="746" y="193"/>
                      <a:pt x="744" y="191"/>
                    </a:cubicBezTo>
                    <a:cubicBezTo>
                      <a:pt x="742" y="189"/>
                      <a:pt x="735" y="192"/>
                      <a:pt x="727" y="192"/>
                    </a:cubicBezTo>
                    <a:cubicBezTo>
                      <a:pt x="719" y="192"/>
                      <a:pt x="702" y="193"/>
                      <a:pt x="698" y="195"/>
                    </a:cubicBezTo>
                    <a:cubicBezTo>
                      <a:pt x="694" y="196"/>
                      <a:pt x="690" y="202"/>
                      <a:pt x="694" y="206"/>
                    </a:cubicBezTo>
                    <a:cubicBezTo>
                      <a:pt x="698" y="210"/>
                      <a:pt x="694" y="211"/>
                      <a:pt x="694" y="214"/>
                    </a:cubicBezTo>
                    <a:cubicBezTo>
                      <a:pt x="694" y="216"/>
                      <a:pt x="704" y="221"/>
                      <a:pt x="710" y="222"/>
                    </a:cubicBezTo>
                    <a:cubicBezTo>
                      <a:pt x="715" y="222"/>
                      <a:pt x="719" y="229"/>
                      <a:pt x="716" y="233"/>
                    </a:cubicBezTo>
                    <a:cubicBezTo>
                      <a:pt x="713" y="237"/>
                      <a:pt x="703" y="232"/>
                      <a:pt x="697" y="227"/>
                    </a:cubicBezTo>
                    <a:cubicBezTo>
                      <a:pt x="691" y="222"/>
                      <a:pt x="676" y="220"/>
                      <a:pt x="671" y="220"/>
                    </a:cubicBezTo>
                    <a:cubicBezTo>
                      <a:pt x="666" y="220"/>
                      <a:pt x="669" y="216"/>
                      <a:pt x="663" y="216"/>
                    </a:cubicBezTo>
                    <a:cubicBezTo>
                      <a:pt x="657" y="216"/>
                      <a:pt x="652" y="222"/>
                      <a:pt x="656" y="222"/>
                    </a:cubicBezTo>
                    <a:cubicBezTo>
                      <a:pt x="660" y="222"/>
                      <a:pt x="663" y="221"/>
                      <a:pt x="661" y="223"/>
                    </a:cubicBezTo>
                    <a:cubicBezTo>
                      <a:pt x="658" y="225"/>
                      <a:pt x="662" y="225"/>
                      <a:pt x="667" y="227"/>
                    </a:cubicBezTo>
                    <a:cubicBezTo>
                      <a:pt x="672" y="229"/>
                      <a:pt x="663" y="232"/>
                      <a:pt x="657" y="229"/>
                    </a:cubicBezTo>
                    <a:cubicBezTo>
                      <a:pt x="652" y="225"/>
                      <a:pt x="647" y="228"/>
                      <a:pt x="645" y="231"/>
                    </a:cubicBezTo>
                    <a:cubicBezTo>
                      <a:pt x="644" y="234"/>
                      <a:pt x="651" y="241"/>
                      <a:pt x="660" y="243"/>
                    </a:cubicBezTo>
                    <a:cubicBezTo>
                      <a:pt x="669" y="244"/>
                      <a:pt x="666" y="247"/>
                      <a:pt x="670" y="248"/>
                    </a:cubicBezTo>
                    <a:cubicBezTo>
                      <a:pt x="675" y="250"/>
                      <a:pt x="672" y="252"/>
                      <a:pt x="669" y="252"/>
                    </a:cubicBezTo>
                    <a:cubicBezTo>
                      <a:pt x="666" y="252"/>
                      <a:pt x="660" y="247"/>
                      <a:pt x="656" y="245"/>
                    </a:cubicBezTo>
                    <a:cubicBezTo>
                      <a:pt x="651" y="243"/>
                      <a:pt x="639" y="246"/>
                      <a:pt x="637" y="243"/>
                    </a:cubicBezTo>
                    <a:cubicBezTo>
                      <a:pt x="634" y="241"/>
                      <a:pt x="638" y="238"/>
                      <a:pt x="636" y="236"/>
                    </a:cubicBezTo>
                    <a:cubicBezTo>
                      <a:pt x="634" y="234"/>
                      <a:pt x="636" y="230"/>
                      <a:pt x="639" y="225"/>
                    </a:cubicBezTo>
                    <a:cubicBezTo>
                      <a:pt x="642" y="220"/>
                      <a:pt x="638" y="212"/>
                      <a:pt x="634" y="211"/>
                    </a:cubicBezTo>
                    <a:cubicBezTo>
                      <a:pt x="629" y="210"/>
                      <a:pt x="630" y="214"/>
                      <a:pt x="631" y="215"/>
                    </a:cubicBezTo>
                    <a:cubicBezTo>
                      <a:pt x="632" y="217"/>
                      <a:pt x="631" y="223"/>
                      <a:pt x="628" y="227"/>
                    </a:cubicBezTo>
                    <a:cubicBezTo>
                      <a:pt x="625" y="231"/>
                      <a:pt x="614" y="231"/>
                      <a:pt x="614" y="234"/>
                    </a:cubicBezTo>
                    <a:cubicBezTo>
                      <a:pt x="614" y="237"/>
                      <a:pt x="608" y="239"/>
                      <a:pt x="610" y="241"/>
                    </a:cubicBezTo>
                    <a:cubicBezTo>
                      <a:pt x="612" y="243"/>
                      <a:pt x="621" y="254"/>
                      <a:pt x="623" y="257"/>
                    </a:cubicBezTo>
                    <a:cubicBezTo>
                      <a:pt x="624" y="260"/>
                      <a:pt x="615" y="270"/>
                      <a:pt x="616" y="276"/>
                    </a:cubicBezTo>
                    <a:cubicBezTo>
                      <a:pt x="618" y="282"/>
                      <a:pt x="615" y="284"/>
                      <a:pt x="617" y="287"/>
                    </a:cubicBezTo>
                    <a:cubicBezTo>
                      <a:pt x="618" y="290"/>
                      <a:pt x="623" y="287"/>
                      <a:pt x="625" y="289"/>
                    </a:cubicBezTo>
                    <a:cubicBezTo>
                      <a:pt x="628" y="290"/>
                      <a:pt x="632" y="287"/>
                      <a:pt x="638" y="286"/>
                    </a:cubicBezTo>
                    <a:cubicBezTo>
                      <a:pt x="645" y="285"/>
                      <a:pt x="656" y="291"/>
                      <a:pt x="660" y="293"/>
                    </a:cubicBezTo>
                    <a:cubicBezTo>
                      <a:pt x="664" y="295"/>
                      <a:pt x="662" y="298"/>
                      <a:pt x="664" y="302"/>
                    </a:cubicBezTo>
                    <a:cubicBezTo>
                      <a:pt x="666" y="305"/>
                      <a:pt x="659" y="305"/>
                      <a:pt x="659" y="310"/>
                    </a:cubicBezTo>
                    <a:cubicBezTo>
                      <a:pt x="659" y="315"/>
                      <a:pt x="672" y="317"/>
                      <a:pt x="672" y="319"/>
                    </a:cubicBezTo>
                    <a:cubicBezTo>
                      <a:pt x="673" y="320"/>
                      <a:pt x="663" y="319"/>
                      <a:pt x="659" y="318"/>
                    </a:cubicBezTo>
                    <a:cubicBezTo>
                      <a:pt x="656" y="316"/>
                      <a:pt x="655" y="312"/>
                      <a:pt x="654" y="311"/>
                    </a:cubicBezTo>
                    <a:cubicBezTo>
                      <a:pt x="653" y="310"/>
                      <a:pt x="657" y="306"/>
                      <a:pt x="657" y="302"/>
                    </a:cubicBezTo>
                    <a:cubicBezTo>
                      <a:pt x="657" y="299"/>
                      <a:pt x="653" y="297"/>
                      <a:pt x="651" y="295"/>
                    </a:cubicBezTo>
                    <a:cubicBezTo>
                      <a:pt x="650" y="293"/>
                      <a:pt x="647" y="290"/>
                      <a:pt x="644" y="291"/>
                    </a:cubicBezTo>
                    <a:cubicBezTo>
                      <a:pt x="641" y="291"/>
                      <a:pt x="630" y="292"/>
                      <a:pt x="627" y="295"/>
                    </a:cubicBezTo>
                    <a:cubicBezTo>
                      <a:pt x="624" y="298"/>
                      <a:pt x="627" y="307"/>
                      <a:pt x="629" y="311"/>
                    </a:cubicBezTo>
                    <a:cubicBezTo>
                      <a:pt x="631" y="315"/>
                      <a:pt x="620" y="321"/>
                      <a:pt x="620" y="324"/>
                    </a:cubicBezTo>
                    <a:cubicBezTo>
                      <a:pt x="620" y="328"/>
                      <a:pt x="616" y="329"/>
                      <a:pt x="611" y="332"/>
                    </a:cubicBezTo>
                    <a:cubicBezTo>
                      <a:pt x="606" y="334"/>
                      <a:pt x="601" y="336"/>
                      <a:pt x="601" y="341"/>
                    </a:cubicBezTo>
                    <a:cubicBezTo>
                      <a:pt x="601" y="345"/>
                      <a:pt x="594" y="343"/>
                      <a:pt x="591" y="341"/>
                    </a:cubicBezTo>
                    <a:cubicBezTo>
                      <a:pt x="587" y="339"/>
                      <a:pt x="583" y="342"/>
                      <a:pt x="578" y="342"/>
                    </a:cubicBezTo>
                    <a:cubicBezTo>
                      <a:pt x="573" y="342"/>
                      <a:pt x="573" y="337"/>
                      <a:pt x="569" y="339"/>
                    </a:cubicBezTo>
                    <a:cubicBezTo>
                      <a:pt x="565" y="340"/>
                      <a:pt x="562" y="337"/>
                      <a:pt x="563" y="334"/>
                    </a:cubicBezTo>
                    <a:cubicBezTo>
                      <a:pt x="565" y="331"/>
                      <a:pt x="569" y="333"/>
                      <a:pt x="569" y="336"/>
                    </a:cubicBezTo>
                    <a:cubicBezTo>
                      <a:pt x="570" y="338"/>
                      <a:pt x="573" y="337"/>
                      <a:pt x="576" y="335"/>
                    </a:cubicBezTo>
                    <a:cubicBezTo>
                      <a:pt x="579" y="333"/>
                      <a:pt x="578" y="337"/>
                      <a:pt x="582" y="338"/>
                    </a:cubicBezTo>
                    <a:cubicBezTo>
                      <a:pt x="587" y="338"/>
                      <a:pt x="585" y="335"/>
                      <a:pt x="588" y="335"/>
                    </a:cubicBezTo>
                    <a:cubicBezTo>
                      <a:pt x="592" y="336"/>
                      <a:pt x="592" y="335"/>
                      <a:pt x="591" y="333"/>
                    </a:cubicBezTo>
                    <a:cubicBezTo>
                      <a:pt x="590" y="331"/>
                      <a:pt x="594" y="330"/>
                      <a:pt x="596" y="329"/>
                    </a:cubicBezTo>
                    <a:cubicBezTo>
                      <a:pt x="598" y="327"/>
                      <a:pt x="597" y="324"/>
                      <a:pt x="599" y="323"/>
                    </a:cubicBezTo>
                    <a:cubicBezTo>
                      <a:pt x="602" y="321"/>
                      <a:pt x="600" y="319"/>
                      <a:pt x="602" y="319"/>
                    </a:cubicBezTo>
                    <a:cubicBezTo>
                      <a:pt x="605" y="319"/>
                      <a:pt x="606" y="315"/>
                      <a:pt x="608" y="315"/>
                    </a:cubicBezTo>
                    <a:cubicBezTo>
                      <a:pt x="610" y="315"/>
                      <a:pt x="611" y="312"/>
                      <a:pt x="610" y="310"/>
                    </a:cubicBezTo>
                    <a:cubicBezTo>
                      <a:pt x="609" y="308"/>
                      <a:pt x="611" y="303"/>
                      <a:pt x="613" y="302"/>
                    </a:cubicBezTo>
                    <a:cubicBezTo>
                      <a:pt x="615" y="302"/>
                      <a:pt x="615" y="300"/>
                      <a:pt x="613" y="298"/>
                    </a:cubicBezTo>
                    <a:cubicBezTo>
                      <a:pt x="611" y="297"/>
                      <a:pt x="604" y="292"/>
                      <a:pt x="604" y="289"/>
                    </a:cubicBezTo>
                    <a:cubicBezTo>
                      <a:pt x="605" y="285"/>
                      <a:pt x="603" y="280"/>
                      <a:pt x="604" y="277"/>
                    </a:cubicBezTo>
                    <a:cubicBezTo>
                      <a:pt x="605" y="275"/>
                      <a:pt x="604" y="269"/>
                      <a:pt x="604" y="266"/>
                    </a:cubicBezTo>
                    <a:cubicBezTo>
                      <a:pt x="604" y="263"/>
                      <a:pt x="606" y="260"/>
                      <a:pt x="607" y="255"/>
                    </a:cubicBezTo>
                    <a:cubicBezTo>
                      <a:pt x="608" y="249"/>
                      <a:pt x="601" y="243"/>
                      <a:pt x="598" y="242"/>
                    </a:cubicBezTo>
                    <a:cubicBezTo>
                      <a:pt x="594" y="240"/>
                      <a:pt x="596" y="237"/>
                      <a:pt x="601" y="233"/>
                    </a:cubicBezTo>
                    <a:cubicBezTo>
                      <a:pt x="606" y="229"/>
                      <a:pt x="606" y="217"/>
                      <a:pt x="606" y="214"/>
                    </a:cubicBezTo>
                    <a:cubicBezTo>
                      <a:pt x="606" y="211"/>
                      <a:pt x="596" y="209"/>
                      <a:pt x="592" y="209"/>
                    </a:cubicBezTo>
                    <a:cubicBezTo>
                      <a:pt x="588" y="210"/>
                      <a:pt x="574" y="209"/>
                      <a:pt x="571" y="208"/>
                    </a:cubicBezTo>
                    <a:cubicBezTo>
                      <a:pt x="567" y="208"/>
                      <a:pt x="566" y="211"/>
                      <a:pt x="564" y="215"/>
                    </a:cubicBezTo>
                    <a:cubicBezTo>
                      <a:pt x="563" y="218"/>
                      <a:pt x="559" y="223"/>
                      <a:pt x="557" y="231"/>
                    </a:cubicBezTo>
                    <a:cubicBezTo>
                      <a:pt x="555" y="238"/>
                      <a:pt x="546" y="241"/>
                      <a:pt x="542" y="242"/>
                    </a:cubicBezTo>
                    <a:cubicBezTo>
                      <a:pt x="538" y="244"/>
                      <a:pt x="535" y="249"/>
                      <a:pt x="537" y="252"/>
                    </a:cubicBezTo>
                    <a:cubicBezTo>
                      <a:pt x="539" y="255"/>
                      <a:pt x="542" y="253"/>
                      <a:pt x="543" y="254"/>
                    </a:cubicBezTo>
                    <a:cubicBezTo>
                      <a:pt x="545" y="255"/>
                      <a:pt x="543" y="262"/>
                      <a:pt x="542" y="263"/>
                    </a:cubicBezTo>
                    <a:cubicBezTo>
                      <a:pt x="541" y="264"/>
                      <a:pt x="544" y="266"/>
                      <a:pt x="541" y="268"/>
                    </a:cubicBezTo>
                    <a:cubicBezTo>
                      <a:pt x="539" y="270"/>
                      <a:pt x="536" y="274"/>
                      <a:pt x="538" y="276"/>
                    </a:cubicBezTo>
                    <a:cubicBezTo>
                      <a:pt x="539" y="278"/>
                      <a:pt x="547" y="279"/>
                      <a:pt x="551" y="281"/>
                    </a:cubicBezTo>
                    <a:cubicBezTo>
                      <a:pt x="554" y="283"/>
                      <a:pt x="553" y="286"/>
                      <a:pt x="556" y="290"/>
                    </a:cubicBezTo>
                    <a:cubicBezTo>
                      <a:pt x="558" y="293"/>
                      <a:pt x="561" y="291"/>
                      <a:pt x="563" y="293"/>
                    </a:cubicBezTo>
                    <a:cubicBezTo>
                      <a:pt x="564" y="295"/>
                      <a:pt x="558" y="304"/>
                      <a:pt x="556" y="304"/>
                    </a:cubicBezTo>
                    <a:cubicBezTo>
                      <a:pt x="553" y="305"/>
                      <a:pt x="545" y="296"/>
                      <a:pt x="542" y="294"/>
                    </a:cubicBezTo>
                    <a:cubicBezTo>
                      <a:pt x="539" y="292"/>
                      <a:pt x="529" y="288"/>
                      <a:pt x="524" y="286"/>
                    </a:cubicBezTo>
                    <a:cubicBezTo>
                      <a:pt x="519" y="283"/>
                      <a:pt x="514" y="283"/>
                      <a:pt x="509" y="280"/>
                    </a:cubicBezTo>
                    <a:cubicBezTo>
                      <a:pt x="503" y="276"/>
                      <a:pt x="498" y="274"/>
                      <a:pt x="488" y="274"/>
                    </a:cubicBezTo>
                    <a:cubicBezTo>
                      <a:pt x="478" y="274"/>
                      <a:pt x="471" y="272"/>
                      <a:pt x="467" y="272"/>
                    </a:cubicBezTo>
                    <a:cubicBezTo>
                      <a:pt x="464" y="273"/>
                      <a:pt x="465" y="269"/>
                      <a:pt x="459" y="266"/>
                    </a:cubicBezTo>
                    <a:cubicBezTo>
                      <a:pt x="453" y="263"/>
                      <a:pt x="449" y="260"/>
                      <a:pt x="445" y="262"/>
                    </a:cubicBezTo>
                    <a:cubicBezTo>
                      <a:pt x="442" y="263"/>
                      <a:pt x="443" y="270"/>
                      <a:pt x="449" y="271"/>
                    </a:cubicBezTo>
                    <a:cubicBezTo>
                      <a:pt x="454" y="272"/>
                      <a:pt x="451" y="275"/>
                      <a:pt x="457" y="274"/>
                    </a:cubicBezTo>
                    <a:cubicBezTo>
                      <a:pt x="463" y="274"/>
                      <a:pt x="464" y="276"/>
                      <a:pt x="464" y="279"/>
                    </a:cubicBezTo>
                    <a:cubicBezTo>
                      <a:pt x="464" y="283"/>
                      <a:pt x="467" y="286"/>
                      <a:pt x="469" y="289"/>
                    </a:cubicBezTo>
                    <a:cubicBezTo>
                      <a:pt x="472" y="291"/>
                      <a:pt x="470" y="295"/>
                      <a:pt x="466" y="295"/>
                    </a:cubicBezTo>
                    <a:cubicBezTo>
                      <a:pt x="461" y="295"/>
                      <a:pt x="456" y="296"/>
                      <a:pt x="458" y="299"/>
                    </a:cubicBezTo>
                    <a:cubicBezTo>
                      <a:pt x="460" y="302"/>
                      <a:pt x="457" y="303"/>
                      <a:pt x="452" y="301"/>
                    </a:cubicBezTo>
                    <a:cubicBezTo>
                      <a:pt x="448" y="299"/>
                      <a:pt x="450" y="296"/>
                      <a:pt x="452" y="294"/>
                    </a:cubicBezTo>
                    <a:cubicBezTo>
                      <a:pt x="454" y="293"/>
                      <a:pt x="448" y="290"/>
                      <a:pt x="445" y="289"/>
                    </a:cubicBezTo>
                    <a:cubicBezTo>
                      <a:pt x="443" y="288"/>
                      <a:pt x="431" y="297"/>
                      <a:pt x="428" y="298"/>
                    </a:cubicBezTo>
                    <a:cubicBezTo>
                      <a:pt x="425" y="299"/>
                      <a:pt x="417" y="296"/>
                      <a:pt x="409" y="298"/>
                    </a:cubicBezTo>
                    <a:cubicBezTo>
                      <a:pt x="401" y="300"/>
                      <a:pt x="402" y="306"/>
                      <a:pt x="399" y="306"/>
                    </a:cubicBezTo>
                    <a:cubicBezTo>
                      <a:pt x="396" y="305"/>
                      <a:pt x="387" y="306"/>
                      <a:pt x="383" y="304"/>
                    </a:cubicBezTo>
                    <a:cubicBezTo>
                      <a:pt x="380" y="302"/>
                      <a:pt x="383" y="301"/>
                      <a:pt x="386" y="301"/>
                    </a:cubicBezTo>
                    <a:cubicBezTo>
                      <a:pt x="390" y="302"/>
                      <a:pt x="391" y="300"/>
                      <a:pt x="389" y="298"/>
                    </a:cubicBezTo>
                    <a:cubicBezTo>
                      <a:pt x="387" y="296"/>
                      <a:pt x="392" y="292"/>
                      <a:pt x="391" y="290"/>
                    </a:cubicBezTo>
                    <a:cubicBezTo>
                      <a:pt x="391" y="289"/>
                      <a:pt x="378" y="293"/>
                      <a:pt x="376" y="295"/>
                    </a:cubicBezTo>
                    <a:cubicBezTo>
                      <a:pt x="374" y="297"/>
                      <a:pt x="376" y="300"/>
                      <a:pt x="374" y="301"/>
                    </a:cubicBezTo>
                    <a:cubicBezTo>
                      <a:pt x="372" y="302"/>
                      <a:pt x="372" y="299"/>
                      <a:pt x="369" y="298"/>
                    </a:cubicBezTo>
                    <a:cubicBezTo>
                      <a:pt x="366" y="297"/>
                      <a:pt x="347" y="302"/>
                      <a:pt x="343" y="306"/>
                    </a:cubicBezTo>
                    <a:cubicBezTo>
                      <a:pt x="339" y="310"/>
                      <a:pt x="332" y="310"/>
                      <a:pt x="332" y="313"/>
                    </a:cubicBezTo>
                    <a:cubicBezTo>
                      <a:pt x="332" y="315"/>
                      <a:pt x="323" y="315"/>
                      <a:pt x="320" y="316"/>
                    </a:cubicBezTo>
                    <a:cubicBezTo>
                      <a:pt x="316" y="318"/>
                      <a:pt x="319" y="325"/>
                      <a:pt x="317" y="328"/>
                    </a:cubicBezTo>
                    <a:cubicBezTo>
                      <a:pt x="316" y="332"/>
                      <a:pt x="302" y="331"/>
                      <a:pt x="298" y="331"/>
                    </a:cubicBezTo>
                    <a:cubicBezTo>
                      <a:pt x="294" y="331"/>
                      <a:pt x="293" y="323"/>
                      <a:pt x="289" y="322"/>
                    </a:cubicBezTo>
                    <a:cubicBezTo>
                      <a:pt x="286" y="322"/>
                      <a:pt x="288" y="317"/>
                      <a:pt x="289" y="315"/>
                    </a:cubicBezTo>
                    <a:cubicBezTo>
                      <a:pt x="290" y="313"/>
                      <a:pt x="293" y="315"/>
                      <a:pt x="297" y="312"/>
                    </a:cubicBezTo>
                    <a:cubicBezTo>
                      <a:pt x="301" y="309"/>
                      <a:pt x="305" y="313"/>
                      <a:pt x="307" y="312"/>
                    </a:cubicBezTo>
                    <a:cubicBezTo>
                      <a:pt x="308" y="310"/>
                      <a:pt x="300" y="305"/>
                      <a:pt x="300" y="301"/>
                    </a:cubicBezTo>
                    <a:cubicBezTo>
                      <a:pt x="299" y="297"/>
                      <a:pt x="291" y="295"/>
                      <a:pt x="286" y="297"/>
                    </a:cubicBezTo>
                    <a:cubicBezTo>
                      <a:pt x="281" y="298"/>
                      <a:pt x="275" y="297"/>
                      <a:pt x="272" y="295"/>
                    </a:cubicBezTo>
                    <a:cubicBezTo>
                      <a:pt x="268" y="294"/>
                      <a:pt x="268" y="298"/>
                      <a:pt x="274" y="300"/>
                    </a:cubicBezTo>
                    <a:cubicBezTo>
                      <a:pt x="279" y="301"/>
                      <a:pt x="276" y="305"/>
                      <a:pt x="277" y="307"/>
                    </a:cubicBezTo>
                    <a:cubicBezTo>
                      <a:pt x="278" y="310"/>
                      <a:pt x="276" y="316"/>
                      <a:pt x="273" y="320"/>
                    </a:cubicBezTo>
                    <a:cubicBezTo>
                      <a:pt x="270" y="324"/>
                      <a:pt x="272" y="324"/>
                      <a:pt x="276" y="324"/>
                    </a:cubicBezTo>
                    <a:cubicBezTo>
                      <a:pt x="281" y="324"/>
                      <a:pt x="280" y="330"/>
                      <a:pt x="280" y="334"/>
                    </a:cubicBezTo>
                    <a:cubicBezTo>
                      <a:pt x="280" y="338"/>
                      <a:pt x="277" y="339"/>
                      <a:pt x="277" y="343"/>
                    </a:cubicBezTo>
                    <a:cubicBezTo>
                      <a:pt x="277" y="346"/>
                      <a:pt x="273" y="341"/>
                      <a:pt x="272" y="342"/>
                    </a:cubicBezTo>
                    <a:cubicBezTo>
                      <a:pt x="271" y="344"/>
                      <a:pt x="269" y="342"/>
                      <a:pt x="269" y="339"/>
                    </a:cubicBezTo>
                    <a:cubicBezTo>
                      <a:pt x="268" y="336"/>
                      <a:pt x="261" y="338"/>
                      <a:pt x="257" y="337"/>
                    </a:cubicBezTo>
                    <a:cubicBezTo>
                      <a:pt x="254" y="336"/>
                      <a:pt x="252" y="338"/>
                      <a:pt x="250" y="340"/>
                    </a:cubicBezTo>
                    <a:cubicBezTo>
                      <a:pt x="248" y="343"/>
                      <a:pt x="243" y="344"/>
                      <a:pt x="240" y="345"/>
                    </a:cubicBezTo>
                    <a:cubicBezTo>
                      <a:pt x="237" y="345"/>
                      <a:pt x="232" y="351"/>
                      <a:pt x="229" y="353"/>
                    </a:cubicBezTo>
                    <a:cubicBezTo>
                      <a:pt x="226" y="355"/>
                      <a:pt x="226" y="358"/>
                      <a:pt x="230" y="362"/>
                    </a:cubicBezTo>
                    <a:cubicBezTo>
                      <a:pt x="234" y="366"/>
                      <a:pt x="235" y="369"/>
                      <a:pt x="235" y="371"/>
                    </a:cubicBezTo>
                    <a:cubicBezTo>
                      <a:pt x="234" y="373"/>
                      <a:pt x="223" y="373"/>
                      <a:pt x="221" y="370"/>
                    </a:cubicBezTo>
                    <a:cubicBezTo>
                      <a:pt x="219" y="368"/>
                      <a:pt x="212" y="367"/>
                      <a:pt x="210" y="368"/>
                    </a:cubicBezTo>
                    <a:cubicBezTo>
                      <a:pt x="207" y="368"/>
                      <a:pt x="200" y="360"/>
                      <a:pt x="197" y="360"/>
                    </a:cubicBezTo>
                    <a:cubicBezTo>
                      <a:pt x="193" y="360"/>
                      <a:pt x="191" y="364"/>
                      <a:pt x="190" y="366"/>
                    </a:cubicBezTo>
                    <a:cubicBezTo>
                      <a:pt x="189" y="369"/>
                      <a:pt x="192" y="369"/>
                      <a:pt x="193" y="373"/>
                    </a:cubicBezTo>
                    <a:cubicBezTo>
                      <a:pt x="195" y="377"/>
                      <a:pt x="201" y="377"/>
                      <a:pt x="204" y="377"/>
                    </a:cubicBezTo>
                    <a:cubicBezTo>
                      <a:pt x="207" y="377"/>
                      <a:pt x="206" y="382"/>
                      <a:pt x="205" y="384"/>
                    </a:cubicBezTo>
                    <a:cubicBezTo>
                      <a:pt x="204" y="386"/>
                      <a:pt x="198" y="387"/>
                      <a:pt x="197" y="385"/>
                    </a:cubicBezTo>
                    <a:cubicBezTo>
                      <a:pt x="195" y="383"/>
                      <a:pt x="188" y="385"/>
                      <a:pt x="188" y="382"/>
                    </a:cubicBezTo>
                    <a:cubicBezTo>
                      <a:pt x="188" y="380"/>
                      <a:pt x="183" y="376"/>
                      <a:pt x="178" y="376"/>
                    </a:cubicBezTo>
                    <a:cubicBezTo>
                      <a:pt x="172" y="377"/>
                      <a:pt x="171" y="374"/>
                      <a:pt x="172" y="370"/>
                    </a:cubicBezTo>
                    <a:cubicBezTo>
                      <a:pt x="172" y="366"/>
                      <a:pt x="169" y="364"/>
                      <a:pt x="169" y="362"/>
                    </a:cubicBezTo>
                    <a:cubicBezTo>
                      <a:pt x="169" y="360"/>
                      <a:pt x="167" y="356"/>
                      <a:pt x="169" y="354"/>
                    </a:cubicBezTo>
                    <a:cubicBezTo>
                      <a:pt x="172" y="353"/>
                      <a:pt x="170" y="350"/>
                      <a:pt x="170" y="347"/>
                    </a:cubicBezTo>
                    <a:cubicBezTo>
                      <a:pt x="170" y="345"/>
                      <a:pt x="166" y="341"/>
                      <a:pt x="162" y="341"/>
                    </a:cubicBezTo>
                    <a:cubicBezTo>
                      <a:pt x="157" y="341"/>
                      <a:pt x="158" y="337"/>
                      <a:pt x="155" y="336"/>
                    </a:cubicBezTo>
                    <a:cubicBezTo>
                      <a:pt x="151" y="335"/>
                      <a:pt x="144" y="329"/>
                      <a:pt x="144" y="327"/>
                    </a:cubicBezTo>
                    <a:cubicBezTo>
                      <a:pt x="143" y="324"/>
                      <a:pt x="138" y="324"/>
                      <a:pt x="140" y="323"/>
                    </a:cubicBezTo>
                    <a:cubicBezTo>
                      <a:pt x="142" y="322"/>
                      <a:pt x="146" y="323"/>
                      <a:pt x="149" y="326"/>
                    </a:cubicBezTo>
                    <a:cubicBezTo>
                      <a:pt x="152" y="329"/>
                      <a:pt x="157" y="332"/>
                      <a:pt x="164" y="333"/>
                    </a:cubicBezTo>
                    <a:cubicBezTo>
                      <a:pt x="172" y="334"/>
                      <a:pt x="175" y="338"/>
                      <a:pt x="184" y="339"/>
                    </a:cubicBezTo>
                    <a:cubicBezTo>
                      <a:pt x="193" y="341"/>
                      <a:pt x="198" y="342"/>
                      <a:pt x="210" y="344"/>
                    </a:cubicBezTo>
                    <a:cubicBezTo>
                      <a:pt x="223" y="345"/>
                      <a:pt x="240" y="333"/>
                      <a:pt x="243" y="329"/>
                    </a:cubicBezTo>
                    <a:cubicBezTo>
                      <a:pt x="247" y="326"/>
                      <a:pt x="242" y="319"/>
                      <a:pt x="242" y="316"/>
                    </a:cubicBezTo>
                    <a:cubicBezTo>
                      <a:pt x="242" y="313"/>
                      <a:pt x="236" y="313"/>
                      <a:pt x="236" y="311"/>
                    </a:cubicBezTo>
                    <a:cubicBezTo>
                      <a:pt x="235" y="309"/>
                      <a:pt x="231" y="305"/>
                      <a:pt x="226" y="305"/>
                    </a:cubicBezTo>
                    <a:cubicBezTo>
                      <a:pt x="221" y="305"/>
                      <a:pt x="221" y="300"/>
                      <a:pt x="217" y="300"/>
                    </a:cubicBezTo>
                    <a:cubicBezTo>
                      <a:pt x="213" y="300"/>
                      <a:pt x="210" y="298"/>
                      <a:pt x="200" y="292"/>
                    </a:cubicBezTo>
                    <a:cubicBezTo>
                      <a:pt x="190" y="285"/>
                      <a:pt x="177" y="280"/>
                      <a:pt x="174" y="281"/>
                    </a:cubicBezTo>
                    <a:cubicBezTo>
                      <a:pt x="172" y="283"/>
                      <a:pt x="170" y="283"/>
                      <a:pt x="168" y="281"/>
                    </a:cubicBezTo>
                    <a:cubicBezTo>
                      <a:pt x="167" y="278"/>
                      <a:pt x="163" y="279"/>
                      <a:pt x="160" y="281"/>
                    </a:cubicBezTo>
                    <a:cubicBezTo>
                      <a:pt x="157" y="283"/>
                      <a:pt x="155" y="279"/>
                      <a:pt x="150" y="280"/>
                    </a:cubicBezTo>
                    <a:cubicBezTo>
                      <a:pt x="145" y="281"/>
                      <a:pt x="142" y="278"/>
                      <a:pt x="143" y="276"/>
                    </a:cubicBezTo>
                    <a:cubicBezTo>
                      <a:pt x="145" y="275"/>
                      <a:pt x="152" y="276"/>
                      <a:pt x="152" y="274"/>
                    </a:cubicBezTo>
                    <a:cubicBezTo>
                      <a:pt x="151" y="271"/>
                      <a:pt x="149" y="274"/>
                      <a:pt x="144" y="271"/>
                    </a:cubicBezTo>
                    <a:cubicBezTo>
                      <a:pt x="140" y="268"/>
                      <a:pt x="137" y="270"/>
                      <a:pt x="136" y="272"/>
                    </a:cubicBezTo>
                    <a:cubicBezTo>
                      <a:pt x="135" y="275"/>
                      <a:pt x="132" y="274"/>
                      <a:pt x="129" y="272"/>
                    </a:cubicBezTo>
                    <a:cubicBezTo>
                      <a:pt x="129" y="272"/>
                      <a:pt x="129" y="271"/>
                      <a:pt x="129" y="271"/>
                    </a:cubicBezTo>
                    <a:cubicBezTo>
                      <a:pt x="128" y="275"/>
                      <a:pt x="125" y="276"/>
                      <a:pt x="123" y="275"/>
                    </a:cubicBezTo>
                    <a:cubicBezTo>
                      <a:pt x="120" y="275"/>
                      <a:pt x="117" y="280"/>
                      <a:pt x="114" y="280"/>
                    </a:cubicBezTo>
                    <a:cubicBezTo>
                      <a:pt x="110" y="280"/>
                      <a:pt x="107" y="283"/>
                      <a:pt x="106" y="286"/>
                    </a:cubicBezTo>
                    <a:cubicBezTo>
                      <a:pt x="105" y="289"/>
                      <a:pt x="102" y="288"/>
                      <a:pt x="102" y="290"/>
                    </a:cubicBezTo>
                    <a:cubicBezTo>
                      <a:pt x="102" y="292"/>
                      <a:pt x="102" y="294"/>
                      <a:pt x="100" y="296"/>
                    </a:cubicBezTo>
                    <a:cubicBezTo>
                      <a:pt x="98" y="298"/>
                      <a:pt x="100" y="299"/>
                      <a:pt x="102" y="302"/>
                    </a:cubicBezTo>
                    <a:cubicBezTo>
                      <a:pt x="103" y="305"/>
                      <a:pt x="107" y="305"/>
                      <a:pt x="109" y="306"/>
                    </a:cubicBezTo>
                    <a:cubicBezTo>
                      <a:pt x="110" y="307"/>
                      <a:pt x="117" y="312"/>
                      <a:pt x="117" y="314"/>
                    </a:cubicBezTo>
                    <a:cubicBezTo>
                      <a:pt x="117" y="316"/>
                      <a:pt x="112" y="321"/>
                      <a:pt x="110" y="323"/>
                    </a:cubicBezTo>
                    <a:cubicBezTo>
                      <a:pt x="108" y="324"/>
                      <a:pt x="105" y="327"/>
                      <a:pt x="106" y="329"/>
                    </a:cubicBezTo>
                    <a:cubicBezTo>
                      <a:pt x="108" y="331"/>
                      <a:pt x="113" y="340"/>
                      <a:pt x="117" y="346"/>
                    </a:cubicBezTo>
                    <a:cubicBezTo>
                      <a:pt x="121" y="353"/>
                      <a:pt x="116" y="350"/>
                      <a:pt x="113" y="353"/>
                    </a:cubicBezTo>
                    <a:cubicBezTo>
                      <a:pt x="111" y="356"/>
                      <a:pt x="114" y="360"/>
                      <a:pt x="115" y="362"/>
                    </a:cubicBezTo>
                    <a:cubicBezTo>
                      <a:pt x="116" y="364"/>
                      <a:pt x="112" y="363"/>
                      <a:pt x="112" y="365"/>
                    </a:cubicBezTo>
                    <a:cubicBezTo>
                      <a:pt x="113" y="367"/>
                      <a:pt x="118" y="367"/>
                      <a:pt x="118" y="369"/>
                    </a:cubicBezTo>
                    <a:cubicBezTo>
                      <a:pt x="118" y="370"/>
                      <a:pt x="115" y="372"/>
                      <a:pt x="116" y="374"/>
                    </a:cubicBezTo>
                    <a:cubicBezTo>
                      <a:pt x="118" y="377"/>
                      <a:pt x="122" y="377"/>
                      <a:pt x="122" y="380"/>
                    </a:cubicBezTo>
                    <a:cubicBezTo>
                      <a:pt x="123" y="384"/>
                      <a:pt x="115" y="384"/>
                      <a:pt x="115" y="387"/>
                    </a:cubicBezTo>
                    <a:cubicBezTo>
                      <a:pt x="116" y="389"/>
                      <a:pt x="125" y="393"/>
                      <a:pt x="130" y="398"/>
                    </a:cubicBezTo>
                    <a:cubicBezTo>
                      <a:pt x="134" y="403"/>
                      <a:pt x="134" y="404"/>
                      <a:pt x="133" y="407"/>
                    </a:cubicBezTo>
                    <a:cubicBezTo>
                      <a:pt x="131" y="412"/>
                      <a:pt x="119" y="417"/>
                      <a:pt x="116" y="423"/>
                    </a:cubicBezTo>
                    <a:cubicBezTo>
                      <a:pt x="113" y="429"/>
                      <a:pt x="103" y="432"/>
                      <a:pt x="99" y="437"/>
                    </a:cubicBezTo>
                    <a:cubicBezTo>
                      <a:pt x="97" y="438"/>
                      <a:pt x="95" y="441"/>
                      <a:pt x="93" y="443"/>
                    </a:cubicBezTo>
                    <a:cubicBezTo>
                      <a:pt x="95" y="443"/>
                      <a:pt x="97" y="442"/>
                      <a:pt x="98" y="442"/>
                    </a:cubicBezTo>
                    <a:cubicBezTo>
                      <a:pt x="101" y="440"/>
                      <a:pt x="102" y="447"/>
                      <a:pt x="105" y="449"/>
                    </a:cubicBezTo>
                    <a:cubicBezTo>
                      <a:pt x="108" y="451"/>
                      <a:pt x="113" y="449"/>
                      <a:pt x="115" y="451"/>
                    </a:cubicBezTo>
                    <a:cubicBezTo>
                      <a:pt x="117" y="453"/>
                      <a:pt x="113" y="453"/>
                      <a:pt x="110" y="453"/>
                    </a:cubicBezTo>
                    <a:cubicBezTo>
                      <a:pt x="106" y="452"/>
                      <a:pt x="105" y="454"/>
                      <a:pt x="99" y="456"/>
                    </a:cubicBezTo>
                    <a:cubicBezTo>
                      <a:pt x="94" y="458"/>
                      <a:pt x="95" y="459"/>
                      <a:pt x="93" y="461"/>
                    </a:cubicBezTo>
                    <a:cubicBezTo>
                      <a:pt x="96" y="465"/>
                      <a:pt x="92" y="465"/>
                      <a:pt x="91" y="468"/>
                    </a:cubicBezTo>
                    <a:cubicBezTo>
                      <a:pt x="89" y="471"/>
                      <a:pt x="87" y="472"/>
                      <a:pt x="87" y="474"/>
                    </a:cubicBezTo>
                    <a:cubicBezTo>
                      <a:pt x="87" y="476"/>
                      <a:pt x="88" y="477"/>
                      <a:pt x="88" y="480"/>
                    </a:cubicBezTo>
                    <a:cubicBezTo>
                      <a:pt x="88" y="483"/>
                      <a:pt x="89" y="484"/>
                      <a:pt x="90" y="486"/>
                    </a:cubicBezTo>
                    <a:cubicBezTo>
                      <a:pt x="92" y="489"/>
                      <a:pt x="89" y="489"/>
                      <a:pt x="87" y="490"/>
                    </a:cubicBezTo>
                    <a:cubicBezTo>
                      <a:pt x="86" y="491"/>
                      <a:pt x="87" y="494"/>
                      <a:pt x="89" y="496"/>
                    </a:cubicBezTo>
                    <a:cubicBezTo>
                      <a:pt x="91" y="498"/>
                      <a:pt x="91" y="501"/>
                      <a:pt x="90" y="502"/>
                    </a:cubicBezTo>
                    <a:cubicBezTo>
                      <a:pt x="89" y="504"/>
                      <a:pt x="92" y="507"/>
                      <a:pt x="94" y="509"/>
                    </a:cubicBezTo>
                    <a:cubicBezTo>
                      <a:pt x="95" y="511"/>
                      <a:pt x="95" y="515"/>
                      <a:pt x="97" y="517"/>
                    </a:cubicBezTo>
                    <a:cubicBezTo>
                      <a:pt x="98" y="518"/>
                      <a:pt x="100" y="519"/>
                      <a:pt x="103" y="518"/>
                    </a:cubicBezTo>
                    <a:cubicBezTo>
                      <a:pt x="105" y="518"/>
                      <a:pt x="107" y="519"/>
                      <a:pt x="108" y="521"/>
                    </a:cubicBezTo>
                    <a:cubicBezTo>
                      <a:pt x="110" y="523"/>
                      <a:pt x="112" y="522"/>
                      <a:pt x="114" y="521"/>
                    </a:cubicBezTo>
                    <a:cubicBezTo>
                      <a:pt x="117" y="520"/>
                      <a:pt x="123" y="523"/>
                      <a:pt x="125" y="524"/>
                    </a:cubicBezTo>
                    <a:cubicBezTo>
                      <a:pt x="126" y="525"/>
                      <a:pt x="126" y="529"/>
                      <a:pt x="126" y="532"/>
                    </a:cubicBezTo>
                    <a:cubicBezTo>
                      <a:pt x="126" y="535"/>
                      <a:pt x="124" y="538"/>
                      <a:pt x="127" y="540"/>
                    </a:cubicBezTo>
                    <a:cubicBezTo>
                      <a:pt x="130" y="542"/>
                      <a:pt x="129" y="546"/>
                      <a:pt x="132" y="547"/>
                    </a:cubicBezTo>
                    <a:cubicBezTo>
                      <a:pt x="136" y="548"/>
                      <a:pt x="137" y="553"/>
                      <a:pt x="139" y="553"/>
                    </a:cubicBezTo>
                    <a:cubicBezTo>
                      <a:pt x="141" y="554"/>
                      <a:pt x="145" y="557"/>
                      <a:pt x="145" y="559"/>
                    </a:cubicBezTo>
                    <a:cubicBezTo>
                      <a:pt x="146" y="561"/>
                      <a:pt x="142" y="563"/>
                      <a:pt x="139" y="564"/>
                    </a:cubicBezTo>
                    <a:cubicBezTo>
                      <a:pt x="137" y="565"/>
                      <a:pt x="133" y="561"/>
                      <a:pt x="131" y="563"/>
                    </a:cubicBezTo>
                    <a:cubicBezTo>
                      <a:pt x="130" y="565"/>
                      <a:pt x="132" y="568"/>
                      <a:pt x="133" y="573"/>
                    </a:cubicBezTo>
                    <a:cubicBezTo>
                      <a:pt x="134" y="579"/>
                      <a:pt x="135" y="579"/>
                      <a:pt x="138" y="579"/>
                    </a:cubicBezTo>
                    <a:cubicBezTo>
                      <a:pt x="140" y="579"/>
                      <a:pt x="141" y="578"/>
                      <a:pt x="143" y="577"/>
                    </a:cubicBezTo>
                    <a:cubicBezTo>
                      <a:pt x="145" y="576"/>
                      <a:pt x="149" y="577"/>
                      <a:pt x="151" y="576"/>
                    </a:cubicBezTo>
                    <a:cubicBezTo>
                      <a:pt x="152" y="576"/>
                      <a:pt x="159" y="575"/>
                      <a:pt x="160" y="577"/>
                    </a:cubicBezTo>
                    <a:cubicBezTo>
                      <a:pt x="161" y="579"/>
                      <a:pt x="162" y="584"/>
                      <a:pt x="161" y="586"/>
                    </a:cubicBezTo>
                    <a:cubicBezTo>
                      <a:pt x="160" y="588"/>
                      <a:pt x="163" y="590"/>
                      <a:pt x="164" y="592"/>
                    </a:cubicBezTo>
                    <a:cubicBezTo>
                      <a:pt x="165" y="595"/>
                      <a:pt x="170" y="593"/>
                      <a:pt x="172" y="594"/>
                    </a:cubicBezTo>
                    <a:cubicBezTo>
                      <a:pt x="174" y="595"/>
                      <a:pt x="178" y="600"/>
                      <a:pt x="177" y="603"/>
                    </a:cubicBezTo>
                    <a:cubicBezTo>
                      <a:pt x="176" y="605"/>
                      <a:pt x="180" y="606"/>
                      <a:pt x="181" y="605"/>
                    </a:cubicBezTo>
                    <a:cubicBezTo>
                      <a:pt x="183" y="604"/>
                      <a:pt x="185" y="606"/>
                      <a:pt x="187" y="608"/>
                    </a:cubicBezTo>
                    <a:cubicBezTo>
                      <a:pt x="189" y="609"/>
                      <a:pt x="191" y="608"/>
                      <a:pt x="193" y="607"/>
                    </a:cubicBezTo>
                    <a:cubicBezTo>
                      <a:pt x="195" y="606"/>
                      <a:pt x="198" y="605"/>
                      <a:pt x="199" y="607"/>
                    </a:cubicBezTo>
                    <a:cubicBezTo>
                      <a:pt x="200" y="608"/>
                      <a:pt x="204" y="612"/>
                      <a:pt x="204" y="613"/>
                    </a:cubicBezTo>
                    <a:cubicBezTo>
                      <a:pt x="204" y="614"/>
                      <a:pt x="210" y="613"/>
                      <a:pt x="213" y="614"/>
                    </a:cubicBezTo>
                    <a:cubicBezTo>
                      <a:pt x="216" y="616"/>
                      <a:pt x="219" y="615"/>
                      <a:pt x="223" y="617"/>
                    </a:cubicBezTo>
                    <a:cubicBezTo>
                      <a:pt x="226" y="618"/>
                      <a:pt x="229" y="619"/>
                      <a:pt x="229" y="621"/>
                    </a:cubicBezTo>
                    <a:cubicBezTo>
                      <a:pt x="229" y="623"/>
                      <a:pt x="226" y="624"/>
                      <a:pt x="226" y="625"/>
                    </a:cubicBezTo>
                    <a:cubicBezTo>
                      <a:pt x="226" y="626"/>
                      <a:pt x="229" y="627"/>
                      <a:pt x="229" y="629"/>
                    </a:cubicBezTo>
                    <a:cubicBezTo>
                      <a:pt x="229" y="630"/>
                      <a:pt x="225" y="630"/>
                      <a:pt x="225" y="631"/>
                    </a:cubicBezTo>
                    <a:cubicBezTo>
                      <a:pt x="224" y="633"/>
                      <a:pt x="227" y="634"/>
                      <a:pt x="227" y="636"/>
                    </a:cubicBezTo>
                    <a:cubicBezTo>
                      <a:pt x="228" y="637"/>
                      <a:pt x="225" y="641"/>
                      <a:pt x="225" y="642"/>
                    </a:cubicBezTo>
                    <a:cubicBezTo>
                      <a:pt x="225" y="644"/>
                      <a:pt x="218" y="642"/>
                      <a:pt x="216" y="642"/>
                    </a:cubicBezTo>
                    <a:cubicBezTo>
                      <a:pt x="214" y="642"/>
                      <a:pt x="209" y="648"/>
                      <a:pt x="207" y="648"/>
                    </a:cubicBezTo>
                    <a:cubicBezTo>
                      <a:pt x="206" y="648"/>
                      <a:pt x="206" y="651"/>
                      <a:pt x="207" y="654"/>
                    </a:cubicBezTo>
                    <a:cubicBezTo>
                      <a:pt x="212" y="652"/>
                      <a:pt x="218" y="652"/>
                      <a:pt x="218" y="653"/>
                    </a:cubicBezTo>
                    <a:cubicBezTo>
                      <a:pt x="219" y="655"/>
                      <a:pt x="207" y="661"/>
                      <a:pt x="204" y="661"/>
                    </a:cubicBezTo>
                    <a:cubicBezTo>
                      <a:pt x="202" y="662"/>
                      <a:pt x="209" y="666"/>
                      <a:pt x="209" y="668"/>
                    </a:cubicBezTo>
                    <a:cubicBezTo>
                      <a:pt x="209" y="670"/>
                      <a:pt x="201" y="670"/>
                      <a:pt x="202" y="674"/>
                    </a:cubicBezTo>
                    <a:cubicBezTo>
                      <a:pt x="203" y="678"/>
                      <a:pt x="200" y="679"/>
                      <a:pt x="196" y="679"/>
                    </a:cubicBezTo>
                    <a:cubicBezTo>
                      <a:pt x="192" y="679"/>
                      <a:pt x="191" y="681"/>
                      <a:pt x="193" y="682"/>
                    </a:cubicBezTo>
                    <a:cubicBezTo>
                      <a:pt x="195" y="682"/>
                      <a:pt x="195" y="687"/>
                      <a:pt x="202" y="689"/>
                    </a:cubicBezTo>
                    <a:cubicBezTo>
                      <a:pt x="209" y="691"/>
                      <a:pt x="217" y="697"/>
                      <a:pt x="223" y="704"/>
                    </a:cubicBezTo>
                    <a:cubicBezTo>
                      <a:pt x="224" y="705"/>
                      <a:pt x="225" y="706"/>
                      <a:pt x="226" y="706"/>
                    </a:cubicBezTo>
                    <a:cubicBezTo>
                      <a:pt x="227" y="705"/>
                      <a:pt x="229" y="705"/>
                      <a:pt x="230" y="704"/>
                    </a:cubicBezTo>
                    <a:cubicBezTo>
                      <a:pt x="233" y="704"/>
                      <a:pt x="240" y="706"/>
                      <a:pt x="243" y="708"/>
                    </a:cubicBezTo>
                    <a:cubicBezTo>
                      <a:pt x="247" y="711"/>
                      <a:pt x="259" y="708"/>
                      <a:pt x="261" y="710"/>
                    </a:cubicBezTo>
                    <a:cubicBezTo>
                      <a:pt x="262" y="712"/>
                      <a:pt x="265" y="714"/>
                      <a:pt x="268" y="714"/>
                    </a:cubicBezTo>
                    <a:cubicBezTo>
                      <a:pt x="270" y="714"/>
                      <a:pt x="273" y="719"/>
                      <a:pt x="275" y="718"/>
                    </a:cubicBezTo>
                    <a:cubicBezTo>
                      <a:pt x="277" y="716"/>
                      <a:pt x="284" y="716"/>
                      <a:pt x="286" y="716"/>
                    </a:cubicBezTo>
                    <a:cubicBezTo>
                      <a:pt x="288" y="716"/>
                      <a:pt x="288" y="718"/>
                      <a:pt x="290" y="718"/>
                    </a:cubicBezTo>
                    <a:cubicBezTo>
                      <a:pt x="292" y="718"/>
                      <a:pt x="292" y="725"/>
                      <a:pt x="294" y="725"/>
                    </a:cubicBezTo>
                    <a:cubicBezTo>
                      <a:pt x="295" y="724"/>
                      <a:pt x="301" y="729"/>
                      <a:pt x="304" y="730"/>
                    </a:cubicBezTo>
                    <a:cubicBezTo>
                      <a:pt x="308" y="730"/>
                      <a:pt x="311" y="736"/>
                      <a:pt x="313" y="736"/>
                    </a:cubicBezTo>
                    <a:cubicBezTo>
                      <a:pt x="314" y="735"/>
                      <a:pt x="317" y="738"/>
                      <a:pt x="318" y="736"/>
                    </a:cubicBezTo>
                    <a:cubicBezTo>
                      <a:pt x="319" y="734"/>
                      <a:pt x="324" y="735"/>
                      <a:pt x="325" y="731"/>
                    </a:cubicBezTo>
                    <a:cubicBezTo>
                      <a:pt x="319" y="723"/>
                      <a:pt x="312" y="714"/>
                      <a:pt x="312" y="711"/>
                    </a:cubicBezTo>
                    <a:cubicBezTo>
                      <a:pt x="313" y="705"/>
                      <a:pt x="315" y="702"/>
                      <a:pt x="308" y="696"/>
                    </a:cubicBezTo>
                    <a:cubicBezTo>
                      <a:pt x="301" y="690"/>
                      <a:pt x="309" y="686"/>
                      <a:pt x="314" y="679"/>
                    </a:cubicBezTo>
                    <a:cubicBezTo>
                      <a:pt x="318" y="674"/>
                      <a:pt x="327" y="671"/>
                      <a:pt x="334" y="667"/>
                    </a:cubicBezTo>
                    <a:cubicBezTo>
                      <a:pt x="332" y="666"/>
                      <a:pt x="331" y="665"/>
                      <a:pt x="330" y="665"/>
                    </a:cubicBezTo>
                    <a:cubicBezTo>
                      <a:pt x="325" y="663"/>
                      <a:pt x="324" y="661"/>
                      <a:pt x="327" y="660"/>
                    </a:cubicBezTo>
                    <a:cubicBezTo>
                      <a:pt x="331" y="659"/>
                      <a:pt x="329" y="657"/>
                      <a:pt x="326" y="653"/>
                    </a:cubicBezTo>
                    <a:cubicBezTo>
                      <a:pt x="322" y="649"/>
                      <a:pt x="321" y="645"/>
                      <a:pt x="319" y="645"/>
                    </a:cubicBezTo>
                    <a:cubicBezTo>
                      <a:pt x="317" y="645"/>
                      <a:pt x="314" y="644"/>
                      <a:pt x="311" y="645"/>
                    </a:cubicBezTo>
                    <a:cubicBezTo>
                      <a:pt x="308" y="646"/>
                      <a:pt x="308" y="643"/>
                      <a:pt x="309" y="639"/>
                    </a:cubicBezTo>
                    <a:cubicBezTo>
                      <a:pt x="309" y="636"/>
                      <a:pt x="303" y="636"/>
                      <a:pt x="302" y="635"/>
                    </a:cubicBezTo>
                    <a:cubicBezTo>
                      <a:pt x="301" y="633"/>
                      <a:pt x="304" y="628"/>
                      <a:pt x="305" y="628"/>
                    </a:cubicBezTo>
                    <a:cubicBezTo>
                      <a:pt x="306" y="627"/>
                      <a:pt x="309" y="626"/>
                      <a:pt x="309" y="624"/>
                    </a:cubicBezTo>
                    <a:cubicBezTo>
                      <a:pt x="309" y="623"/>
                      <a:pt x="303" y="622"/>
                      <a:pt x="305" y="619"/>
                    </a:cubicBezTo>
                    <a:cubicBezTo>
                      <a:pt x="307" y="615"/>
                      <a:pt x="311" y="615"/>
                      <a:pt x="311" y="612"/>
                    </a:cubicBezTo>
                    <a:cubicBezTo>
                      <a:pt x="311" y="608"/>
                      <a:pt x="314" y="605"/>
                      <a:pt x="318" y="608"/>
                    </a:cubicBezTo>
                    <a:cubicBezTo>
                      <a:pt x="321" y="610"/>
                      <a:pt x="323" y="617"/>
                      <a:pt x="327" y="615"/>
                    </a:cubicBezTo>
                    <a:cubicBezTo>
                      <a:pt x="331" y="614"/>
                      <a:pt x="328" y="610"/>
                      <a:pt x="328" y="608"/>
                    </a:cubicBezTo>
                    <a:cubicBezTo>
                      <a:pt x="327" y="606"/>
                      <a:pt x="326" y="603"/>
                      <a:pt x="331" y="602"/>
                    </a:cubicBezTo>
                    <a:cubicBezTo>
                      <a:pt x="335" y="601"/>
                      <a:pt x="333" y="597"/>
                      <a:pt x="337" y="597"/>
                    </a:cubicBezTo>
                    <a:cubicBezTo>
                      <a:pt x="340" y="597"/>
                      <a:pt x="347" y="592"/>
                      <a:pt x="349" y="591"/>
                    </a:cubicBezTo>
                    <a:cubicBezTo>
                      <a:pt x="351" y="590"/>
                      <a:pt x="355" y="588"/>
                      <a:pt x="357" y="589"/>
                    </a:cubicBezTo>
                    <a:cubicBezTo>
                      <a:pt x="359" y="590"/>
                      <a:pt x="362" y="592"/>
                      <a:pt x="363" y="589"/>
                    </a:cubicBezTo>
                    <a:cubicBezTo>
                      <a:pt x="365" y="585"/>
                      <a:pt x="371" y="587"/>
                      <a:pt x="371" y="589"/>
                    </a:cubicBezTo>
                    <a:cubicBezTo>
                      <a:pt x="372" y="591"/>
                      <a:pt x="381" y="591"/>
                      <a:pt x="384" y="593"/>
                    </a:cubicBezTo>
                    <a:cubicBezTo>
                      <a:pt x="387" y="595"/>
                      <a:pt x="394" y="599"/>
                      <a:pt x="394" y="601"/>
                    </a:cubicBezTo>
                    <a:cubicBezTo>
                      <a:pt x="394" y="603"/>
                      <a:pt x="397" y="606"/>
                      <a:pt x="397" y="602"/>
                    </a:cubicBezTo>
                    <a:cubicBezTo>
                      <a:pt x="397" y="599"/>
                      <a:pt x="399" y="600"/>
                      <a:pt x="403" y="602"/>
                    </a:cubicBezTo>
                    <a:cubicBezTo>
                      <a:pt x="407" y="605"/>
                      <a:pt x="413" y="604"/>
                      <a:pt x="414" y="601"/>
                    </a:cubicBezTo>
                    <a:cubicBezTo>
                      <a:pt x="415" y="599"/>
                      <a:pt x="422" y="596"/>
                      <a:pt x="425" y="598"/>
                    </a:cubicBezTo>
                    <a:cubicBezTo>
                      <a:pt x="427" y="600"/>
                      <a:pt x="428" y="601"/>
                      <a:pt x="431" y="598"/>
                    </a:cubicBezTo>
                    <a:cubicBezTo>
                      <a:pt x="434" y="595"/>
                      <a:pt x="441" y="596"/>
                      <a:pt x="442" y="599"/>
                    </a:cubicBezTo>
                    <a:cubicBezTo>
                      <a:pt x="443" y="602"/>
                      <a:pt x="447" y="602"/>
                      <a:pt x="450" y="602"/>
                    </a:cubicBezTo>
                    <a:cubicBezTo>
                      <a:pt x="453" y="602"/>
                      <a:pt x="453" y="607"/>
                      <a:pt x="455" y="606"/>
                    </a:cubicBezTo>
                    <a:cubicBezTo>
                      <a:pt x="457" y="605"/>
                      <a:pt x="457" y="600"/>
                      <a:pt x="459" y="600"/>
                    </a:cubicBezTo>
                    <a:cubicBezTo>
                      <a:pt x="462" y="601"/>
                      <a:pt x="464" y="604"/>
                      <a:pt x="468" y="604"/>
                    </a:cubicBezTo>
                    <a:cubicBezTo>
                      <a:pt x="472" y="604"/>
                      <a:pt x="475" y="603"/>
                      <a:pt x="475" y="600"/>
                    </a:cubicBezTo>
                    <a:cubicBezTo>
                      <a:pt x="475" y="597"/>
                      <a:pt x="474" y="592"/>
                      <a:pt x="472" y="592"/>
                    </a:cubicBezTo>
                    <a:cubicBezTo>
                      <a:pt x="469" y="592"/>
                      <a:pt x="467" y="589"/>
                      <a:pt x="464" y="589"/>
                    </a:cubicBezTo>
                    <a:cubicBezTo>
                      <a:pt x="461" y="589"/>
                      <a:pt x="458" y="584"/>
                      <a:pt x="461" y="583"/>
                    </a:cubicBezTo>
                    <a:cubicBezTo>
                      <a:pt x="464" y="582"/>
                      <a:pt x="469" y="580"/>
                      <a:pt x="468" y="577"/>
                    </a:cubicBezTo>
                    <a:cubicBezTo>
                      <a:pt x="467" y="575"/>
                      <a:pt x="466" y="570"/>
                      <a:pt x="470" y="569"/>
                    </a:cubicBezTo>
                    <a:cubicBezTo>
                      <a:pt x="474" y="569"/>
                      <a:pt x="482" y="569"/>
                      <a:pt x="482" y="567"/>
                    </a:cubicBezTo>
                    <a:cubicBezTo>
                      <a:pt x="481" y="566"/>
                      <a:pt x="473" y="565"/>
                      <a:pt x="472" y="562"/>
                    </a:cubicBezTo>
                    <a:cubicBezTo>
                      <a:pt x="470" y="560"/>
                      <a:pt x="470" y="554"/>
                      <a:pt x="471" y="553"/>
                    </a:cubicBezTo>
                    <a:cubicBezTo>
                      <a:pt x="473" y="552"/>
                      <a:pt x="478" y="553"/>
                      <a:pt x="481" y="552"/>
                    </a:cubicBezTo>
                    <a:cubicBezTo>
                      <a:pt x="484" y="551"/>
                      <a:pt x="490" y="554"/>
                      <a:pt x="494" y="551"/>
                    </a:cubicBezTo>
                    <a:cubicBezTo>
                      <a:pt x="498" y="548"/>
                      <a:pt x="507" y="547"/>
                      <a:pt x="511" y="547"/>
                    </a:cubicBezTo>
                    <a:cubicBezTo>
                      <a:pt x="516" y="547"/>
                      <a:pt x="519" y="544"/>
                      <a:pt x="523" y="544"/>
                    </a:cubicBezTo>
                    <a:cubicBezTo>
                      <a:pt x="526" y="543"/>
                      <a:pt x="536" y="542"/>
                      <a:pt x="539" y="541"/>
                    </a:cubicBezTo>
                    <a:cubicBezTo>
                      <a:pt x="541" y="540"/>
                      <a:pt x="555" y="538"/>
                      <a:pt x="555" y="535"/>
                    </a:cubicBezTo>
                    <a:cubicBezTo>
                      <a:pt x="556" y="533"/>
                      <a:pt x="567" y="531"/>
                      <a:pt x="569" y="532"/>
                    </a:cubicBezTo>
                    <a:cubicBezTo>
                      <a:pt x="572" y="533"/>
                      <a:pt x="576" y="534"/>
                      <a:pt x="578" y="533"/>
                    </a:cubicBezTo>
                    <a:cubicBezTo>
                      <a:pt x="581" y="532"/>
                      <a:pt x="586" y="535"/>
                      <a:pt x="585" y="538"/>
                    </a:cubicBezTo>
                    <a:cubicBezTo>
                      <a:pt x="585" y="541"/>
                      <a:pt x="588" y="544"/>
                      <a:pt x="587" y="546"/>
                    </a:cubicBezTo>
                    <a:cubicBezTo>
                      <a:pt x="587" y="548"/>
                      <a:pt x="585" y="549"/>
                      <a:pt x="586" y="551"/>
                    </a:cubicBezTo>
                    <a:cubicBezTo>
                      <a:pt x="588" y="552"/>
                      <a:pt x="594" y="551"/>
                      <a:pt x="596" y="549"/>
                    </a:cubicBezTo>
                    <a:cubicBezTo>
                      <a:pt x="598" y="547"/>
                      <a:pt x="601" y="550"/>
                      <a:pt x="601" y="552"/>
                    </a:cubicBezTo>
                    <a:cubicBezTo>
                      <a:pt x="601" y="553"/>
                      <a:pt x="604" y="555"/>
                      <a:pt x="604" y="552"/>
                    </a:cubicBezTo>
                    <a:cubicBezTo>
                      <a:pt x="604" y="550"/>
                      <a:pt x="608" y="552"/>
                      <a:pt x="609" y="553"/>
                    </a:cubicBezTo>
                    <a:cubicBezTo>
                      <a:pt x="610" y="555"/>
                      <a:pt x="615" y="551"/>
                      <a:pt x="615" y="554"/>
                    </a:cubicBezTo>
                    <a:cubicBezTo>
                      <a:pt x="615" y="556"/>
                      <a:pt x="608" y="558"/>
                      <a:pt x="611" y="561"/>
                    </a:cubicBezTo>
                    <a:cubicBezTo>
                      <a:pt x="614" y="564"/>
                      <a:pt x="616" y="558"/>
                      <a:pt x="620" y="559"/>
                    </a:cubicBezTo>
                    <a:cubicBezTo>
                      <a:pt x="623" y="560"/>
                      <a:pt x="628" y="555"/>
                      <a:pt x="632" y="554"/>
                    </a:cubicBezTo>
                    <a:cubicBezTo>
                      <a:pt x="635" y="553"/>
                      <a:pt x="639" y="550"/>
                      <a:pt x="642" y="548"/>
                    </a:cubicBezTo>
                    <a:cubicBezTo>
                      <a:pt x="645" y="547"/>
                      <a:pt x="652" y="547"/>
                      <a:pt x="650" y="549"/>
                    </a:cubicBezTo>
                    <a:cubicBezTo>
                      <a:pt x="648" y="551"/>
                      <a:pt x="645" y="555"/>
                      <a:pt x="653" y="558"/>
                    </a:cubicBezTo>
                    <a:cubicBezTo>
                      <a:pt x="660" y="560"/>
                      <a:pt x="669" y="575"/>
                      <a:pt x="674" y="582"/>
                    </a:cubicBezTo>
                    <a:cubicBezTo>
                      <a:pt x="678" y="589"/>
                      <a:pt x="683" y="602"/>
                      <a:pt x="685" y="602"/>
                    </a:cubicBezTo>
                    <a:cubicBezTo>
                      <a:pt x="688" y="602"/>
                      <a:pt x="689" y="596"/>
                      <a:pt x="692" y="595"/>
                    </a:cubicBezTo>
                    <a:cubicBezTo>
                      <a:pt x="695" y="594"/>
                      <a:pt x="697" y="601"/>
                      <a:pt x="701" y="601"/>
                    </a:cubicBezTo>
                    <a:cubicBezTo>
                      <a:pt x="704" y="602"/>
                      <a:pt x="709" y="604"/>
                      <a:pt x="712" y="603"/>
                    </a:cubicBezTo>
                    <a:cubicBezTo>
                      <a:pt x="714" y="602"/>
                      <a:pt x="721" y="599"/>
                      <a:pt x="723" y="600"/>
                    </a:cubicBezTo>
                    <a:cubicBezTo>
                      <a:pt x="725" y="601"/>
                      <a:pt x="728" y="601"/>
                      <a:pt x="730" y="606"/>
                    </a:cubicBezTo>
                    <a:cubicBezTo>
                      <a:pt x="732" y="611"/>
                      <a:pt x="735" y="612"/>
                      <a:pt x="737" y="612"/>
                    </a:cubicBezTo>
                    <a:cubicBezTo>
                      <a:pt x="739" y="612"/>
                      <a:pt x="740" y="614"/>
                      <a:pt x="740" y="616"/>
                    </a:cubicBezTo>
                    <a:cubicBezTo>
                      <a:pt x="740" y="618"/>
                      <a:pt x="743" y="621"/>
                      <a:pt x="745" y="621"/>
                    </a:cubicBezTo>
                    <a:cubicBezTo>
                      <a:pt x="747" y="621"/>
                      <a:pt x="753" y="620"/>
                      <a:pt x="754" y="619"/>
                    </a:cubicBezTo>
                    <a:cubicBezTo>
                      <a:pt x="756" y="618"/>
                      <a:pt x="758" y="617"/>
                      <a:pt x="758" y="619"/>
                    </a:cubicBezTo>
                    <a:cubicBezTo>
                      <a:pt x="759" y="622"/>
                      <a:pt x="762" y="625"/>
                      <a:pt x="764" y="625"/>
                    </a:cubicBezTo>
                    <a:cubicBezTo>
                      <a:pt x="766" y="625"/>
                      <a:pt x="770" y="627"/>
                      <a:pt x="770" y="625"/>
                    </a:cubicBezTo>
                    <a:cubicBezTo>
                      <a:pt x="770" y="624"/>
                      <a:pt x="776" y="623"/>
                      <a:pt x="778" y="622"/>
                    </a:cubicBezTo>
                    <a:cubicBezTo>
                      <a:pt x="780" y="622"/>
                      <a:pt x="787" y="621"/>
                      <a:pt x="788" y="618"/>
                    </a:cubicBezTo>
                    <a:cubicBezTo>
                      <a:pt x="789" y="615"/>
                      <a:pt x="795" y="615"/>
                      <a:pt x="797" y="613"/>
                    </a:cubicBezTo>
                    <a:cubicBezTo>
                      <a:pt x="798" y="611"/>
                      <a:pt x="803" y="610"/>
                      <a:pt x="804" y="608"/>
                    </a:cubicBezTo>
                    <a:cubicBezTo>
                      <a:pt x="805" y="606"/>
                      <a:pt x="811" y="606"/>
                      <a:pt x="812" y="604"/>
                    </a:cubicBezTo>
                    <a:cubicBezTo>
                      <a:pt x="812" y="603"/>
                      <a:pt x="817" y="602"/>
                      <a:pt x="820" y="603"/>
                    </a:cubicBezTo>
                    <a:cubicBezTo>
                      <a:pt x="822" y="604"/>
                      <a:pt x="834" y="606"/>
                      <a:pt x="835" y="606"/>
                    </a:cubicBezTo>
                    <a:cubicBezTo>
                      <a:pt x="837" y="605"/>
                      <a:pt x="837" y="612"/>
                      <a:pt x="839" y="612"/>
                    </a:cubicBezTo>
                    <a:cubicBezTo>
                      <a:pt x="841" y="612"/>
                      <a:pt x="847" y="617"/>
                      <a:pt x="848" y="616"/>
                    </a:cubicBezTo>
                    <a:cubicBezTo>
                      <a:pt x="850" y="614"/>
                      <a:pt x="854" y="613"/>
                      <a:pt x="857" y="615"/>
                    </a:cubicBezTo>
                    <a:cubicBezTo>
                      <a:pt x="861" y="617"/>
                      <a:pt x="864" y="620"/>
                      <a:pt x="865" y="617"/>
                    </a:cubicBezTo>
                    <a:cubicBezTo>
                      <a:pt x="867" y="615"/>
                      <a:pt x="874" y="614"/>
                      <a:pt x="875" y="613"/>
                    </a:cubicBezTo>
                    <a:cubicBezTo>
                      <a:pt x="876" y="611"/>
                      <a:pt x="877" y="607"/>
                      <a:pt x="875" y="606"/>
                    </a:cubicBezTo>
                    <a:cubicBezTo>
                      <a:pt x="873" y="605"/>
                      <a:pt x="872" y="599"/>
                      <a:pt x="871" y="597"/>
                    </a:cubicBezTo>
                    <a:cubicBezTo>
                      <a:pt x="870" y="594"/>
                      <a:pt x="875" y="593"/>
                      <a:pt x="876" y="591"/>
                    </a:cubicBezTo>
                    <a:cubicBezTo>
                      <a:pt x="876" y="589"/>
                      <a:pt x="880" y="588"/>
                      <a:pt x="882" y="587"/>
                    </a:cubicBezTo>
                    <a:cubicBezTo>
                      <a:pt x="883" y="586"/>
                      <a:pt x="883" y="583"/>
                      <a:pt x="886" y="583"/>
                    </a:cubicBezTo>
                    <a:cubicBezTo>
                      <a:pt x="888" y="584"/>
                      <a:pt x="893" y="586"/>
                      <a:pt x="894" y="587"/>
                    </a:cubicBezTo>
                    <a:cubicBezTo>
                      <a:pt x="895" y="588"/>
                      <a:pt x="899" y="588"/>
                      <a:pt x="901" y="588"/>
                    </a:cubicBezTo>
                    <a:cubicBezTo>
                      <a:pt x="903" y="588"/>
                      <a:pt x="907" y="590"/>
                      <a:pt x="909" y="592"/>
                    </a:cubicBezTo>
                    <a:cubicBezTo>
                      <a:pt x="912" y="593"/>
                      <a:pt x="919" y="593"/>
                      <a:pt x="920" y="595"/>
                    </a:cubicBezTo>
                    <a:cubicBezTo>
                      <a:pt x="922" y="597"/>
                      <a:pt x="920" y="603"/>
                      <a:pt x="922" y="605"/>
                    </a:cubicBezTo>
                    <a:cubicBezTo>
                      <a:pt x="923" y="607"/>
                      <a:pt x="927" y="611"/>
                      <a:pt x="929" y="610"/>
                    </a:cubicBezTo>
                    <a:cubicBezTo>
                      <a:pt x="930" y="609"/>
                      <a:pt x="936" y="613"/>
                      <a:pt x="939" y="613"/>
                    </a:cubicBezTo>
                    <a:cubicBezTo>
                      <a:pt x="941" y="613"/>
                      <a:pt x="945" y="609"/>
                      <a:pt x="947" y="609"/>
                    </a:cubicBezTo>
                    <a:cubicBezTo>
                      <a:pt x="949" y="609"/>
                      <a:pt x="955" y="607"/>
                      <a:pt x="957" y="608"/>
                    </a:cubicBezTo>
                    <a:cubicBezTo>
                      <a:pt x="959" y="608"/>
                      <a:pt x="966" y="611"/>
                      <a:pt x="967" y="610"/>
                    </a:cubicBezTo>
                    <a:cubicBezTo>
                      <a:pt x="968" y="609"/>
                      <a:pt x="975" y="610"/>
                      <a:pt x="976" y="612"/>
                    </a:cubicBezTo>
                    <a:cubicBezTo>
                      <a:pt x="977" y="614"/>
                      <a:pt x="985" y="614"/>
                      <a:pt x="985" y="617"/>
                    </a:cubicBezTo>
                    <a:cubicBezTo>
                      <a:pt x="985" y="619"/>
                      <a:pt x="990" y="620"/>
                      <a:pt x="991" y="623"/>
                    </a:cubicBezTo>
                    <a:cubicBezTo>
                      <a:pt x="993" y="626"/>
                      <a:pt x="1004" y="624"/>
                      <a:pt x="1006" y="626"/>
                    </a:cubicBezTo>
                    <a:cubicBezTo>
                      <a:pt x="1008" y="627"/>
                      <a:pt x="1020" y="627"/>
                      <a:pt x="1021" y="626"/>
                    </a:cubicBezTo>
                    <a:cubicBezTo>
                      <a:pt x="1021" y="624"/>
                      <a:pt x="1033" y="624"/>
                      <a:pt x="1035" y="622"/>
                    </a:cubicBezTo>
                    <a:cubicBezTo>
                      <a:pt x="1038" y="620"/>
                      <a:pt x="1044" y="621"/>
                      <a:pt x="1044" y="619"/>
                    </a:cubicBezTo>
                    <a:cubicBezTo>
                      <a:pt x="1045" y="616"/>
                      <a:pt x="1051" y="615"/>
                      <a:pt x="1053" y="613"/>
                    </a:cubicBezTo>
                    <a:cubicBezTo>
                      <a:pt x="1056" y="611"/>
                      <a:pt x="1067" y="611"/>
                      <a:pt x="1067" y="613"/>
                    </a:cubicBezTo>
                    <a:cubicBezTo>
                      <a:pt x="1068" y="616"/>
                      <a:pt x="1074" y="616"/>
                      <a:pt x="1077" y="615"/>
                    </a:cubicBezTo>
                    <a:cubicBezTo>
                      <a:pt x="1080" y="614"/>
                      <a:pt x="1087" y="616"/>
                      <a:pt x="1088" y="618"/>
                    </a:cubicBezTo>
                    <a:cubicBezTo>
                      <a:pt x="1089" y="620"/>
                      <a:pt x="1097" y="622"/>
                      <a:pt x="1099" y="621"/>
                    </a:cubicBezTo>
                    <a:cubicBezTo>
                      <a:pt x="1101" y="620"/>
                      <a:pt x="1107" y="616"/>
                      <a:pt x="1109" y="615"/>
                    </a:cubicBezTo>
                    <a:cubicBezTo>
                      <a:pt x="1112" y="615"/>
                      <a:pt x="1115" y="613"/>
                      <a:pt x="1114" y="610"/>
                    </a:cubicBezTo>
                    <a:cubicBezTo>
                      <a:pt x="1114" y="608"/>
                      <a:pt x="1119" y="601"/>
                      <a:pt x="1120" y="599"/>
                    </a:cubicBezTo>
                    <a:cubicBezTo>
                      <a:pt x="1120" y="596"/>
                      <a:pt x="1125" y="589"/>
                      <a:pt x="1127" y="588"/>
                    </a:cubicBezTo>
                    <a:cubicBezTo>
                      <a:pt x="1128" y="587"/>
                      <a:pt x="1132" y="584"/>
                      <a:pt x="1132" y="582"/>
                    </a:cubicBezTo>
                    <a:cubicBezTo>
                      <a:pt x="1131" y="580"/>
                      <a:pt x="1130" y="574"/>
                      <a:pt x="1128" y="574"/>
                    </a:cubicBezTo>
                    <a:cubicBezTo>
                      <a:pt x="1126" y="574"/>
                      <a:pt x="1123" y="575"/>
                      <a:pt x="1127" y="568"/>
                    </a:cubicBezTo>
                    <a:cubicBezTo>
                      <a:pt x="1132" y="562"/>
                      <a:pt x="1140" y="564"/>
                      <a:pt x="1142" y="564"/>
                    </a:cubicBezTo>
                    <a:cubicBezTo>
                      <a:pt x="1143" y="564"/>
                      <a:pt x="1154" y="561"/>
                      <a:pt x="1158" y="562"/>
                    </a:cubicBezTo>
                    <a:cubicBezTo>
                      <a:pt x="1163" y="564"/>
                      <a:pt x="1166" y="562"/>
                      <a:pt x="1171" y="564"/>
                    </a:cubicBezTo>
                    <a:cubicBezTo>
                      <a:pt x="1176" y="567"/>
                      <a:pt x="1183" y="566"/>
                      <a:pt x="1185" y="568"/>
                    </a:cubicBezTo>
                    <a:cubicBezTo>
                      <a:pt x="1186" y="571"/>
                      <a:pt x="1193" y="573"/>
                      <a:pt x="1192" y="577"/>
                    </a:cubicBezTo>
                    <a:cubicBezTo>
                      <a:pt x="1191" y="581"/>
                      <a:pt x="1196" y="578"/>
                      <a:pt x="1197" y="587"/>
                    </a:cubicBezTo>
                    <a:cubicBezTo>
                      <a:pt x="1199" y="596"/>
                      <a:pt x="1203" y="596"/>
                      <a:pt x="1204" y="600"/>
                    </a:cubicBezTo>
                    <a:cubicBezTo>
                      <a:pt x="1205" y="604"/>
                      <a:pt x="1210" y="612"/>
                      <a:pt x="1210" y="614"/>
                    </a:cubicBezTo>
                    <a:cubicBezTo>
                      <a:pt x="1209" y="616"/>
                      <a:pt x="1208" y="620"/>
                      <a:pt x="1214" y="620"/>
                    </a:cubicBezTo>
                    <a:cubicBezTo>
                      <a:pt x="1220" y="621"/>
                      <a:pt x="1224" y="625"/>
                      <a:pt x="1225" y="624"/>
                    </a:cubicBezTo>
                    <a:cubicBezTo>
                      <a:pt x="1226" y="624"/>
                      <a:pt x="1233" y="626"/>
                      <a:pt x="1236" y="629"/>
                    </a:cubicBezTo>
                    <a:cubicBezTo>
                      <a:pt x="1240" y="633"/>
                      <a:pt x="1245" y="631"/>
                      <a:pt x="1244" y="635"/>
                    </a:cubicBezTo>
                    <a:cubicBezTo>
                      <a:pt x="1244" y="638"/>
                      <a:pt x="1247" y="641"/>
                      <a:pt x="1247" y="644"/>
                    </a:cubicBezTo>
                    <a:cubicBezTo>
                      <a:pt x="1246" y="647"/>
                      <a:pt x="1253" y="649"/>
                      <a:pt x="1258" y="649"/>
                    </a:cubicBezTo>
                    <a:cubicBezTo>
                      <a:pt x="1262" y="648"/>
                      <a:pt x="1266" y="650"/>
                      <a:pt x="1268" y="646"/>
                    </a:cubicBezTo>
                    <a:cubicBezTo>
                      <a:pt x="1270" y="642"/>
                      <a:pt x="1276" y="644"/>
                      <a:pt x="1279" y="642"/>
                    </a:cubicBezTo>
                    <a:cubicBezTo>
                      <a:pt x="1281" y="641"/>
                      <a:pt x="1288" y="639"/>
                      <a:pt x="1288" y="645"/>
                    </a:cubicBezTo>
                    <a:cubicBezTo>
                      <a:pt x="1287" y="651"/>
                      <a:pt x="1291" y="652"/>
                      <a:pt x="1288" y="654"/>
                    </a:cubicBezTo>
                    <a:cubicBezTo>
                      <a:pt x="1285" y="656"/>
                      <a:pt x="1283" y="665"/>
                      <a:pt x="1282" y="668"/>
                    </a:cubicBezTo>
                    <a:cubicBezTo>
                      <a:pt x="1281" y="672"/>
                      <a:pt x="1276" y="673"/>
                      <a:pt x="1275" y="677"/>
                    </a:cubicBezTo>
                    <a:cubicBezTo>
                      <a:pt x="1275" y="681"/>
                      <a:pt x="1270" y="681"/>
                      <a:pt x="1270" y="684"/>
                    </a:cubicBezTo>
                    <a:cubicBezTo>
                      <a:pt x="1270" y="687"/>
                      <a:pt x="1263" y="687"/>
                      <a:pt x="1260" y="684"/>
                    </a:cubicBezTo>
                    <a:cubicBezTo>
                      <a:pt x="1257" y="682"/>
                      <a:pt x="1253" y="689"/>
                      <a:pt x="1251" y="689"/>
                    </a:cubicBezTo>
                    <a:cubicBezTo>
                      <a:pt x="1248" y="689"/>
                      <a:pt x="1248" y="694"/>
                      <a:pt x="1249" y="697"/>
                    </a:cubicBezTo>
                    <a:cubicBezTo>
                      <a:pt x="1250" y="699"/>
                      <a:pt x="1248" y="702"/>
                      <a:pt x="1250" y="706"/>
                    </a:cubicBezTo>
                    <a:cubicBezTo>
                      <a:pt x="1250" y="708"/>
                      <a:pt x="1250" y="712"/>
                      <a:pt x="1250" y="717"/>
                    </a:cubicBezTo>
                    <a:cubicBezTo>
                      <a:pt x="1254" y="714"/>
                      <a:pt x="1258" y="712"/>
                      <a:pt x="1260" y="712"/>
                    </a:cubicBezTo>
                    <a:cubicBezTo>
                      <a:pt x="1264" y="712"/>
                      <a:pt x="1268" y="719"/>
                      <a:pt x="1273" y="719"/>
                    </a:cubicBezTo>
                    <a:cubicBezTo>
                      <a:pt x="1277" y="719"/>
                      <a:pt x="1299" y="705"/>
                      <a:pt x="1299" y="703"/>
                    </a:cubicBezTo>
                    <a:cubicBezTo>
                      <a:pt x="1299" y="700"/>
                      <a:pt x="1311" y="688"/>
                      <a:pt x="1317" y="682"/>
                    </a:cubicBezTo>
                    <a:cubicBezTo>
                      <a:pt x="1323" y="676"/>
                      <a:pt x="1331" y="667"/>
                      <a:pt x="1334" y="660"/>
                    </a:cubicBezTo>
                    <a:cubicBezTo>
                      <a:pt x="1335" y="656"/>
                      <a:pt x="1344" y="647"/>
                      <a:pt x="1346" y="644"/>
                    </a:cubicBezTo>
                    <a:cubicBezTo>
                      <a:pt x="1348" y="641"/>
                      <a:pt x="1349" y="640"/>
                      <a:pt x="1353" y="633"/>
                    </a:cubicBezTo>
                    <a:cubicBezTo>
                      <a:pt x="1356" y="625"/>
                      <a:pt x="1356" y="604"/>
                      <a:pt x="1357" y="603"/>
                    </a:cubicBezTo>
                    <a:cubicBezTo>
                      <a:pt x="1359" y="602"/>
                      <a:pt x="1358" y="598"/>
                      <a:pt x="1360" y="596"/>
                    </a:cubicBezTo>
                    <a:cubicBezTo>
                      <a:pt x="1361" y="594"/>
                      <a:pt x="1360" y="591"/>
                      <a:pt x="1364" y="588"/>
                    </a:cubicBezTo>
                    <a:cubicBezTo>
                      <a:pt x="1367" y="585"/>
                      <a:pt x="1366" y="583"/>
                      <a:pt x="1366" y="580"/>
                    </a:cubicBezTo>
                    <a:cubicBezTo>
                      <a:pt x="1365" y="578"/>
                      <a:pt x="1366" y="573"/>
                      <a:pt x="1365" y="572"/>
                    </a:cubicBezTo>
                    <a:cubicBezTo>
                      <a:pt x="1364" y="570"/>
                      <a:pt x="1364" y="570"/>
                      <a:pt x="1366" y="569"/>
                    </a:cubicBezTo>
                    <a:cubicBezTo>
                      <a:pt x="1368" y="567"/>
                      <a:pt x="1365" y="564"/>
                      <a:pt x="1362" y="563"/>
                    </a:cubicBezTo>
                    <a:cubicBezTo>
                      <a:pt x="1359" y="562"/>
                      <a:pt x="1356" y="561"/>
                      <a:pt x="1355" y="557"/>
                    </a:cubicBezTo>
                    <a:cubicBezTo>
                      <a:pt x="1355" y="554"/>
                      <a:pt x="1350" y="550"/>
                      <a:pt x="1346" y="551"/>
                    </a:cubicBezTo>
                    <a:cubicBezTo>
                      <a:pt x="1343" y="551"/>
                      <a:pt x="1336" y="549"/>
                      <a:pt x="1337" y="551"/>
                    </a:cubicBezTo>
                    <a:cubicBezTo>
                      <a:pt x="1338" y="553"/>
                      <a:pt x="1336" y="555"/>
                      <a:pt x="1335" y="555"/>
                    </a:cubicBezTo>
                    <a:cubicBezTo>
                      <a:pt x="1333" y="554"/>
                      <a:pt x="1332" y="556"/>
                      <a:pt x="1330" y="559"/>
                    </a:cubicBezTo>
                    <a:cubicBezTo>
                      <a:pt x="1328" y="563"/>
                      <a:pt x="1320" y="563"/>
                      <a:pt x="1323" y="560"/>
                    </a:cubicBezTo>
                    <a:cubicBezTo>
                      <a:pt x="1327" y="557"/>
                      <a:pt x="1322" y="556"/>
                      <a:pt x="1323" y="553"/>
                    </a:cubicBezTo>
                    <a:cubicBezTo>
                      <a:pt x="1324" y="550"/>
                      <a:pt x="1326" y="546"/>
                      <a:pt x="1323" y="549"/>
                    </a:cubicBezTo>
                    <a:cubicBezTo>
                      <a:pt x="1319" y="551"/>
                      <a:pt x="1319" y="556"/>
                      <a:pt x="1316" y="557"/>
                    </a:cubicBezTo>
                    <a:cubicBezTo>
                      <a:pt x="1312" y="557"/>
                      <a:pt x="1313" y="548"/>
                      <a:pt x="1314" y="545"/>
                    </a:cubicBezTo>
                    <a:cubicBezTo>
                      <a:pt x="1315" y="543"/>
                      <a:pt x="1308" y="545"/>
                      <a:pt x="1301" y="545"/>
                    </a:cubicBezTo>
                    <a:cubicBezTo>
                      <a:pt x="1294" y="544"/>
                      <a:pt x="1296" y="539"/>
                      <a:pt x="1302" y="536"/>
                    </a:cubicBezTo>
                    <a:cubicBezTo>
                      <a:pt x="1308" y="533"/>
                      <a:pt x="1307" y="531"/>
                      <a:pt x="1309" y="529"/>
                    </a:cubicBezTo>
                    <a:cubicBezTo>
                      <a:pt x="1312" y="528"/>
                      <a:pt x="1320" y="523"/>
                      <a:pt x="1324" y="521"/>
                    </a:cubicBezTo>
                    <a:cubicBezTo>
                      <a:pt x="1328" y="518"/>
                      <a:pt x="1329" y="516"/>
                      <a:pt x="1330" y="513"/>
                    </a:cubicBezTo>
                    <a:cubicBezTo>
                      <a:pt x="1331" y="510"/>
                      <a:pt x="1339" y="506"/>
                      <a:pt x="1346" y="501"/>
                    </a:cubicBezTo>
                    <a:cubicBezTo>
                      <a:pt x="1353" y="495"/>
                      <a:pt x="1357" y="491"/>
                      <a:pt x="1359" y="488"/>
                    </a:cubicBezTo>
                    <a:cubicBezTo>
                      <a:pt x="1360" y="484"/>
                      <a:pt x="1371" y="480"/>
                      <a:pt x="1371" y="477"/>
                    </a:cubicBezTo>
                    <a:cubicBezTo>
                      <a:pt x="1371" y="475"/>
                      <a:pt x="1384" y="468"/>
                      <a:pt x="1392" y="466"/>
                    </a:cubicBezTo>
                    <a:cubicBezTo>
                      <a:pt x="1401" y="465"/>
                      <a:pt x="1414" y="467"/>
                      <a:pt x="1417" y="469"/>
                    </a:cubicBezTo>
                    <a:cubicBezTo>
                      <a:pt x="1419" y="472"/>
                      <a:pt x="1421" y="471"/>
                      <a:pt x="1423" y="469"/>
                    </a:cubicBezTo>
                    <a:cubicBezTo>
                      <a:pt x="1424" y="468"/>
                      <a:pt x="1427" y="468"/>
                      <a:pt x="1433" y="469"/>
                    </a:cubicBezTo>
                    <a:cubicBezTo>
                      <a:pt x="1439" y="470"/>
                      <a:pt x="1440" y="466"/>
                      <a:pt x="1444" y="468"/>
                    </a:cubicBezTo>
                    <a:cubicBezTo>
                      <a:pt x="1448" y="469"/>
                      <a:pt x="1451" y="469"/>
                      <a:pt x="1453" y="465"/>
                    </a:cubicBezTo>
                    <a:cubicBezTo>
                      <a:pt x="1456" y="460"/>
                      <a:pt x="1467" y="461"/>
                      <a:pt x="1469" y="463"/>
                    </a:cubicBezTo>
                    <a:cubicBezTo>
                      <a:pt x="1472" y="465"/>
                      <a:pt x="1474" y="467"/>
                      <a:pt x="1478" y="465"/>
                    </a:cubicBezTo>
                    <a:cubicBezTo>
                      <a:pt x="1482" y="462"/>
                      <a:pt x="1482" y="468"/>
                      <a:pt x="1485" y="469"/>
                    </a:cubicBezTo>
                    <a:cubicBezTo>
                      <a:pt x="1489" y="469"/>
                      <a:pt x="1487" y="473"/>
                      <a:pt x="1483" y="472"/>
                    </a:cubicBezTo>
                    <a:cubicBezTo>
                      <a:pt x="1480" y="472"/>
                      <a:pt x="1476" y="474"/>
                      <a:pt x="1480" y="476"/>
                    </a:cubicBezTo>
                    <a:cubicBezTo>
                      <a:pt x="1484" y="478"/>
                      <a:pt x="1488" y="474"/>
                      <a:pt x="1491" y="474"/>
                    </a:cubicBezTo>
                    <a:cubicBezTo>
                      <a:pt x="1494" y="475"/>
                      <a:pt x="1499" y="475"/>
                      <a:pt x="1503" y="472"/>
                    </a:cubicBezTo>
                    <a:cubicBezTo>
                      <a:pt x="1507" y="470"/>
                      <a:pt x="1508" y="475"/>
                      <a:pt x="1511" y="472"/>
                    </a:cubicBezTo>
                    <a:cubicBezTo>
                      <a:pt x="1514" y="470"/>
                      <a:pt x="1520" y="469"/>
                      <a:pt x="1523" y="469"/>
                    </a:cubicBezTo>
                    <a:cubicBezTo>
                      <a:pt x="1526" y="470"/>
                      <a:pt x="1523" y="466"/>
                      <a:pt x="1518" y="466"/>
                    </a:cubicBezTo>
                    <a:cubicBezTo>
                      <a:pt x="1513" y="466"/>
                      <a:pt x="1513" y="463"/>
                      <a:pt x="1517" y="456"/>
                    </a:cubicBezTo>
                    <a:cubicBezTo>
                      <a:pt x="1521" y="450"/>
                      <a:pt x="1529" y="446"/>
                      <a:pt x="1534" y="442"/>
                    </a:cubicBezTo>
                    <a:cubicBezTo>
                      <a:pt x="1539" y="438"/>
                      <a:pt x="1542" y="440"/>
                      <a:pt x="1542" y="437"/>
                    </a:cubicBezTo>
                    <a:cubicBezTo>
                      <a:pt x="1542" y="434"/>
                      <a:pt x="1544" y="427"/>
                      <a:pt x="1548" y="427"/>
                    </a:cubicBezTo>
                    <a:cubicBezTo>
                      <a:pt x="1552" y="426"/>
                      <a:pt x="1561" y="428"/>
                      <a:pt x="1567" y="425"/>
                    </a:cubicBezTo>
                    <a:cubicBezTo>
                      <a:pt x="1572" y="422"/>
                      <a:pt x="1572" y="427"/>
                      <a:pt x="1574" y="428"/>
                    </a:cubicBezTo>
                    <a:cubicBezTo>
                      <a:pt x="1576" y="429"/>
                      <a:pt x="1580" y="423"/>
                      <a:pt x="1582" y="425"/>
                    </a:cubicBezTo>
                    <a:cubicBezTo>
                      <a:pt x="1585" y="427"/>
                      <a:pt x="1578" y="431"/>
                      <a:pt x="1577" y="435"/>
                    </a:cubicBezTo>
                    <a:cubicBezTo>
                      <a:pt x="1575" y="440"/>
                      <a:pt x="1580" y="438"/>
                      <a:pt x="1583" y="440"/>
                    </a:cubicBezTo>
                    <a:cubicBezTo>
                      <a:pt x="1586" y="441"/>
                      <a:pt x="1579" y="443"/>
                      <a:pt x="1580" y="444"/>
                    </a:cubicBezTo>
                    <a:cubicBezTo>
                      <a:pt x="1581" y="446"/>
                      <a:pt x="1586" y="446"/>
                      <a:pt x="1594" y="438"/>
                    </a:cubicBezTo>
                    <a:cubicBezTo>
                      <a:pt x="1601" y="431"/>
                      <a:pt x="1608" y="429"/>
                      <a:pt x="1612" y="430"/>
                    </a:cubicBezTo>
                    <a:cubicBezTo>
                      <a:pt x="1617" y="430"/>
                      <a:pt x="1614" y="425"/>
                      <a:pt x="1615" y="419"/>
                    </a:cubicBezTo>
                    <a:cubicBezTo>
                      <a:pt x="1615" y="412"/>
                      <a:pt x="1629" y="410"/>
                      <a:pt x="1634" y="412"/>
                    </a:cubicBezTo>
                    <a:cubicBezTo>
                      <a:pt x="1639" y="414"/>
                      <a:pt x="1638" y="416"/>
                      <a:pt x="1634" y="414"/>
                    </a:cubicBezTo>
                    <a:cubicBezTo>
                      <a:pt x="1629" y="413"/>
                      <a:pt x="1625" y="417"/>
                      <a:pt x="1625" y="423"/>
                    </a:cubicBezTo>
                    <a:cubicBezTo>
                      <a:pt x="1626" y="429"/>
                      <a:pt x="1621" y="430"/>
                      <a:pt x="1624" y="433"/>
                    </a:cubicBezTo>
                    <a:cubicBezTo>
                      <a:pt x="1626" y="435"/>
                      <a:pt x="1620" y="435"/>
                      <a:pt x="1620" y="438"/>
                    </a:cubicBezTo>
                    <a:cubicBezTo>
                      <a:pt x="1620" y="440"/>
                      <a:pt x="1620" y="442"/>
                      <a:pt x="1617" y="443"/>
                    </a:cubicBezTo>
                    <a:cubicBezTo>
                      <a:pt x="1614" y="444"/>
                      <a:pt x="1602" y="445"/>
                      <a:pt x="1602" y="449"/>
                    </a:cubicBezTo>
                    <a:cubicBezTo>
                      <a:pt x="1602" y="454"/>
                      <a:pt x="1596" y="454"/>
                      <a:pt x="1593" y="459"/>
                    </a:cubicBezTo>
                    <a:cubicBezTo>
                      <a:pt x="1590" y="465"/>
                      <a:pt x="1579" y="468"/>
                      <a:pt x="1572" y="479"/>
                    </a:cubicBezTo>
                    <a:cubicBezTo>
                      <a:pt x="1565" y="489"/>
                      <a:pt x="1554" y="489"/>
                      <a:pt x="1554" y="491"/>
                    </a:cubicBezTo>
                    <a:cubicBezTo>
                      <a:pt x="1554" y="493"/>
                      <a:pt x="1546" y="493"/>
                      <a:pt x="1543" y="493"/>
                    </a:cubicBezTo>
                    <a:cubicBezTo>
                      <a:pt x="1540" y="494"/>
                      <a:pt x="1546" y="500"/>
                      <a:pt x="1539" y="507"/>
                    </a:cubicBezTo>
                    <a:cubicBezTo>
                      <a:pt x="1533" y="514"/>
                      <a:pt x="1529" y="523"/>
                      <a:pt x="1529" y="533"/>
                    </a:cubicBezTo>
                    <a:cubicBezTo>
                      <a:pt x="1529" y="542"/>
                      <a:pt x="1532" y="570"/>
                      <a:pt x="1535" y="575"/>
                    </a:cubicBezTo>
                    <a:cubicBezTo>
                      <a:pt x="1538" y="579"/>
                      <a:pt x="1536" y="591"/>
                      <a:pt x="1539" y="594"/>
                    </a:cubicBezTo>
                    <a:cubicBezTo>
                      <a:pt x="1541" y="596"/>
                      <a:pt x="1540" y="600"/>
                      <a:pt x="1542" y="602"/>
                    </a:cubicBezTo>
                    <a:cubicBezTo>
                      <a:pt x="1543" y="603"/>
                      <a:pt x="1549" y="595"/>
                      <a:pt x="1553" y="592"/>
                    </a:cubicBezTo>
                    <a:cubicBezTo>
                      <a:pt x="1558" y="588"/>
                      <a:pt x="1556" y="587"/>
                      <a:pt x="1559" y="585"/>
                    </a:cubicBezTo>
                    <a:cubicBezTo>
                      <a:pt x="1562" y="583"/>
                      <a:pt x="1561" y="576"/>
                      <a:pt x="1562" y="574"/>
                    </a:cubicBezTo>
                    <a:cubicBezTo>
                      <a:pt x="1562" y="572"/>
                      <a:pt x="1568" y="571"/>
                      <a:pt x="1569" y="569"/>
                    </a:cubicBezTo>
                    <a:cubicBezTo>
                      <a:pt x="1571" y="566"/>
                      <a:pt x="1575" y="568"/>
                      <a:pt x="1578" y="567"/>
                    </a:cubicBezTo>
                    <a:cubicBezTo>
                      <a:pt x="1580" y="566"/>
                      <a:pt x="1577" y="561"/>
                      <a:pt x="1577" y="557"/>
                    </a:cubicBezTo>
                    <a:cubicBezTo>
                      <a:pt x="1576" y="554"/>
                      <a:pt x="1583" y="550"/>
                      <a:pt x="1587" y="547"/>
                    </a:cubicBezTo>
                    <a:cubicBezTo>
                      <a:pt x="1591" y="544"/>
                      <a:pt x="1596" y="549"/>
                      <a:pt x="1601" y="545"/>
                    </a:cubicBezTo>
                    <a:cubicBezTo>
                      <a:pt x="1605" y="541"/>
                      <a:pt x="1601" y="536"/>
                      <a:pt x="1599" y="534"/>
                    </a:cubicBezTo>
                    <a:cubicBezTo>
                      <a:pt x="1597" y="531"/>
                      <a:pt x="1603" y="521"/>
                      <a:pt x="1607" y="520"/>
                    </a:cubicBezTo>
                    <a:cubicBezTo>
                      <a:pt x="1610" y="519"/>
                      <a:pt x="1612" y="522"/>
                      <a:pt x="1616" y="519"/>
                    </a:cubicBezTo>
                    <a:cubicBezTo>
                      <a:pt x="1619" y="516"/>
                      <a:pt x="1613" y="512"/>
                      <a:pt x="1610" y="512"/>
                    </a:cubicBezTo>
                    <a:cubicBezTo>
                      <a:pt x="1608" y="512"/>
                      <a:pt x="1607" y="503"/>
                      <a:pt x="1613" y="499"/>
                    </a:cubicBezTo>
                    <a:cubicBezTo>
                      <a:pt x="1618" y="495"/>
                      <a:pt x="1616" y="494"/>
                      <a:pt x="1612" y="493"/>
                    </a:cubicBezTo>
                    <a:cubicBezTo>
                      <a:pt x="1609" y="492"/>
                      <a:pt x="1608" y="494"/>
                      <a:pt x="1605" y="494"/>
                    </a:cubicBezTo>
                    <a:cubicBezTo>
                      <a:pt x="1602" y="494"/>
                      <a:pt x="1599" y="488"/>
                      <a:pt x="1604" y="482"/>
                    </a:cubicBezTo>
                    <a:cubicBezTo>
                      <a:pt x="1608" y="476"/>
                      <a:pt x="1612" y="477"/>
                      <a:pt x="1613" y="472"/>
                    </a:cubicBezTo>
                    <a:cubicBezTo>
                      <a:pt x="1614" y="467"/>
                      <a:pt x="1620" y="460"/>
                      <a:pt x="1622" y="458"/>
                    </a:cubicBezTo>
                    <a:cubicBezTo>
                      <a:pt x="1623" y="455"/>
                      <a:pt x="1629" y="458"/>
                      <a:pt x="1632" y="457"/>
                    </a:cubicBezTo>
                    <a:cubicBezTo>
                      <a:pt x="1634" y="457"/>
                      <a:pt x="1633" y="462"/>
                      <a:pt x="1636" y="459"/>
                    </a:cubicBezTo>
                    <a:cubicBezTo>
                      <a:pt x="1639" y="457"/>
                      <a:pt x="1643" y="449"/>
                      <a:pt x="1647" y="449"/>
                    </a:cubicBezTo>
                    <a:cubicBezTo>
                      <a:pt x="1651" y="449"/>
                      <a:pt x="1649" y="455"/>
                      <a:pt x="1650" y="458"/>
                    </a:cubicBezTo>
                    <a:cubicBezTo>
                      <a:pt x="1651" y="462"/>
                      <a:pt x="1653" y="457"/>
                      <a:pt x="1660" y="452"/>
                    </a:cubicBezTo>
                    <a:cubicBezTo>
                      <a:pt x="1667" y="447"/>
                      <a:pt x="1683" y="448"/>
                      <a:pt x="1688" y="450"/>
                    </a:cubicBezTo>
                    <a:cubicBezTo>
                      <a:pt x="1693" y="453"/>
                      <a:pt x="1694" y="458"/>
                      <a:pt x="1697" y="457"/>
                    </a:cubicBezTo>
                    <a:cubicBezTo>
                      <a:pt x="1701" y="456"/>
                      <a:pt x="1697" y="452"/>
                      <a:pt x="1701" y="451"/>
                    </a:cubicBezTo>
                    <a:cubicBezTo>
                      <a:pt x="1705" y="450"/>
                      <a:pt x="1712" y="445"/>
                      <a:pt x="1718" y="442"/>
                    </a:cubicBezTo>
                    <a:cubicBezTo>
                      <a:pt x="1723" y="438"/>
                      <a:pt x="1721" y="441"/>
                      <a:pt x="1724" y="437"/>
                    </a:cubicBezTo>
                    <a:cubicBezTo>
                      <a:pt x="1727" y="434"/>
                      <a:pt x="1730" y="435"/>
                      <a:pt x="1731" y="433"/>
                    </a:cubicBezTo>
                    <a:cubicBezTo>
                      <a:pt x="1732" y="430"/>
                      <a:pt x="1739" y="427"/>
                      <a:pt x="1750" y="424"/>
                    </a:cubicBezTo>
                    <a:cubicBezTo>
                      <a:pt x="1760" y="422"/>
                      <a:pt x="1774" y="415"/>
                      <a:pt x="1773" y="413"/>
                    </a:cubicBezTo>
                    <a:cubicBezTo>
                      <a:pt x="1773" y="411"/>
                      <a:pt x="1777" y="410"/>
                      <a:pt x="1778" y="412"/>
                    </a:cubicBezTo>
                    <a:cubicBezTo>
                      <a:pt x="1778" y="414"/>
                      <a:pt x="1782" y="413"/>
                      <a:pt x="1788" y="414"/>
                    </a:cubicBezTo>
                    <a:cubicBezTo>
                      <a:pt x="1793" y="415"/>
                      <a:pt x="1796" y="418"/>
                      <a:pt x="1800" y="413"/>
                    </a:cubicBezTo>
                    <a:cubicBezTo>
                      <a:pt x="1804" y="409"/>
                      <a:pt x="1800" y="407"/>
                      <a:pt x="1800" y="404"/>
                    </a:cubicBezTo>
                    <a:cubicBezTo>
                      <a:pt x="1800" y="401"/>
                      <a:pt x="1792" y="397"/>
                      <a:pt x="1793" y="394"/>
                    </a:cubicBezTo>
                    <a:cubicBezTo>
                      <a:pt x="1794" y="390"/>
                      <a:pt x="1788" y="381"/>
                      <a:pt x="1786" y="383"/>
                    </a:cubicBezTo>
                    <a:cubicBezTo>
                      <a:pt x="1784" y="385"/>
                      <a:pt x="1779" y="381"/>
                      <a:pt x="1779" y="379"/>
                    </a:cubicBezTo>
                    <a:cubicBezTo>
                      <a:pt x="1779" y="376"/>
                      <a:pt x="1779" y="373"/>
                      <a:pt x="1775" y="375"/>
                    </a:cubicBezTo>
                    <a:cubicBezTo>
                      <a:pt x="1772" y="377"/>
                      <a:pt x="1767" y="376"/>
                      <a:pt x="1766" y="373"/>
                    </a:cubicBezTo>
                    <a:cubicBezTo>
                      <a:pt x="1765" y="370"/>
                      <a:pt x="1772" y="368"/>
                      <a:pt x="1777" y="370"/>
                    </a:cubicBezTo>
                    <a:cubicBezTo>
                      <a:pt x="1782" y="372"/>
                      <a:pt x="1781" y="374"/>
                      <a:pt x="1783" y="375"/>
                    </a:cubicBezTo>
                    <a:cubicBezTo>
                      <a:pt x="1786" y="377"/>
                      <a:pt x="1792" y="376"/>
                      <a:pt x="1796" y="374"/>
                    </a:cubicBezTo>
                    <a:cubicBezTo>
                      <a:pt x="1799" y="373"/>
                      <a:pt x="1809" y="369"/>
                      <a:pt x="1811" y="367"/>
                    </a:cubicBezTo>
                    <a:cubicBezTo>
                      <a:pt x="1813" y="364"/>
                      <a:pt x="1811" y="362"/>
                      <a:pt x="1814" y="361"/>
                    </a:cubicBezTo>
                    <a:cubicBezTo>
                      <a:pt x="1817" y="359"/>
                      <a:pt x="1815" y="356"/>
                      <a:pt x="1812" y="354"/>
                    </a:cubicBezTo>
                    <a:cubicBezTo>
                      <a:pt x="1809" y="353"/>
                      <a:pt x="1810" y="349"/>
                      <a:pt x="1813" y="349"/>
                    </a:cubicBezTo>
                    <a:cubicBezTo>
                      <a:pt x="1816" y="349"/>
                      <a:pt x="1815" y="345"/>
                      <a:pt x="1817" y="345"/>
                    </a:cubicBezTo>
                    <a:cubicBezTo>
                      <a:pt x="1819" y="345"/>
                      <a:pt x="1819" y="346"/>
                      <a:pt x="1823" y="345"/>
                    </a:cubicBezTo>
                    <a:cubicBezTo>
                      <a:pt x="1827" y="343"/>
                      <a:pt x="1823" y="347"/>
                      <a:pt x="1822" y="351"/>
                    </a:cubicBezTo>
                    <a:cubicBezTo>
                      <a:pt x="1820" y="354"/>
                      <a:pt x="1825" y="356"/>
                      <a:pt x="1826" y="358"/>
                    </a:cubicBezTo>
                    <a:cubicBezTo>
                      <a:pt x="1826" y="360"/>
                      <a:pt x="1833" y="361"/>
                      <a:pt x="1837" y="359"/>
                    </a:cubicBezTo>
                    <a:cubicBezTo>
                      <a:pt x="1841" y="356"/>
                      <a:pt x="1854" y="361"/>
                      <a:pt x="1855" y="364"/>
                    </a:cubicBezTo>
                    <a:cubicBezTo>
                      <a:pt x="1856" y="368"/>
                      <a:pt x="1858" y="371"/>
                      <a:pt x="1863" y="374"/>
                    </a:cubicBezTo>
                    <a:cubicBezTo>
                      <a:pt x="1868" y="377"/>
                      <a:pt x="1873" y="376"/>
                      <a:pt x="1874" y="378"/>
                    </a:cubicBezTo>
                    <a:cubicBezTo>
                      <a:pt x="1875" y="381"/>
                      <a:pt x="1877" y="382"/>
                      <a:pt x="1880" y="381"/>
                    </a:cubicBezTo>
                    <a:cubicBezTo>
                      <a:pt x="1883" y="381"/>
                      <a:pt x="1885" y="384"/>
                      <a:pt x="1887" y="382"/>
                    </a:cubicBezTo>
                    <a:cubicBezTo>
                      <a:pt x="1889" y="380"/>
                      <a:pt x="1890" y="383"/>
                      <a:pt x="1893" y="381"/>
                    </a:cubicBezTo>
                    <a:cubicBezTo>
                      <a:pt x="1896" y="378"/>
                      <a:pt x="1887" y="376"/>
                      <a:pt x="1888" y="374"/>
                    </a:cubicBezTo>
                    <a:cubicBezTo>
                      <a:pt x="1889" y="372"/>
                      <a:pt x="1891" y="376"/>
                      <a:pt x="1894" y="376"/>
                    </a:cubicBezTo>
                    <a:cubicBezTo>
                      <a:pt x="1896" y="376"/>
                      <a:pt x="1893" y="371"/>
                      <a:pt x="1895" y="370"/>
                    </a:cubicBezTo>
                    <a:cubicBezTo>
                      <a:pt x="1897" y="370"/>
                      <a:pt x="1895" y="360"/>
                      <a:pt x="1893" y="359"/>
                    </a:cubicBezTo>
                    <a:cubicBezTo>
                      <a:pt x="1891" y="358"/>
                      <a:pt x="1893" y="355"/>
                      <a:pt x="1897" y="358"/>
                    </a:cubicBezTo>
                    <a:cubicBezTo>
                      <a:pt x="1900" y="361"/>
                      <a:pt x="1906" y="360"/>
                      <a:pt x="1909" y="360"/>
                    </a:cubicBezTo>
                    <a:cubicBezTo>
                      <a:pt x="1912" y="360"/>
                      <a:pt x="1909" y="358"/>
                      <a:pt x="1907" y="357"/>
                    </a:cubicBezTo>
                    <a:cubicBezTo>
                      <a:pt x="1904" y="357"/>
                      <a:pt x="1907" y="354"/>
                      <a:pt x="1909" y="356"/>
                    </a:cubicBezTo>
                    <a:cubicBezTo>
                      <a:pt x="1911" y="358"/>
                      <a:pt x="1915" y="359"/>
                      <a:pt x="1915" y="357"/>
                    </a:cubicBezTo>
                    <a:cubicBezTo>
                      <a:pt x="1916" y="355"/>
                      <a:pt x="1918" y="351"/>
                      <a:pt x="1921" y="351"/>
                    </a:cubicBezTo>
                    <a:cubicBezTo>
                      <a:pt x="1925" y="351"/>
                      <a:pt x="1926" y="349"/>
                      <a:pt x="1922" y="348"/>
                    </a:cubicBezTo>
                    <a:close/>
                    <a:moveTo>
                      <a:pt x="993" y="566"/>
                    </a:moveTo>
                    <a:cubicBezTo>
                      <a:pt x="983" y="575"/>
                      <a:pt x="964" y="577"/>
                      <a:pt x="964" y="584"/>
                    </a:cubicBezTo>
                    <a:cubicBezTo>
                      <a:pt x="964" y="591"/>
                      <a:pt x="941" y="594"/>
                      <a:pt x="939" y="591"/>
                    </a:cubicBezTo>
                    <a:cubicBezTo>
                      <a:pt x="938" y="589"/>
                      <a:pt x="956" y="588"/>
                      <a:pt x="961" y="578"/>
                    </a:cubicBezTo>
                    <a:cubicBezTo>
                      <a:pt x="965" y="568"/>
                      <a:pt x="982" y="563"/>
                      <a:pt x="991" y="549"/>
                    </a:cubicBezTo>
                    <a:cubicBezTo>
                      <a:pt x="997" y="540"/>
                      <a:pt x="1002" y="525"/>
                      <a:pt x="1005" y="526"/>
                    </a:cubicBezTo>
                    <a:cubicBezTo>
                      <a:pt x="1009" y="527"/>
                      <a:pt x="1002" y="558"/>
                      <a:pt x="993" y="566"/>
                    </a:cubicBezTo>
                    <a:close/>
                    <a:moveTo>
                      <a:pt x="1035" y="175"/>
                    </a:moveTo>
                    <a:cubicBezTo>
                      <a:pt x="1034" y="178"/>
                      <a:pt x="1027" y="178"/>
                      <a:pt x="1029" y="180"/>
                    </a:cubicBezTo>
                    <a:cubicBezTo>
                      <a:pt x="1032" y="185"/>
                      <a:pt x="1049" y="182"/>
                      <a:pt x="1049" y="177"/>
                    </a:cubicBezTo>
                    <a:cubicBezTo>
                      <a:pt x="1049" y="172"/>
                      <a:pt x="1037" y="172"/>
                      <a:pt x="1035" y="175"/>
                    </a:cubicBezTo>
                    <a:close/>
                    <a:moveTo>
                      <a:pt x="340" y="22"/>
                    </a:moveTo>
                    <a:cubicBezTo>
                      <a:pt x="345" y="25"/>
                      <a:pt x="327" y="24"/>
                      <a:pt x="325" y="27"/>
                    </a:cubicBezTo>
                    <a:cubicBezTo>
                      <a:pt x="322" y="31"/>
                      <a:pt x="312" y="29"/>
                      <a:pt x="314" y="33"/>
                    </a:cubicBezTo>
                    <a:cubicBezTo>
                      <a:pt x="316" y="37"/>
                      <a:pt x="333" y="38"/>
                      <a:pt x="333" y="34"/>
                    </a:cubicBezTo>
                    <a:cubicBezTo>
                      <a:pt x="333" y="31"/>
                      <a:pt x="341" y="34"/>
                      <a:pt x="342" y="31"/>
                    </a:cubicBezTo>
                    <a:cubicBezTo>
                      <a:pt x="342" y="28"/>
                      <a:pt x="346" y="25"/>
                      <a:pt x="355" y="24"/>
                    </a:cubicBezTo>
                    <a:cubicBezTo>
                      <a:pt x="364" y="23"/>
                      <a:pt x="364" y="20"/>
                      <a:pt x="356" y="16"/>
                    </a:cubicBezTo>
                    <a:cubicBezTo>
                      <a:pt x="347" y="12"/>
                      <a:pt x="335" y="18"/>
                      <a:pt x="340" y="22"/>
                    </a:cubicBezTo>
                    <a:close/>
                    <a:moveTo>
                      <a:pt x="387" y="33"/>
                    </a:moveTo>
                    <a:cubicBezTo>
                      <a:pt x="387" y="27"/>
                      <a:pt x="369" y="33"/>
                      <a:pt x="373" y="34"/>
                    </a:cubicBezTo>
                    <a:cubicBezTo>
                      <a:pt x="376" y="35"/>
                      <a:pt x="387" y="38"/>
                      <a:pt x="387" y="33"/>
                    </a:cubicBezTo>
                    <a:close/>
                    <a:moveTo>
                      <a:pt x="428" y="10"/>
                    </a:moveTo>
                    <a:cubicBezTo>
                      <a:pt x="436" y="10"/>
                      <a:pt x="434" y="5"/>
                      <a:pt x="439" y="6"/>
                    </a:cubicBezTo>
                    <a:cubicBezTo>
                      <a:pt x="445" y="7"/>
                      <a:pt x="452" y="6"/>
                      <a:pt x="449" y="3"/>
                    </a:cubicBezTo>
                    <a:cubicBezTo>
                      <a:pt x="446" y="0"/>
                      <a:pt x="427" y="1"/>
                      <a:pt x="429" y="4"/>
                    </a:cubicBezTo>
                    <a:cubicBezTo>
                      <a:pt x="431" y="6"/>
                      <a:pt x="413" y="5"/>
                      <a:pt x="414" y="6"/>
                    </a:cubicBezTo>
                    <a:cubicBezTo>
                      <a:pt x="414" y="8"/>
                      <a:pt x="420" y="10"/>
                      <a:pt x="428" y="10"/>
                    </a:cubicBezTo>
                    <a:close/>
                    <a:moveTo>
                      <a:pt x="430" y="28"/>
                    </a:moveTo>
                    <a:cubicBezTo>
                      <a:pt x="431" y="31"/>
                      <a:pt x="428" y="31"/>
                      <a:pt x="422" y="31"/>
                    </a:cubicBezTo>
                    <a:cubicBezTo>
                      <a:pt x="415" y="31"/>
                      <a:pt x="411" y="35"/>
                      <a:pt x="415" y="38"/>
                    </a:cubicBezTo>
                    <a:cubicBezTo>
                      <a:pt x="419" y="41"/>
                      <a:pt x="437" y="40"/>
                      <a:pt x="440" y="36"/>
                    </a:cubicBezTo>
                    <a:cubicBezTo>
                      <a:pt x="443" y="32"/>
                      <a:pt x="450" y="35"/>
                      <a:pt x="452" y="31"/>
                    </a:cubicBezTo>
                    <a:cubicBezTo>
                      <a:pt x="453" y="27"/>
                      <a:pt x="429" y="26"/>
                      <a:pt x="430" y="28"/>
                    </a:cubicBezTo>
                    <a:close/>
                    <a:moveTo>
                      <a:pt x="487" y="22"/>
                    </a:moveTo>
                    <a:cubicBezTo>
                      <a:pt x="489" y="19"/>
                      <a:pt x="483" y="19"/>
                      <a:pt x="482" y="16"/>
                    </a:cubicBezTo>
                    <a:cubicBezTo>
                      <a:pt x="481" y="13"/>
                      <a:pt x="463" y="12"/>
                      <a:pt x="464" y="16"/>
                    </a:cubicBezTo>
                    <a:cubicBezTo>
                      <a:pt x="465" y="19"/>
                      <a:pt x="451" y="23"/>
                      <a:pt x="455" y="26"/>
                    </a:cubicBezTo>
                    <a:cubicBezTo>
                      <a:pt x="463" y="32"/>
                      <a:pt x="485" y="25"/>
                      <a:pt x="487" y="22"/>
                    </a:cubicBezTo>
                    <a:close/>
                    <a:moveTo>
                      <a:pt x="384" y="202"/>
                    </a:moveTo>
                    <a:cubicBezTo>
                      <a:pt x="385" y="205"/>
                      <a:pt x="383" y="207"/>
                      <a:pt x="376" y="207"/>
                    </a:cubicBezTo>
                    <a:cubicBezTo>
                      <a:pt x="370" y="207"/>
                      <a:pt x="379" y="211"/>
                      <a:pt x="380" y="215"/>
                    </a:cubicBezTo>
                    <a:cubicBezTo>
                      <a:pt x="381" y="219"/>
                      <a:pt x="374" y="216"/>
                      <a:pt x="373" y="222"/>
                    </a:cubicBezTo>
                    <a:cubicBezTo>
                      <a:pt x="373" y="227"/>
                      <a:pt x="361" y="222"/>
                      <a:pt x="359" y="229"/>
                    </a:cubicBezTo>
                    <a:cubicBezTo>
                      <a:pt x="358" y="236"/>
                      <a:pt x="365" y="235"/>
                      <a:pt x="371" y="236"/>
                    </a:cubicBezTo>
                    <a:cubicBezTo>
                      <a:pt x="376" y="236"/>
                      <a:pt x="369" y="241"/>
                      <a:pt x="373" y="244"/>
                    </a:cubicBezTo>
                    <a:cubicBezTo>
                      <a:pt x="377" y="247"/>
                      <a:pt x="380" y="246"/>
                      <a:pt x="377" y="240"/>
                    </a:cubicBezTo>
                    <a:cubicBezTo>
                      <a:pt x="374" y="235"/>
                      <a:pt x="391" y="242"/>
                      <a:pt x="386" y="247"/>
                    </a:cubicBezTo>
                    <a:cubicBezTo>
                      <a:pt x="381" y="251"/>
                      <a:pt x="394" y="254"/>
                      <a:pt x="400" y="255"/>
                    </a:cubicBezTo>
                    <a:cubicBezTo>
                      <a:pt x="407" y="255"/>
                      <a:pt x="429" y="260"/>
                      <a:pt x="430" y="255"/>
                    </a:cubicBezTo>
                    <a:cubicBezTo>
                      <a:pt x="430" y="251"/>
                      <a:pt x="421" y="248"/>
                      <a:pt x="414" y="241"/>
                    </a:cubicBezTo>
                    <a:cubicBezTo>
                      <a:pt x="407" y="234"/>
                      <a:pt x="402" y="222"/>
                      <a:pt x="410" y="217"/>
                    </a:cubicBezTo>
                    <a:cubicBezTo>
                      <a:pt x="418" y="212"/>
                      <a:pt x="411" y="209"/>
                      <a:pt x="419" y="204"/>
                    </a:cubicBezTo>
                    <a:cubicBezTo>
                      <a:pt x="427" y="198"/>
                      <a:pt x="423" y="193"/>
                      <a:pt x="429" y="192"/>
                    </a:cubicBezTo>
                    <a:cubicBezTo>
                      <a:pt x="436" y="191"/>
                      <a:pt x="429" y="185"/>
                      <a:pt x="435" y="184"/>
                    </a:cubicBezTo>
                    <a:cubicBezTo>
                      <a:pt x="442" y="183"/>
                      <a:pt x="443" y="176"/>
                      <a:pt x="442" y="173"/>
                    </a:cubicBezTo>
                    <a:cubicBezTo>
                      <a:pt x="441" y="171"/>
                      <a:pt x="449" y="174"/>
                      <a:pt x="453" y="170"/>
                    </a:cubicBezTo>
                    <a:cubicBezTo>
                      <a:pt x="457" y="166"/>
                      <a:pt x="465" y="168"/>
                      <a:pt x="468" y="163"/>
                    </a:cubicBezTo>
                    <a:cubicBezTo>
                      <a:pt x="471" y="157"/>
                      <a:pt x="509" y="144"/>
                      <a:pt x="531" y="139"/>
                    </a:cubicBezTo>
                    <a:cubicBezTo>
                      <a:pt x="552" y="134"/>
                      <a:pt x="567" y="125"/>
                      <a:pt x="560" y="119"/>
                    </a:cubicBezTo>
                    <a:cubicBezTo>
                      <a:pt x="552" y="113"/>
                      <a:pt x="530" y="121"/>
                      <a:pt x="525" y="126"/>
                    </a:cubicBezTo>
                    <a:cubicBezTo>
                      <a:pt x="520" y="130"/>
                      <a:pt x="512" y="127"/>
                      <a:pt x="507" y="130"/>
                    </a:cubicBezTo>
                    <a:cubicBezTo>
                      <a:pt x="501" y="133"/>
                      <a:pt x="490" y="136"/>
                      <a:pt x="484" y="132"/>
                    </a:cubicBezTo>
                    <a:cubicBezTo>
                      <a:pt x="479" y="128"/>
                      <a:pt x="472" y="136"/>
                      <a:pt x="468" y="136"/>
                    </a:cubicBezTo>
                    <a:cubicBezTo>
                      <a:pt x="463" y="136"/>
                      <a:pt x="458" y="140"/>
                      <a:pt x="454" y="140"/>
                    </a:cubicBezTo>
                    <a:cubicBezTo>
                      <a:pt x="449" y="140"/>
                      <a:pt x="440" y="144"/>
                      <a:pt x="439" y="146"/>
                    </a:cubicBezTo>
                    <a:cubicBezTo>
                      <a:pt x="438" y="149"/>
                      <a:pt x="430" y="148"/>
                      <a:pt x="430" y="152"/>
                    </a:cubicBezTo>
                    <a:cubicBezTo>
                      <a:pt x="430" y="155"/>
                      <a:pt x="424" y="158"/>
                      <a:pt x="421" y="155"/>
                    </a:cubicBezTo>
                    <a:cubicBezTo>
                      <a:pt x="417" y="152"/>
                      <a:pt x="413" y="158"/>
                      <a:pt x="418" y="163"/>
                    </a:cubicBezTo>
                    <a:cubicBezTo>
                      <a:pt x="423" y="167"/>
                      <a:pt x="409" y="167"/>
                      <a:pt x="412" y="170"/>
                    </a:cubicBezTo>
                    <a:cubicBezTo>
                      <a:pt x="414" y="173"/>
                      <a:pt x="407" y="174"/>
                      <a:pt x="408" y="177"/>
                    </a:cubicBezTo>
                    <a:cubicBezTo>
                      <a:pt x="410" y="180"/>
                      <a:pt x="404" y="181"/>
                      <a:pt x="399" y="182"/>
                    </a:cubicBezTo>
                    <a:cubicBezTo>
                      <a:pt x="394" y="183"/>
                      <a:pt x="391" y="190"/>
                      <a:pt x="397" y="190"/>
                    </a:cubicBezTo>
                    <a:cubicBezTo>
                      <a:pt x="404" y="191"/>
                      <a:pt x="394" y="192"/>
                      <a:pt x="394" y="197"/>
                    </a:cubicBezTo>
                    <a:cubicBezTo>
                      <a:pt x="395" y="202"/>
                      <a:pt x="384" y="198"/>
                      <a:pt x="384" y="202"/>
                    </a:cubicBezTo>
                    <a:close/>
                    <a:moveTo>
                      <a:pt x="434" y="17"/>
                    </a:moveTo>
                    <a:cubicBezTo>
                      <a:pt x="435" y="10"/>
                      <a:pt x="423" y="15"/>
                      <a:pt x="415" y="12"/>
                    </a:cubicBezTo>
                    <a:cubicBezTo>
                      <a:pt x="406" y="8"/>
                      <a:pt x="401" y="8"/>
                      <a:pt x="407" y="13"/>
                    </a:cubicBezTo>
                    <a:cubicBezTo>
                      <a:pt x="409" y="16"/>
                      <a:pt x="392" y="17"/>
                      <a:pt x="395" y="20"/>
                    </a:cubicBezTo>
                    <a:cubicBezTo>
                      <a:pt x="401" y="27"/>
                      <a:pt x="433" y="24"/>
                      <a:pt x="434" y="1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7" name="Freeform 165">
                <a:extLst>
                  <a:ext uri="{FF2B5EF4-FFF2-40B4-BE49-F238E27FC236}">
                    <a16:creationId xmlns:a16="http://schemas.microsoft.com/office/drawing/2014/main" id="{0D03C8BF-CC47-4F99-AD6E-3B913920D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5975" y="3975100"/>
                <a:ext cx="454025" cy="476250"/>
              </a:xfrm>
              <a:custGeom>
                <a:avLst/>
                <a:gdLst>
                  <a:gd name="T0" fmla="*/ 184 w 207"/>
                  <a:gd name="T1" fmla="*/ 101 h 217"/>
                  <a:gd name="T2" fmla="*/ 185 w 207"/>
                  <a:gd name="T3" fmla="*/ 94 h 217"/>
                  <a:gd name="T4" fmla="*/ 182 w 207"/>
                  <a:gd name="T5" fmla="*/ 90 h 217"/>
                  <a:gd name="T6" fmla="*/ 187 w 207"/>
                  <a:gd name="T7" fmla="*/ 80 h 217"/>
                  <a:gd name="T8" fmla="*/ 190 w 207"/>
                  <a:gd name="T9" fmla="*/ 71 h 217"/>
                  <a:gd name="T10" fmla="*/ 195 w 207"/>
                  <a:gd name="T11" fmla="*/ 53 h 217"/>
                  <a:gd name="T12" fmla="*/ 204 w 207"/>
                  <a:gd name="T13" fmla="*/ 43 h 217"/>
                  <a:gd name="T14" fmla="*/ 203 w 207"/>
                  <a:gd name="T15" fmla="*/ 32 h 217"/>
                  <a:gd name="T16" fmla="*/ 204 w 207"/>
                  <a:gd name="T17" fmla="*/ 22 h 217"/>
                  <a:gd name="T18" fmla="*/ 186 w 207"/>
                  <a:gd name="T19" fmla="*/ 13 h 217"/>
                  <a:gd name="T20" fmla="*/ 172 w 207"/>
                  <a:gd name="T21" fmla="*/ 12 h 217"/>
                  <a:gd name="T22" fmla="*/ 165 w 207"/>
                  <a:gd name="T23" fmla="*/ 4 h 217"/>
                  <a:gd name="T24" fmla="*/ 156 w 207"/>
                  <a:gd name="T25" fmla="*/ 5 h 217"/>
                  <a:gd name="T26" fmla="*/ 135 w 207"/>
                  <a:gd name="T27" fmla="*/ 5 h 217"/>
                  <a:gd name="T28" fmla="*/ 114 w 207"/>
                  <a:gd name="T29" fmla="*/ 9 h 217"/>
                  <a:gd name="T30" fmla="*/ 89 w 207"/>
                  <a:gd name="T31" fmla="*/ 12 h 217"/>
                  <a:gd name="T32" fmla="*/ 68 w 207"/>
                  <a:gd name="T33" fmla="*/ 15 h 217"/>
                  <a:gd name="T34" fmla="*/ 66 w 207"/>
                  <a:gd name="T35" fmla="*/ 34 h 217"/>
                  <a:gd name="T36" fmla="*/ 54 w 207"/>
                  <a:gd name="T37" fmla="*/ 70 h 217"/>
                  <a:gd name="T38" fmla="*/ 43 w 207"/>
                  <a:gd name="T39" fmla="*/ 101 h 217"/>
                  <a:gd name="T40" fmla="*/ 32 w 207"/>
                  <a:gd name="T41" fmla="*/ 116 h 217"/>
                  <a:gd name="T42" fmla="*/ 18 w 207"/>
                  <a:gd name="T43" fmla="*/ 116 h 217"/>
                  <a:gd name="T44" fmla="*/ 0 w 207"/>
                  <a:gd name="T45" fmla="*/ 121 h 217"/>
                  <a:gd name="T46" fmla="*/ 4 w 207"/>
                  <a:gd name="T47" fmla="*/ 134 h 217"/>
                  <a:gd name="T48" fmla="*/ 47 w 207"/>
                  <a:gd name="T49" fmla="*/ 131 h 217"/>
                  <a:gd name="T50" fmla="*/ 54 w 207"/>
                  <a:gd name="T51" fmla="*/ 149 h 217"/>
                  <a:gd name="T52" fmla="*/ 76 w 207"/>
                  <a:gd name="T53" fmla="*/ 154 h 217"/>
                  <a:gd name="T54" fmla="*/ 90 w 207"/>
                  <a:gd name="T55" fmla="*/ 144 h 217"/>
                  <a:gd name="T56" fmla="*/ 103 w 207"/>
                  <a:gd name="T57" fmla="*/ 148 h 217"/>
                  <a:gd name="T58" fmla="*/ 103 w 207"/>
                  <a:gd name="T59" fmla="*/ 173 h 217"/>
                  <a:gd name="T60" fmla="*/ 109 w 207"/>
                  <a:gd name="T61" fmla="*/ 191 h 217"/>
                  <a:gd name="T62" fmla="*/ 125 w 207"/>
                  <a:gd name="T63" fmla="*/ 187 h 217"/>
                  <a:gd name="T64" fmla="*/ 131 w 207"/>
                  <a:gd name="T65" fmla="*/ 190 h 217"/>
                  <a:gd name="T66" fmla="*/ 141 w 207"/>
                  <a:gd name="T67" fmla="*/ 192 h 217"/>
                  <a:gd name="T68" fmla="*/ 154 w 207"/>
                  <a:gd name="T69" fmla="*/ 200 h 217"/>
                  <a:gd name="T70" fmla="*/ 163 w 207"/>
                  <a:gd name="T71" fmla="*/ 197 h 217"/>
                  <a:gd name="T72" fmla="*/ 177 w 207"/>
                  <a:gd name="T73" fmla="*/ 205 h 217"/>
                  <a:gd name="T74" fmla="*/ 190 w 207"/>
                  <a:gd name="T75" fmla="*/ 215 h 217"/>
                  <a:gd name="T76" fmla="*/ 190 w 207"/>
                  <a:gd name="T77" fmla="*/ 202 h 217"/>
                  <a:gd name="T78" fmla="*/ 175 w 207"/>
                  <a:gd name="T79" fmla="*/ 195 h 217"/>
                  <a:gd name="T80" fmla="*/ 178 w 207"/>
                  <a:gd name="T81" fmla="*/ 172 h 217"/>
                  <a:gd name="T82" fmla="*/ 183 w 207"/>
                  <a:gd name="T83" fmla="*/ 159 h 217"/>
                  <a:gd name="T84" fmla="*/ 197 w 207"/>
                  <a:gd name="T85" fmla="*/ 156 h 217"/>
                  <a:gd name="T86" fmla="*/ 189 w 207"/>
                  <a:gd name="T87" fmla="*/ 14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7" h="217">
                    <a:moveTo>
                      <a:pt x="189" y="143"/>
                    </a:moveTo>
                    <a:cubicBezTo>
                      <a:pt x="184" y="140"/>
                      <a:pt x="182" y="102"/>
                      <a:pt x="184" y="101"/>
                    </a:cubicBezTo>
                    <a:cubicBezTo>
                      <a:pt x="185" y="101"/>
                      <a:pt x="185" y="102"/>
                      <a:pt x="185" y="102"/>
                    </a:cubicBezTo>
                    <a:cubicBezTo>
                      <a:pt x="185" y="94"/>
                      <a:pt x="185" y="94"/>
                      <a:pt x="185" y="94"/>
                    </a:cubicBezTo>
                    <a:cubicBezTo>
                      <a:pt x="185" y="94"/>
                      <a:pt x="185" y="94"/>
                      <a:pt x="184" y="94"/>
                    </a:cubicBezTo>
                    <a:cubicBezTo>
                      <a:pt x="183" y="93"/>
                      <a:pt x="182" y="92"/>
                      <a:pt x="182" y="90"/>
                    </a:cubicBezTo>
                    <a:cubicBezTo>
                      <a:pt x="182" y="87"/>
                      <a:pt x="184" y="87"/>
                      <a:pt x="184" y="87"/>
                    </a:cubicBezTo>
                    <a:cubicBezTo>
                      <a:pt x="184" y="87"/>
                      <a:pt x="184" y="81"/>
                      <a:pt x="187" y="80"/>
                    </a:cubicBezTo>
                    <a:cubicBezTo>
                      <a:pt x="187" y="80"/>
                      <a:pt x="188" y="79"/>
                      <a:pt x="188" y="79"/>
                    </a:cubicBezTo>
                    <a:cubicBezTo>
                      <a:pt x="190" y="77"/>
                      <a:pt x="190" y="73"/>
                      <a:pt x="190" y="71"/>
                    </a:cubicBezTo>
                    <a:cubicBezTo>
                      <a:pt x="190" y="67"/>
                      <a:pt x="191" y="64"/>
                      <a:pt x="192" y="61"/>
                    </a:cubicBezTo>
                    <a:cubicBezTo>
                      <a:pt x="193" y="58"/>
                      <a:pt x="193" y="54"/>
                      <a:pt x="195" y="53"/>
                    </a:cubicBezTo>
                    <a:cubicBezTo>
                      <a:pt x="197" y="51"/>
                      <a:pt x="196" y="47"/>
                      <a:pt x="199" y="47"/>
                    </a:cubicBezTo>
                    <a:cubicBezTo>
                      <a:pt x="201" y="46"/>
                      <a:pt x="203" y="45"/>
                      <a:pt x="204" y="43"/>
                    </a:cubicBezTo>
                    <a:cubicBezTo>
                      <a:pt x="204" y="42"/>
                      <a:pt x="207" y="40"/>
                      <a:pt x="207" y="38"/>
                    </a:cubicBezTo>
                    <a:cubicBezTo>
                      <a:pt x="207" y="35"/>
                      <a:pt x="203" y="35"/>
                      <a:pt x="203" y="32"/>
                    </a:cubicBezTo>
                    <a:cubicBezTo>
                      <a:pt x="203" y="29"/>
                      <a:pt x="204" y="22"/>
                      <a:pt x="204" y="22"/>
                    </a:cubicBezTo>
                    <a:cubicBezTo>
                      <a:pt x="204" y="22"/>
                      <a:pt x="204" y="22"/>
                      <a:pt x="204" y="22"/>
                    </a:cubicBezTo>
                    <a:cubicBezTo>
                      <a:pt x="199" y="17"/>
                      <a:pt x="193" y="12"/>
                      <a:pt x="191" y="11"/>
                    </a:cubicBezTo>
                    <a:cubicBezTo>
                      <a:pt x="189" y="10"/>
                      <a:pt x="186" y="13"/>
                      <a:pt x="186" y="13"/>
                    </a:cubicBezTo>
                    <a:cubicBezTo>
                      <a:pt x="186" y="13"/>
                      <a:pt x="182" y="9"/>
                      <a:pt x="179" y="12"/>
                    </a:cubicBezTo>
                    <a:cubicBezTo>
                      <a:pt x="177" y="15"/>
                      <a:pt x="172" y="12"/>
                      <a:pt x="172" y="12"/>
                    </a:cubicBezTo>
                    <a:cubicBezTo>
                      <a:pt x="172" y="12"/>
                      <a:pt x="169" y="10"/>
                      <a:pt x="168" y="6"/>
                    </a:cubicBezTo>
                    <a:cubicBezTo>
                      <a:pt x="167" y="5"/>
                      <a:pt x="166" y="4"/>
                      <a:pt x="165" y="4"/>
                    </a:cubicBezTo>
                    <a:cubicBezTo>
                      <a:pt x="165" y="4"/>
                      <a:pt x="165" y="4"/>
                      <a:pt x="165" y="4"/>
                    </a:cubicBezTo>
                    <a:cubicBezTo>
                      <a:pt x="156" y="5"/>
                      <a:pt x="156" y="5"/>
                      <a:pt x="156" y="5"/>
                    </a:cubicBezTo>
                    <a:cubicBezTo>
                      <a:pt x="156" y="5"/>
                      <a:pt x="146" y="0"/>
                      <a:pt x="144" y="4"/>
                    </a:cubicBezTo>
                    <a:cubicBezTo>
                      <a:pt x="142" y="8"/>
                      <a:pt x="140" y="5"/>
                      <a:pt x="135" y="5"/>
                    </a:cubicBezTo>
                    <a:cubicBezTo>
                      <a:pt x="130" y="5"/>
                      <a:pt x="126" y="7"/>
                      <a:pt x="123" y="9"/>
                    </a:cubicBezTo>
                    <a:cubicBezTo>
                      <a:pt x="120" y="10"/>
                      <a:pt x="116" y="7"/>
                      <a:pt x="114" y="9"/>
                    </a:cubicBezTo>
                    <a:cubicBezTo>
                      <a:pt x="112" y="10"/>
                      <a:pt x="111" y="17"/>
                      <a:pt x="111" y="17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9" y="12"/>
                      <a:pt x="85" y="6"/>
                      <a:pt x="80" y="6"/>
                    </a:cubicBezTo>
                    <a:cubicBezTo>
                      <a:pt x="75" y="6"/>
                      <a:pt x="68" y="15"/>
                      <a:pt x="68" y="15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69" y="27"/>
                      <a:pt x="68" y="32"/>
                      <a:pt x="66" y="34"/>
                    </a:cubicBezTo>
                    <a:cubicBezTo>
                      <a:pt x="64" y="38"/>
                      <a:pt x="62" y="39"/>
                      <a:pt x="62" y="46"/>
                    </a:cubicBezTo>
                    <a:cubicBezTo>
                      <a:pt x="62" y="53"/>
                      <a:pt x="54" y="64"/>
                      <a:pt x="54" y="70"/>
                    </a:cubicBezTo>
                    <a:cubicBezTo>
                      <a:pt x="54" y="75"/>
                      <a:pt x="44" y="79"/>
                      <a:pt x="44" y="82"/>
                    </a:cubicBezTo>
                    <a:cubicBezTo>
                      <a:pt x="44" y="86"/>
                      <a:pt x="43" y="94"/>
                      <a:pt x="43" y="101"/>
                    </a:cubicBezTo>
                    <a:cubicBezTo>
                      <a:pt x="43" y="109"/>
                      <a:pt x="39" y="103"/>
                      <a:pt x="39" y="110"/>
                    </a:cubicBezTo>
                    <a:cubicBezTo>
                      <a:pt x="39" y="117"/>
                      <a:pt x="36" y="112"/>
                      <a:pt x="32" y="116"/>
                    </a:cubicBezTo>
                    <a:cubicBezTo>
                      <a:pt x="29" y="119"/>
                      <a:pt x="27" y="120"/>
                      <a:pt x="27" y="117"/>
                    </a:cubicBezTo>
                    <a:cubicBezTo>
                      <a:pt x="27" y="113"/>
                      <a:pt x="23" y="112"/>
                      <a:pt x="18" y="116"/>
                    </a:cubicBezTo>
                    <a:cubicBezTo>
                      <a:pt x="14" y="119"/>
                      <a:pt x="13" y="116"/>
                      <a:pt x="11" y="115"/>
                    </a:cubicBezTo>
                    <a:cubicBezTo>
                      <a:pt x="10" y="115"/>
                      <a:pt x="5" y="118"/>
                      <a:pt x="0" y="121"/>
                    </a:cubicBezTo>
                    <a:cubicBezTo>
                      <a:pt x="2" y="125"/>
                      <a:pt x="3" y="129"/>
                      <a:pt x="4" y="13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7" y="133"/>
                      <a:pt x="9" y="131"/>
                      <a:pt x="11" y="131"/>
                    </a:cubicBezTo>
                    <a:cubicBezTo>
                      <a:pt x="14" y="130"/>
                      <a:pt x="47" y="131"/>
                      <a:pt x="47" y="131"/>
                    </a:cubicBezTo>
                    <a:cubicBezTo>
                      <a:pt x="47" y="131"/>
                      <a:pt x="50" y="136"/>
                      <a:pt x="49" y="140"/>
                    </a:cubicBezTo>
                    <a:cubicBezTo>
                      <a:pt x="48" y="145"/>
                      <a:pt x="51" y="143"/>
                      <a:pt x="54" y="149"/>
                    </a:cubicBezTo>
                    <a:cubicBezTo>
                      <a:pt x="56" y="155"/>
                      <a:pt x="58" y="157"/>
                      <a:pt x="63" y="156"/>
                    </a:cubicBezTo>
                    <a:cubicBezTo>
                      <a:pt x="68" y="154"/>
                      <a:pt x="74" y="153"/>
                      <a:pt x="76" y="154"/>
                    </a:cubicBezTo>
                    <a:cubicBezTo>
                      <a:pt x="78" y="154"/>
                      <a:pt x="78" y="145"/>
                      <a:pt x="81" y="144"/>
                    </a:cubicBezTo>
                    <a:cubicBezTo>
                      <a:pt x="84" y="142"/>
                      <a:pt x="90" y="144"/>
                      <a:pt x="90" y="144"/>
                    </a:cubicBezTo>
                    <a:cubicBezTo>
                      <a:pt x="90" y="144"/>
                      <a:pt x="90" y="146"/>
                      <a:pt x="95" y="146"/>
                    </a:cubicBezTo>
                    <a:cubicBezTo>
                      <a:pt x="100" y="146"/>
                      <a:pt x="103" y="144"/>
                      <a:pt x="103" y="148"/>
                    </a:cubicBezTo>
                    <a:cubicBezTo>
                      <a:pt x="103" y="151"/>
                      <a:pt x="103" y="155"/>
                      <a:pt x="105" y="157"/>
                    </a:cubicBezTo>
                    <a:cubicBezTo>
                      <a:pt x="106" y="158"/>
                      <a:pt x="101" y="171"/>
                      <a:pt x="103" y="173"/>
                    </a:cubicBezTo>
                    <a:cubicBezTo>
                      <a:pt x="106" y="175"/>
                      <a:pt x="109" y="179"/>
                      <a:pt x="109" y="182"/>
                    </a:cubicBezTo>
                    <a:cubicBezTo>
                      <a:pt x="108" y="184"/>
                      <a:pt x="107" y="190"/>
                      <a:pt x="109" y="191"/>
                    </a:cubicBezTo>
                    <a:cubicBezTo>
                      <a:pt x="111" y="191"/>
                      <a:pt x="111" y="188"/>
                      <a:pt x="115" y="188"/>
                    </a:cubicBezTo>
                    <a:cubicBezTo>
                      <a:pt x="118" y="188"/>
                      <a:pt x="121" y="188"/>
                      <a:pt x="125" y="187"/>
                    </a:cubicBezTo>
                    <a:cubicBezTo>
                      <a:pt x="126" y="186"/>
                      <a:pt x="127" y="187"/>
                      <a:pt x="128" y="187"/>
                    </a:cubicBezTo>
                    <a:cubicBezTo>
                      <a:pt x="130" y="188"/>
                      <a:pt x="131" y="190"/>
                      <a:pt x="131" y="190"/>
                    </a:cubicBezTo>
                    <a:cubicBezTo>
                      <a:pt x="131" y="190"/>
                      <a:pt x="132" y="193"/>
                      <a:pt x="134" y="192"/>
                    </a:cubicBezTo>
                    <a:cubicBezTo>
                      <a:pt x="136" y="191"/>
                      <a:pt x="141" y="190"/>
                      <a:pt x="141" y="192"/>
                    </a:cubicBezTo>
                    <a:cubicBezTo>
                      <a:pt x="140" y="194"/>
                      <a:pt x="142" y="198"/>
                      <a:pt x="144" y="197"/>
                    </a:cubicBezTo>
                    <a:cubicBezTo>
                      <a:pt x="146" y="196"/>
                      <a:pt x="151" y="200"/>
                      <a:pt x="154" y="200"/>
                    </a:cubicBezTo>
                    <a:cubicBezTo>
                      <a:pt x="156" y="200"/>
                      <a:pt x="159" y="200"/>
                      <a:pt x="159" y="199"/>
                    </a:cubicBezTo>
                    <a:cubicBezTo>
                      <a:pt x="159" y="197"/>
                      <a:pt x="162" y="195"/>
                      <a:pt x="163" y="197"/>
                    </a:cubicBezTo>
                    <a:cubicBezTo>
                      <a:pt x="164" y="199"/>
                      <a:pt x="166" y="203"/>
                      <a:pt x="169" y="203"/>
                    </a:cubicBezTo>
                    <a:cubicBezTo>
                      <a:pt x="171" y="203"/>
                      <a:pt x="177" y="203"/>
                      <a:pt x="177" y="205"/>
                    </a:cubicBezTo>
                    <a:cubicBezTo>
                      <a:pt x="177" y="207"/>
                      <a:pt x="179" y="213"/>
                      <a:pt x="182" y="215"/>
                    </a:cubicBezTo>
                    <a:cubicBezTo>
                      <a:pt x="184" y="217"/>
                      <a:pt x="190" y="215"/>
                      <a:pt x="190" y="215"/>
                    </a:cubicBezTo>
                    <a:cubicBezTo>
                      <a:pt x="190" y="215"/>
                      <a:pt x="192" y="213"/>
                      <a:pt x="192" y="210"/>
                    </a:cubicBezTo>
                    <a:cubicBezTo>
                      <a:pt x="192" y="206"/>
                      <a:pt x="192" y="202"/>
                      <a:pt x="190" y="202"/>
                    </a:cubicBezTo>
                    <a:cubicBezTo>
                      <a:pt x="189" y="202"/>
                      <a:pt x="186" y="205"/>
                      <a:pt x="183" y="204"/>
                    </a:cubicBezTo>
                    <a:cubicBezTo>
                      <a:pt x="179" y="203"/>
                      <a:pt x="177" y="196"/>
                      <a:pt x="175" y="195"/>
                    </a:cubicBezTo>
                    <a:cubicBezTo>
                      <a:pt x="174" y="194"/>
                      <a:pt x="178" y="188"/>
                      <a:pt x="178" y="185"/>
                    </a:cubicBezTo>
                    <a:cubicBezTo>
                      <a:pt x="178" y="182"/>
                      <a:pt x="180" y="173"/>
                      <a:pt x="178" y="172"/>
                    </a:cubicBezTo>
                    <a:cubicBezTo>
                      <a:pt x="176" y="171"/>
                      <a:pt x="177" y="168"/>
                      <a:pt x="180" y="166"/>
                    </a:cubicBezTo>
                    <a:cubicBezTo>
                      <a:pt x="182" y="164"/>
                      <a:pt x="179" y="159"/>
                      <a:pt x="183" y="159"/>
                    </a:cubicBezTo>
                    <a:cubicBezTo>
                      <a:pt x="187" y="159"/>
                      <a:pt x="194" y="159"/>
                      <a:pt x="196" y="157"/>
                    </a:cubicBezTo>
                    <a:cubicBezTo>
                      <a:pt x="197" y="157"/>
                      <a:pt x="197" y="157"/>
                      <a:pt x="197" y="156"/>
                    </a:cubicBezTo>
                    <a:cubicBezTo>
                      <a:pt x="197" y="156"/>
                      <a:pt x="197" y="155"/>
                      <a:pt x="198" y="155"/>
                    </a:cubicBezTo>
                    <a:cubicBezTo>
                      <a:pt x="195" y="150"/>
                      <a:pt x="192" y="145"/>
                      <a:pt x="189" y="14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8" name="Freeform 166">
                <a:extLst>
                  <a:ext uri="{FF2B5EF4-FFF2-40B4-BE49-F238E27FC236}">
                    <a16:creationId xmlns:a16="http://schemas.microsoft.com/office/drawing/2014/main" id="{7B89CEE7-9F75-49EB-AF31-DFF9005A13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9200" y="4173538"/>
                <a:ext cx="39687" cy="52388"/>
              </a:xfrm>
              <a:custGeom>
                <a:avLst/>
                <a:gdLst>
                  <a:gd name="T0" fmla="*/ 1 w 18"/>
                  <a:gd name="T1" fmla="*/ 12 h 24"/>
                  <a:gd name="T2" fmla="*/ 4 w 18"/>
                  <a:gd name="T3" fmla="*/ 24 h 24"/>
                  <a:gd name="T4" fmla="*/ 9 w 18"/>
                  <a:gd name="T5" fmla="*/ 21 h 24"/>
                  <a:gd name="T6" fmla="*/ 18 w 18"/>
                  <a:gd name="T7" fmla="*/ 8 h 24"/>
                  <a:gd name="T8" fmla="*/ 15 w 18"/>
                  <a:gd name="T9" fmla="*/ 6 h 24"/>
                  <a:gd name="T10" fmla="*/ 15 w 18"/>
                  <a:gd name="T11" fmla="*/ 0 h 24"/>
                  <a:gd name="T12" fmla="*/ 10 w 18"/>
                  <a:gd name="T13" fmla="*/ 1 h 24"/>
                  <a:gd name="T14" fmla="*/ 4 w 18"/>
                  <a:gd name="T15" fmla="*/ 4 h 24"/>
                  <a:gd name="T16" fmla="*/ 0 w 18"/>
                  <a:gd name="T17" fmla="*/ 4 h 24"/>
                  <a:gd name="T18" fmla="*/ 1 w 18"/>
                  <a:gd name="T19" fmla="*/ 4 h 24"/>
                  <a:gd name="T20" fmla="*/ 1 w 18"/>
                  <a:gd name="T2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24">
                    <a:moveTo>
                      <a:pt x="1" y="12"/>
                    </a:moveTo>
                    <a:cubicBezTo>
                      <a:pt x="2" y="14"/>
                      <a:pt x="3" y="19"/>
                      <a:pt x="4" y="24"/>
                    </a:cubicBezTo>
                    <a:cubicBezTo>
                      <a:pt x="6" y="23"/>
                      <a:pt x="8" y="22"/>
                      <a:pt x="9" y="21"/>
                    </a:cubicBezTo>
                    <a:cubicBezTo>
                      <a:pt x="12" y="20"/>
                      <a:pt x="18" y="8"/>
                      <a:pt x="18" y="8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6"/>
                      <a:pt x="16" y="4"/>
                      <a:pt x="15" y="0"/>
                    </a:cubicBezTo>
                    <a:cubicBezTo>
                      <a:pt x="12" y="1"/>
                      <a:pt x="10" y="1"/>
                      <a:pt x="10" y="1"/>
                    </a:cubicBezTo>
                    <a:cubicBezTo>
                      <a:pt x="10" y="1"/>
                      <a:pt x="10" y="5"/>
                      <a:pt x="4" y="4"/>
                    </a:cubicBezTo>
                    <a:cubicBezTo>
                      <a:pt x="3" y="4"/>
                      <a:pt x="2" y="4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lnTo>
                      <a:pt x="1" y="12"/>
                    </a:ln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89" name="Freeform 167">
                <a:extLst>
                  <a:ext uri="{FF2B5EF4-FFF2-40B4-BE49-F238E27FC236}">
                    <a16:creationId xmlns:a16="http://schemas.microsoft.com/office/drawing/2014/main" id="{DE7B8B66-702F-4B12-AE0B-C8A3F18A9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8" y="4376738"/>
                <a:ext cx="261937" cy="427038"/>
              </a:xfrm>
              <a:custGeom>
                <a:avLst/>
                <a:gdLst>
                  <a:gd name="T0" fmla="*/ 119 w 120"/>
                  <a:gd name="T1" fmla="*/ 50 h 194"/>
                  <a:gd name="T2" fmla="*/ 116 w 120"/>
                  <a:gd name="T3" fmla="*/ 28 h 194"/>
                  <a:gd name="T4" fmla="*/ 115 w 120"/>
                  <a:gd name="T5" fmla="*/ 1 h 194"/>
                  <a:gd name="T6" fmla="*/ 115 w 120"/>
                  <a:gd name="T7" fmla="*/ 0 h 194"/>
                  <a:gd name="T8" fmla="*/ 103 w 120"/>
                  <a:gd name="T9" fmla="*/ 7 h 194"/>
                  <a:gd name="T10" fmla="*/ 95 w 120"/>
                  <a:gd name="T11" fmla="*/ 9 h 194"/>
                  <a:gd name="T12" fmla="*/ 88 w 120"/>
                  <a:gd name="T13" fmla="*/ 9 h 194"/>
                  <a:gd name="T14" fmla="*/ 85 w 120"/>
                  <a:gd name="T15" fmla="*/ 13 h 194"/>
                  <a:gd name="T16" fmla="*/ 78 w 120"/>
                  <a:gd name="T17" fmla="*/ 14 h 194"/>
                  <a:gd name="T18" fmla="*/ 68 w 120"/>
                  <a:gd name="T19" fmla="*/ 15 h 194"/>
                  <a:gd name="T20" fmla="*/ 65 w 120"/>
                  <a:gd name="T21" fmla="*/ 12 h 194"/>
                  <a:gd name="T22" fmla="*/ 58 w 120"/>
                  <a:gd name="T23" fmla="*/ 13 h 194"/>
                  <a:gd name="T24" fmla="*/ 51 w 120"/>
                  <a:gd name="T25" fmla="*/ 12 h 194"/>
                  <a:gd name="T26" fmla="*/ 51 w 120"/>
                  <a:gd name="T27" fmla="*/ 16 h 194"/>
                  <a:gd name="T28" fmla="*/ 56 w 120"/>
                  <a:gd name="T29" fmla="*/ 40 h 194"/>
                  <a:gd name="T30" fmla="*/ 63 w 120"/>
                  <a:gd name="T31" fmla="*/ 47 h 194"/>
                  <a:gd name="T32" fmla="*/ 63 w 120"/>
                  <a:gd name="T33" fmla="*/ 58 h 194"/>
                  <a:gd name="T34" fmla="*/ 57 w 120"/>
                  <a:gd name="T35" fmla="*/ 65 h 194"/>
                  <a:gd name="T36" fmla="*/ 56 w 120"/>
                  <a:gd name="T37" fmla="*/ 76 h 194"/>
                  <a:gd name="T38" fmla="*/ 45 w 120"/>
                  <a:gd name="T39" fmla="*/ 62 h 194"/>
                  <a:gd name="T40" fmla="*/ 48 w 120"/>
                  <a:gd name="T41" fmla="*/ 47 h 194"/>
                  <a:gd name="T42" fmla="*/ 39 w 120"/>
                  <a:gd name="T43" fmla="*/ 46 h 194"/>
                  <a:gd name="T44" fmla="*/ 31 w 120"/>
                  <a:gd name="T45" fmla="*/ 41 h 194"/>
                  <a:gd name="T46" fmla="*/ 0 w 120"/>
                  <a:gd name="T47" fmla="*/ 52 h 194"/>
                  <a:gd name="T48" fmla="*/ 2 w 120"/>
                  <a:gd name="T49" fmla="*/ 60 h 194"/>
                  <a:gd name="T50" fmla="*/ 1 w 120"/>
                  <a:gd name="T51" fmla="*/ 60 h 194"/>
                  <a:gd name="T52" fmla="*/ 3 w 120"/>
                  <a:gd name="T53" fmla="*/ 64 h 194"/>
                  <a:gd name="T54" fmla="*/ 17 w 120"/>
                  <a:gd name="T55" fmla="*/ 67 h 194"/>
                  <a:gd name="T56" fmla="*/ 30 w 120"/>
                  <a:gd name="T57" fmla="*/ 72 h 194"/>
                  <a:gd name="T58" fmla="*/ 31 w 120"/>
                  <a:gd name="T59" fmla="*/ 89 h 194"/>
                  <a:gd name="T60" fmla="*/ 28 w 120"/>
                  <a:gd name="T61" fmla="*/ 99 h 194"/>
                  <a:gd name="T62" fmla="*/ 31 w 120"/>
                  <a:gd name="T63" fmla="*/ 108 h 194"/>
                  <a:gd name="T64" fmla="*/ 25 w 120"/>
                  <a:gd name="T65" fmla="*/ 116 h 194"/>
                  <a:gd name="T66" fmla="*/ 22 w 120"/>
                  <a:gd name="T67" fmla="*/ 127 h 194"/>
                  <a:gd name="T68" fmla="*/ 11 w 120"/>
                  <a:gd name="T69" fmla="*/ 139 h 194"/>
                  <a:gd name="T70" fmla="*/ 11 w 120"/>
                  <a:gd name="T71" fmla="*/ 139 h 194"/>
                  <a:gd name="T72" fmla="*/ 18 w 120"/>
                  <a:gd name="T73" fmla="*/ 160 h 194"/>
                  <a:gd name="T74" fmla="*/ 19 w 120"/>
                  <a:gd name="T75" fmla="*/ 181 h 194"/>
                  <a:gd name="T76" fmla="*/ 21 w 120"/>
                  <a:gd name="T77" fmla="*/ 194 h 194"/>
                  <a:gd name="T78" fmla="*/ 29 w 120"/>
                  <a:gd name="T79" fmla="*/ 193 h 194"/>
                  <a:gd name="T80" fmla="*/ 30 w 120"/>
                  <a:gd name="T81" fmla="*/ 187 h 194"/>
                  <a:gd name="T82" fmla="*/ 25 w 120"/>
                  <a:gd name="T83" fmla="*/ 183 h 194"/>
                  <a:gd name="T84" fmla="*/ 43 w 120"/>
                  <a:gd name="T85" fmla="*/ 170 h 194"/>
                  <a:gd name="T86" fmla="*/ 57 w 120"/>
                  <a:gd name="T87" fmla="*/ 161 h 194"/>
                  <a:gd name="T88" fmla="*/ 58 w 120"/>
                  <a:gd name="T89" fmla="*/ 145 h 194"/>
                  <a:gd name="T90" fmla="*/ 56 w 120"/>
                  <a:gd name="T91" fmla="*/ 131 h 194"/>
                  <a:gd name="T92" fmla="*/ 51 w 120"/>
                  <a:gd name="T93" fmla="*/ 116 h 194"/>
                  <a:gd name="T94" fmla="*/ 52 w 120"/>
                  <a:gd name="T95" fmla="*/ 108 h 194"/>
                  <a:gd name="T96" fmla="*/ 58 w 120"/>
                  <a:gd name="T97" fmla="*/ 102 h 194"/>
                  <a:gd name="T98" fmla="*/ 67 w 120"/>
                  <a:gd name="T99" fmla="*/ 96 h 194"/>
                  <a:gd name="T100" fmla="*/ 79 w 120"/>
                  <a:gd name="T101" fmla="*/ 83 h 194"/>
                  <a:gd name="T102" fmla="*/ 101 w 120"/>
                  <a:gd name="T103" fmla="*/ 73 h 194"/>
                  <a:gd name="T104" fmla="*/ 119 w 120"/>
                  <a:gd name="T105" fmla="*/ 5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0" h="194">
                    <a:moveTo>
                      <a:pt x="119" y="50"/>
                    </a:moveTo>
                    <a:cubicBezTo>
                      <a:pt x="118" y="47"/>
                      <a:pt x="115" y="33"/>
                      <a:pt x="116" y="28"/>
                    </a:cubicBezTo>
                    <a:cubicBezTo>
                      <a:pt x="117" y="22"/>
                      <a:pt x="115" y="8"/>
                      <a:pt x="115" y="1"/>
                    </a:cubicBezTo>
                    <a:cubicBezTo>
                      <a:pt x="115" y="1"/>
                      <a:pt x="115" y="1"/>
                      <a:pt x="115" y="0"/>
                    </a:cubicBezTo>
                    <a:cubicBezTo>
                      <a:pt x="109" y="3"/>
                      <a:pt x="103" y="6"/>
                      <a:pt x="103" y="7"/>
                    </a:cubicBezTo>
                    <a:cubicBezTo>
                      <a:pt x="102" y="9"/>
                      <a:pt x="98" y="7"/>
                      <a:pt x="95" y="9"/>
                    </a:cubicBezTo>
                    <a:cubicBezTo>
                      <a:pt x="92" y="11"/>
                      <a:pt x="91" y="9"/>
                      <a:pt x="88" y="9"/>
                    </a:cubicBezTo>
                    <a:cubicBezTo>
                      <a:pt x="86" y="8"/>
                      <a:pt x="85" y="11"/>
                      <a:pt x="85" y="13"/>
                    </a:cubicBezTo>
                    <a:cubicBezTo>
                      <a:pt x="84" y="15"/>
                      <a:pt x="80" y="14"/>
                      <a:pt x="78" y="14"/>
                    </a:cubicBezTo>
                    <a:cubicBezTo>
                      <a:pt x="76" y="13"/>
                      <a:pt x="71" y="15"/>
                      <a:pt x="68" y="15"/>
                    </a:cubicBezTo>
                    <a:cubicBezTo>
                      <a:pt x="66" y="15"/>
                      <a:pt x="68" y="13"/>
                      <a:pt x="65" y="12"/>
                    </a:cubicBezTo>
                    <a:cubicBezTo>
                      <a:pt x="62" y="11"/>
                      <a:pt x="60" y="13"/>
                      <a:pt x="58" y="13"/>
                    </a:cubicBezTo>
                    <a:cubicBezTo>
                      <a:pt x="57" y="13"/>
                      <a:pt x="54" y="13"/>
                      <a:pt x="51" y="12"/>
                    </a:cubicBezTo>
                    <a:cubicBezTo>
                      <a:pt x="51" y="14"/>
                      <a:pt x="51" y="15"/>
                      <a:pt x="51" y="16"/>
                    </a:cubicBezTo>
                    <a:cubicBezTo>
                      <a:pt x="49" y="22"/>
                      <a:pt x="55" y="35"/>
                      <a:pt x="56" y="40"/>
                    </a:cubicBezTo>
                    <a:cubicBezTo>
                      <a:pt x="58" y="42"/>
                      <a:pt x="61" y="45"/>
                      <a:pt x="63" y="47"/>
                    </a:cubicBezTo>
                    <a:cubicBezTo>
                      <a:pt x="66" y="50"/>
                      <a:pt x="63" y="50"/>
                      <a:pt x="63" y="58"/>
                    </a:cubicBezTo>
                    <a:cubicBezTo>
                      <a:pt x="63" y="66"/>
                      <a:pt x="60" y="63"/>
                      <a:pt x="57" y="65"/>
                    </a:cubicBezTo>
                    <a:cubicBezTo>
                      <a:pt x="54" y="68"/>
                      <a:pt x="56" y="74"/>
                      <a:pt x="56" y="76"/>
                    </a:cubicBezTo>
                    <a:cubicBezTo>
                      <a:pt x="55" y="77"/>
                      <a:pt x="46" y="64"/>
                      <a:pt x="45" y="62"/>
                    </a:cubicBezTo>
                    <a:cubicBezTo>
                      <a:pt x="45" y="60"/>
                      <a:pt x="49" y="52"/>
                      <a:pt x="48" y="47"/>
                    </a:cubicBezTo>
                    <a:cubicBezTo>
                      <a:pt x="47" y="43"/>
                      <a:pt x="41" y="46"/>
                      <a:pt x="39" y="46"/>
                    </a:cubicBezTo>
                    <a:cubicBezTo>
                      <a:pt x="37" y="46"/>
                      <a:pt x="32" y="41"/>
                      <a:pt x="31" y="41"/>
                    </a:cubicBezTo>
                    <a:cubicBezTo>
                      <a:pt x="30" y="41"/>
                      <a:pt x="0" y="52"/>
                      <a:pt x="0" y="52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13" y="64"/>
                      <a:pt x="17" y="67"/>
                    </a:cubicBezTo>
                    <a:cubicBezTo>
                      <a:pt x="22" y="70"/>
                      <a:pt x="29" y="71"/>
                      <a:pt x="30" y="72"/>
                    </a:cubicBezTo>
                    <a:cubicBezTo>
                      <a:pt x="32" y="73"/>
                      <a:pt x="30" y="84"/>
                      <a:pt x="31" y="89"/>
                    </a:cubicBezTo>
                    <a:cubicBezTo>
                      <a:pt x="31" y="95"/>
                      <a:pt x="25" y="96"/>
                      <a:pt x="28" y="99"/>
                    </a:cubicBezTo>
                    <a:cubicBezTo>
                      <a:pt x="31" y="102"/>
                      <a:pt x="29" y="107"/>
                      <a:pt x="31" y="108"/>
                    </a:cubicBezTo>
                    <a:cubicBezTo>
                      <a:pt x="33" y="108"/>
                      <a:pt x="28" y="115"/>
                      <a:pt x="25" y="116"/>
                    </a:cubicBezTo>
                    <a:cubicBezTo>
                      <a:pt x="23" y="118"/>
                      <a:pt x="25" y="123"/>
                      <a:pt x="22" y="127"/>
                    </a:cubicBezTo>
                    <a:cubicBezTo>
                      <a:pt x="20" y="130"/>
                      <a:pt x="15" y="135"/>
                      <a:pt x="11" y="139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2" y="141"/>
                      <a:pt x="15" y="158"/>
                      <a:pt x="18" y="160"/>
                    </a:cubicBezTo>
                    <a:cubicBezTo>
                      <a:pt x="21" y="162"/>
                      <a:pt x="20" y="179"/>
                      <a:pt x="19" y="181"/>
                    </a:cubicBezTo>
                    <a:cubicBezTo>
                      <a:pt x="19" y="182"/>
                      <a:pt x="21" y="194"/>
                      <a:pt x="21" y="194"/>
                    </a:cubicBezTo>
                    <a:cubicBezTo>
                      <a:pt x="21" y="194"/>
                      <a:pt x="25" y="193"/>
                      <a:pt x="29" y="193"/>
                    </a:cubicBezTo>
                    <a:cubicBezTo>
                      <a:pt x="29" y="191"/>
                      <a:pt x="29" y="189"/>
                      <a:pt x="30" y="187"/>
                    </a:cubicBezTo>
                    <a:cubicBezTo>
                      <a:pt x="30" y="182"/>
                      <a:pt x="26" y="186"/>
                      <a:pt x="25" y="183"/>
                    </a:cubicBezTo>
                    <a:cubicBezTo>
                      <a:pt x="24" y="180"/>
                      <a:pt x="33" y="174"/>
                      <a:pt x="43" y="170"/>
                    </a:cubicBezTo>
                    <a:cubicBezTo>
                      <a:pt x="52" y="167"/>
                      <a:pt x="56" y="165"/>
                      <a:pt x="57" y="161"/>
                    </a:cubicBezTo>
                    <a:cubicBezTo>
                      <a:pt x="58" y="158"/>
                      <a:pt x="57" y="149"/>
                      <a:pt x="58" y="145"/>
                    </a:cubicBezTo>
                    <a:cubicBezTo>
                      <a:pt x="59" y="141"/>
                      <a:pt x="57" y="139"/>
                      <a:pt x="56" y="131"/>
                    </a:cubicBezTo>
                    <a:cubicBezTo>
                      <a:pt x="55" y="122"/>
                      <a:pt x="52" y="121"/>
                      <a:pt x="51" y="116"/>
                    </a:cubicBezTo>
                    <a:cubicBezTo>
                      <a:pt x="49" y="112"/>
                      <a:pt x="50" y="108"/>
                      <a:pt x="52" y="108"/>
                    </a:cubicBezTo>
                    <a:cubicBezTo>
                      <a:pt x="55" y="108"/>
                      <a:pt x="55" y="106"/>
                      <a:pt x="58" y="102"/>
                    </a:cubicBezTo>
                    <a:cubicBezTo>
                      <a:pt x="60" y="97"/>
                      <a:pt x="63" y="99"/>
                      <a:pt x="67" y="96"/>
                    </a:cubicBezTo>
                    <a:cubicBezTo>
                      <a:pt x="72" y="93"/>
                      <a:pt x="72" y="88"/>
                      <a:pt x="79" y="83"/>
                    </a:cubicBezTo>
                    <a:cubicBezTo>
                      <a:pt x="86" y="77"/>
                      <a:pt x="94" y="78"/>
                      <a:pt x="101" y="73"/>
                    </a:cubicBezTo>
                    <a:cubicBezTo>
                      <a:pt x="108" y="69"/>
                      <a:pt x="120" y="53"/>
                      <a:pt x="119" y="5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0" name="Freeform 168">
                <a:extLst>
                  <a:ext uri="{FF2B5EF4-FFF2-40B4-BE49-F238E27FC236}">
                    <a16:creationId xmlns:a16="http://schemas.microsoft.com/office/drawing/2014/main" id="{488C60FC-FA97-4812-AE14-C4F2EA33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7138" y="4138613"/>
                <a:ext cx="271462" cy="271463"/>
              </a:xfrm>
              <a:custGeom>
                <a:avLst/>
                <a:gdLst>
                  <a:gd name="T0" fmla="*/ 115 w 123"/>
                  <a:gd name="T1" fmla="*/ 99 h 124"/>
                  <a:gd name="T2" fmla="*/ 111 w 123"/>
                  <a:gd name="T3" fmla="*/ 88 h 124"/>
                  <a:gd name="T4" fmla="*/ 110 w 123"/>
                  <a:gd name="T5" fmla="*/ 78 h 124"/>
                  <a:gd name="T6" fmla="*/ 112 w 123"/>
                  <a:gd name="T7" fmla="*/ 70 h 124"/>
                  <a:gd name="T8" fmla="*/ 106 w 123"/>
                  <a:gd name="T9" fmla="*/ 60 h 124"/>
                  <a:gd name="T10" fmla="*/ 110 w 123"/>
                  <a:gd name="T11" fmla="*/ 43 h 124"/>
                  <a:gd name="T12" fmla="*/ 92 w 123"/>
                  <a:gd name="T13" fmla="*/ 30 h 124"/>
                  <a:gd name="T14" fmla="*/ 92 w 123"/>
                  <a:gd name="T15" fmla="*/ 23 h 124"/>
                  <a:gd name="T16" fmla="*/ 50 w 123"/>
                  <a:gd name="T17" fmla="*/ 0 h 124"/>
                  <a:gd name="T18" fmla="*/ 44 w 123"/>
                  <a:gd name="T19" fmla="*/ 11 h 124"/>
                  <a:gd name="T20" fmla="*/ 45 w 123"/>
                  <a:gd name="T21" fmla="*/ 18 h 124"/>
                  <a:gd name="T22" fmla="*/ 27 w 123"/>
                  <a:gd name="T23" fmla="*/ 17 h 124"/>
                  <a:gd name="T24" fmla="*/ 27 w 123"/>
                  <a:gd name="T25" fmla="*/ 0 h 124"/>
                  <a:gd name="T26" fmla="*/ 17 w 123"/>
                  <a:gd name="T27" fmla="*/ 0 h 124"/>
                  <a:gd name="T28" fmla="*/ 12 w 123"/>
                  <a:gd name="T29" fmla="*/ 2 h 124"/>
                  <a:gd name="T30" fmla="*/ 14 w 123"/>
                  <a:gd name="T31" fmla="*/ 7 h 124"/>
                  <a:gd name="T32" fmla="*/ 15 w 123"/>
                  <a:gd name="T33" fmla="*/ 14 h 124"/>
                  <a:gd name="T34" fmla="*/ 11 w 123"/>
                  <a:gd name="T35" fmla="*/ 16 h 124"/>
                  <a:gd name="T36" fmla="*/ 11 w 123"/>
                  <a:gd name="T37" fmla="*/ 22 h 124"/>
                  <a:gd name="T38" fmla="*/ 14 w 123"/>
                  <a:gd name="T39" fmla="*/ 24 h 124"/>
                  <a:gd name="T40" fmla="*/ 5 w 123"/>
                  <a:gd name="T41" fmla="*/ 37 h 124"/>
                  <a:gd name="T42" fmla="*/ 0 w 123"/>
                  <a:gd name="T43" fmla="*/ 40 h 124"/>
                  <a:gd name="T44" fmla="*/ 7 w 123"/>
                  <a:gd name="T45" fmla="*/ 62 h 124"/>
                  <a:gd name="T46" fmla="*/ 13 w 123"/>
                  <a:gd name="T47" fmla="*/ 76 h 124"/>
                  <a:gd name="T48" fmla="*/ 16 w 123"/>
                  <a:gd name="T49" fmla="*/ 85 h 124"/>
                  <a:gd name="T50" fmla="*/ 10 w 123"/>
                  <a:gd name="T51" fmla="*/ 81 h 124"/>
                  <a:gd name="T52" fmla="*/ 9 w 123"/>
                  <a:gd name="T53" fmla="*/ 82 h 124"/>
                  <a:gd name="T54" fmla="*/ 8 w 123"/>
                  <a:gd name="T55" fmla="*/ 83 h 124"/>
                  <a:gd name="T56" fmla="*/ 17 w 123"/>
                  <a:gd name="T57" fmla="*/ 88 h 124"/>
                  <a:gd name="T58" fmla="*/ 27 w 123"/>
                  <a:gd name="T59" fmla="*/ 92 h 124"/>
                  <a:gd name="T60" fmla="*/ 41 w 123"/>
                  <a:gd name="T61" fmla="*/ 98 h 124"/>
                  <a:gd name="T62" fmla="*/ 42 w 123"/>
                  <a:gd name="T63" fmla="*/ 99 h 124"/>
                  <a:gd name="T64" fmla="*/ 50 w 123"/>
                  <a:gd name="T65" fmla="*/ 99 h 124"/>
                  <a:gd name="T66" fmla="*/ 51 w 123"/>
                  <a:gd name="T67" fmla="*/ 98 h 124"/>
                  <a:gd name="T68" fmla="*/ 59 w 123"/>
                  <a:gd name="T69" fmla="*/ 121 h 124"/>
                  <a:gd name="T70" fmla="*/ 66 w 123"/>
                  <a:gd name="T71" fmla="*/ 122 h 124"/>
                  <a:gd name="T72" fmla="*/ 73 w 123"/>
                  <a:gd name="T73" fmla="*/ 121 h 124"/>
                  <a:gd name="T74" fmla="*/ 76 w 123"/>
                  <a:gd name="T75" fmla="*/ 124 h 124"/>
                  <a:gd name="T76" fmla="*/ 86 w 123"/>
                  <a:gd name="T77" fmla="*/ 123 h 124"/>
                  <a:gd name="T78" fmla="*/ 93 w 123"/>
                  <a:gd name="T79" fmla="*/ 122 h 124"/>
                  <a:gd name="T80" fmla="*/ 96 w 123"/>
                  <a:gd name="T81" fmla="*/ 118 h 124"/>
                  <a:gd name="T82" fmla="*/ 103 w 123"/>
                  <a:gd name="T83" fmla="*/ 118 h 124"/>
                  <a:gd name="T84" fmla="*/ 111 w 123"/>
                  <a:gd name="T85" fmla="*/ 116 h 124"/>
                  <a:gd name="T86" fmla="*/ 123 w 123"/>
                  <a:gd name="T87" fmla="*/ 109 h 124"/>
                  <a:gd name="T88" fmla="*/ 115 w 123"/>
                  <a:gd name="T89" fmla="*/ 99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3" h="124">
                    <a:moveTo>
                      <a:pt x="115" y="99"/>
                    </a:moveTo>
                    <a:cubicBezTo>
                      <a:pt x="115" y="92"/>
                      <a:pt x="111" y="92"/>
                      <a:pt x="111" y="88"/>
                    </a:cubicBezTo>
                    <a:cubicBezTo>
                      <a:pt x="111" y="83"/>
                      <a:pt x="111" y="79"/>
                      <a:pt x="110" y="78"/>
                    </a:cubicBezTo>
                    <a:cubicBezTo>
                      <a:pt x="108" y="78"/>
                      <a:pt x="109" y="74"/>
                      <a:pt x="112" y="70"/>
                    </a:cubicBezTo>
                    <a:cubicBezTo>
                      <a:pt x="114" y="66"/>
                      <a:pt x="107" y="65"/>
                      <a:pt x="106" y="60"/>
                    </a:cubicBezTo>
                    <a:cubicBezTo>
                      <a:pt x="105" y="58"/>
                      <a:pt x="107" y="51"/>
                      <a:pt x="110" y="43"/>
                    </a:cubicBezTo>
                    <a:cubicBezTo>
                      <a:pt x="101" y="37"/>
                      <a:pt x="92" y="30"/>
                      <a:pt x="92" y="30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49" y="5"/>
                      <a:pt x="47" y="10"/>
                      <a:pt x="44" y="11"/>
                    </a:cubicBezTo>
                    <a:cubicBezTo>
                      <a:pt x="41" y="12"/>
                      <a:pt x="49" y="17"/>
                      <a:pt x="45" y="18"/>
                    </a:cubicBezTo>
                    <a:cubicBezTo>
                      <a:pt x="41" y="19"/>
                      <a:pt x="33" y="14"/>
                      <a:pt x="27" y="17"/>
                    </a:cubicBezTo>
                    <a:cubicBezTo>
                      <a:pt x="23" y="19"/>
                      <a:pt x="23" y="9"/>
                      <a:pt x="2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5" y="1"/>
                      <a:pt x="12" y="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6" y="11"/>
                      <a:pt x="15" y="14"/>
                    </a:cubicBezTo>
                    <a:cubicBezTo>
                      <a:pt x="15" y="16"/>
                      <a:pt x="13" y="16"/>
                      <a:pt x="11" y="16"/>
                    </a:cubicBezTo>
                    <a:cubicBezTo>
                      <a:pt x="12" y="20"/>
                      <a:pt x="11" y="22"/>
                      <a:pt x="11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4"/>
                      <a:pt x="8" y="36"/>
                      <a:pt x="5" y="37"/>
                    </a:cubicBezTo>
                    <a:cubicBezTo>
                      <a:pt x="4" y="38"/>
                      <a:pt x="2" y="39"/>
                      <a:pt x="0" y="40"/>
                    </a:cubicBezTo>
                    <a:cubicBezTo>
                      <a:pt x="2" y="49"/>
                      <a:pt x="4" y="59"/>
                      <a:pt x="7" y="62"/>
                    </a:cubicBezTo>
                    <a:cubicBezTo>
                      <a:pt x="13" y="67"/>
                      <a:pt x="12" y="73"/>
                      <a:pt x="13" y="76"/>
                    </a:cubicBezTo>
                    <a:cubicBezTo>
                      <a:pt x="14" y="80"/>
                      <a:pt x="19" y="84"/>
                      <a:pt x="16" y="85"/>
                    </a:cubicBezTo>
                    <a:cubicBezTo>
                      <a:pt x="14" y="86"/>
                      <a:pt x="12" y="84"/>
                      <a:pt x="10" y="81"/>
                    </a:cubicBezTo>
                    <a:cubicBezTo>
                      <a:pt x="9" y="81"/>
                      <a:pt x="9" y="82"/>
                      <a:pt x="9" y="82"/>
                    </a:cubicBezTo>
                    <a:cubicBezTo>
                      <a:pt x="9" y="83"/>
                      <a:pt x="9" y="83"/>
                      <a:pt x="8" y="83"/>
                    </a:cubicBezTo>
                    <a:cubicBezTo>
                      <a:pt x="11" y="85"/>
                      <a:pt x="15" y="88"/>
                      <a:pt x="17" y="88"/>
                    </a:cubicBezTo>
                    <a:cubicBezTo>
                      <a:pt x="19" y="88"/>
                      <a:pt x="24" y="91"/>
                      <a:pt x="27" y="92"/>
                    </a:cubicBezTo>
                    <a:cubicBezTo>
                      <a:pt x="30" y="92"/>
                      <a:pt x="40" y="96"/>
                      <a:pt x="41" y="98"/>
                    </a:cubicBezTo>
                    <a:cubicBezTo>
                      <a:pt x="42" y="98"/>
                      <a:pt x="42" y="99"/>
                      <a:pt x="42" y="99"/>
                    </a:cubicBezTo>
                    <a:cubicBezTo>
                      <a:pt x="45" y="99"/>
                      <a:pt x="48" y="99"/>
                      <a:pt x="50" y="99"/>
                    </a:cubicBezTo>
                    <a:cubicBezTo>
                      <a:pt x="50" y="99"/>
                      <a:pt x="51" y="98"/>
                      <a:pt x="51" y="98"/>
                    </a:cubicBezTo>
                    <a:cubicBezTo>
                      <a:pt x="55" y="98"/>
                      <a:pt x="60" y="113"/>
                      <a:pt x="59" y="121"/>
                    </a:cubicBezTo>
                    <a:cubicBezTo>
                      <a:pt x="62" y="122"/>
                      <a:pt x="65" y="122"/>
                      <a:pt x="66" y="122"/>
                    </a:cubicBezTo>
                    <a:cubicBezTo>
                      <a:pt x="68" y="122"/>
                      <a:pt x="70" y="120"/>
                      <a:pt x="73" y="121"/>
                    </a:cubicBezTo>
                    <a:cubicBezTo>
                      <a:pt x="76" y="122"/>
                      <a:pt x="74" y="124"/>
                      <a:pt x="76" y="124"/>
                    </a:cubicBezTo>
                    <a:cubicBezTo>
                      <a:pt x="79" y="124"/>
                      <a:pt x="84" y="122"/>
                      <a:pt x="86" y="123"/>
                    </a:cubicBezTo>
                    <a:cubicBezTo>
                      <a:pt x="88" y="123"/>
                      <a:pt x="92" y="124"/>
                      <a:pt x="93" y="122"/>
                    </a:cubicBezTo>
                    <a:cubicBezTo>
                      <a:pt x="93" y="120"/>
                      <a:pt x="94" y="117"/>
                      <a:pt x="96" y="118"/>
                    </a:cubicBezTo>
                    <a:cubicBezTo>
                      <a:pt x="99" y="118"/>
                      <a:pt x="100" y="120"/>
                      <a:pt x="103" y="118"/>
                    </a:cubicBezTo>
                    <a:cubicBezTo>
                      <a:pt x="106" y="116"/>
                      <a:pt x="110" y="118"/>
                      <a:pt x="111" y="116"/>
                    </a:cubicBezTo>
                    <a:cubicBezTo>
                      <a:pt x="111" y="115"/>
                      <a:pt x="117" y="112"/>
                      <a:pt x="123" y="109"/>
                    </a:cubicBezTo>
                    <a:cubicBezTo>
                      <a:pt x="122" y="103"/>
                      <a:pt x="115" y="106"/>
                      <a:pt x="115" y="99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1" name="Freeform 169">
                <a:extLst>
                  <a:ext uri="{FF2B5EF4-FFF2-40B4-BE49-F238E27FC236}">
                    <a16:creationId xmlns:a16="http://schemas.microsoft.com/office/drawing/2014/main" id="{39E1D896-9DC1-4F28-AA40-43C391CB2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513" y="4354513"/>
                <a:ext cx="84137" cy="192088"/>
              </a:xfrm>
              <a:custGeom>
                <a:avLst/>
                <a:gdLst>
                  <a:gd name="T0" fmla="*/ 35 w 38"/>
                  <a:gd name="T1" fmla="*/ 57 h 87"/>
                  <a:gd name="T2" fmla="*/ 28 w 38"/>
                  <a:gd name="T3" fmla="*/ 50 h 87"/>
                  <a:gd name="T4" fmla="*/ 27 w 38"/>
                  <a:gd name="T5" fmla="*/ 52 h 87"/>
                  <a:gd name="T6" fmla="*/ 15 w 38"/>
                  <a:gd name="T7" fmla="*/ 35 h 87"/>
                  <a:gd name="T8" fmla="*/ 16 w 38"/>
                  <a:gd name="T9" fmla="*/ 15 h 87"/>
                  <a:gd name="T10" fmla="*/ 14 w 38"/>
                  <a:gd name="T11" fmla="*/ 0 h 87"/>
                  <a:gd name="T12" fmla="*/ 6 w 38"/>
                  <a:gd name="T13" fmla="*/ 0 h 87"/>
                  <a:gd name="T14" fmla="*/ 11 w 38"/>
                  <a:gd name="T15" fmla="*/ 11 h 87"/>
                  <a:gd name="T16" fmla="*/ 7 w 38"/>
                  <a:gd name="T17" fmla="*/ 13 h 87"/>
                  <a:gd name="T18" fmla="*/ 7 w 38"/>
                  <a:gd name="T19" fmla="*/ 32 h 87"/>
                  <a:gd name="T20" fmla="*/ 2 w 38"/>
                  <a:gd name="T21" fmla="*/ 35 h 87"/>
                  <a:gd name="T22" fmla="*/ 1 w 38"/>
                  <a:gd name="T23" fmla="*/ 46 h 87"/>
                  <a:gd name="T24" fmla="*/ 3 w 38"/>
                  <a:gd name="T25" fmla="*/ 51 h 87"/>
                  <a:gd name="T26" fmla="*/ 3 w 38"/>
                  <a:gd name="T27" fmla="*/ 51 h 87"/>
                  <a:gd name="T28" fmla="*/ 11 w 38"/>
                  <a:gd name="T29" fmla="*/ 56 h 87"/>
                  <a:gd name="T30" fmla="*/ 20 w 38"/>
                  <a:gd name="T31" fmla="*/ 57 h 87"/>
                  <a:gd name="T32" fmla="*/ 17 w 38"/>
                  <a:gd name="T33" fmla="*/ 72 h 87"/>
                  <a:gd name="T34" fmla="*/ 28 w 38"/>
                  <a:gd name="T35" fmla="*/ 86 h 87"/>
                  <a:gd name="T36" fmla="*/ 29 w 38"/>
                  <a:gd name="T37" fmla="*/ 75 h 87"/>
                  <a:gd name="T38" fmla="*/ 35 w 38"/>
                  <a:gd name="T39" fmla="*/ 68 h 87"/>
                  <a:gd name="T40" fmla="*/ 35 w 38"/>
                  <a:gd name="T41" fmla="*/ 5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87">
                    <a:moveTo>
                      <a:pt x="35" y="57"/>
                    </a:moveTo>
                    <a:cubicBezTo>
                      <a:pt x="33" y="55"/>
                      <a:pt x="30" y="52"/>
                      <a:pt x="28" y="50"/>
                    </a:cubicBezTo>
                    <a:cubicBezTo>
                      <a:pt x="28" y="51"/>
                      <a:pt x="28" y="51"/>
                      <a:pt x="27" y="52"/>
                    </a:cubicBezTo>
                    <a:cubicBezTo>
                      <a:pt x="24" y="56"/>
                      <a:pt x="16" y="43"/>
                      <a:pt x="15" y="35"/>
                    </a:cubicBezTo>
                    <a:cubicBezTo>
                      <a:pt x="14" y="26"/>
                      <a:pt x="20" y="22"/>
                      <a:pt x="16" y="15"/>
                    </a:cubicBezTo>
                    <a:cubicBezTo>
                      <a:pt x="13" y="8"/>
                      <a:pt x="12" y="2"/>
                      <a:pt x="14" y="0"/>
                    </a:cubicBezTo>
                    <a:cubicBezTo>
                      <a:pt x="12" y="0"/>
                      <a:pt x="9" y="0"/>
                      <a:pt x="6" y="0"/>
                    </a:cubicBezTo>
                    <a:cubicBezTo>
                      <a:pt x="8" y="3"/>
                      <a:pt x="11" y="9"/>
                      <a:pt x="11" y="11"/>
                    </a:cubicBezTo>
                    <a:cubicBezTo>
                      <a:pt x="11" y="13"/>
                      <a:pt x="8" y="10"/>
                      <a:pt x="7" y="13"/>
                    </a:cubicBezTo>
                    <a:cubicBezTo>
                      <a:pt x="5" y="16"/>
                      <a:pt x="5" y="29"/>
                      <a:pt x="7" y="32"/>
                    </a:cubicBezTo>
                    <a:cubicBezTo>
                      <a:pt x="9" y="34"/>
                      <a:pt x="2" y="32"/>
                      <a:pt x="2" y="35"/>
                    </a:cubicBezTo>
                    <a:cubicBezTo>
                      <a:pt x="2" y="37"/>
                      <a:pt x="2" y="45"/>
                      <a:pt x="1" y="46"/>
                    </a:cubicBezTo>
                    <a:cubicBezTo>
                      <a:pt x="0" y="46"/>
                      <a:pt x="1" y="48"/>
                      <a:pt x="3" y="51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4" y="51"/>
                      <a:pt x="9" y="56"/>
                      <a:pt x="11" y="56"/>
                    </a:cubicBezTo>
                    <a:cubicBezTo>
                      <a:pt x="13" y="56"/>
                      <a:pt x="19" y="53"/>
                      <a:pt x="20" y="57"/>
                    </a:cubicBezTo>
                    <a:cubicBezTo>
                      <a:pt x="21" y="62"/>
                      <a:pt x="17" y="70"/>
                      <a:pt x="17" y="72"/>
                    </a:cubicBezTo>
                    <a:cubicBezTo>
                      <a:pt x="18" y="74"/>
                      <a:pt x="27" y="87"/>
                      <a:pt x="28" y="86"/>
                    </a:cubicBezTo>
                    <a:cubicBezTo>
                      <a:pt x="28" y="84"/>
                      <a:pt x="26" y="78"/>
                      <a:pt x="29" y="75"/>
                    </a:cubicBezTo>
                    <a:cubicBezTo>
                      <a:pt x="32" y="73"/>
                      <a:pt x="35" y="76"/>
                      <a:pt x="35" y="68"/>
                    </a:cubicBezTo>
                    <a:cubicBezTo>
                      <a:pt x="35" y="60"/>
                      <a:pt x="38" y="60"/>
                      <a:pt x="35" y="5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2" name="Freeform 170">
                <a:extLst>
                  <a:ext uri="{FF2B5EF4-FFF2-40B4-BE49-F238E27FC236}">
                    <a16:creationId xmlns:a16="http://schemas.microsoft.com/office/drawing/2014/main" id="{E731E7D9-8BF6-4709-AE5D-2C13E55FE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5" y="4632325"/>
                <a:ext cx="80962" cy="63500"/>
              </a:xfrm>
              <a:custGeom>
                <a:avLst/>
                <a:gdLst>
                  <a:gd name="T0" fmla="*/ 1 w 37"/>
                  <a:gd name="T1" fmla="*/ 4 h 29"/>
                  <a:gd name="T2" fmla="*/ 33 w 37"/>
                  <a:gd name="T3" fmla="*/ 27 h 29"/>
                  <a:gd name="T4" fmla="*/ 1 w 37"/>
                  <a:gd name="T5" fmla="*/ 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29">
                    <a:moveTo>
                      <a:pt x="1" y="4"/>
                    </a:moveTo>
                    <a:cubicBezTo>
                      <a:pt x="0" y="0"/>
                      <a:pt x="37" y="24"/>
                      <a:pt x="33" y="27"/>
                    </a:cubicBezTo>
                    <a:cubicBezTo>
                      <a:pt x="29" y="29"/>
                      <a:pt x="1" y="8"/>
                      <a:pt x="1" y="4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3" name="Freeform 171">
                <a:extLst>
                  <a:ext uri="{FF2B5EF4-FFF2-40B4-BE49-F238E27FC236}">
                    <a16:creationId xmlns:a16="http://schemas.microsoft.com/office/drawing/2014/main" id="{A174F597-DEF0-410C-A02B-BC1EB9687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7575" y="3035300"/>
                <a:ext cx="188912" cy="128588"/>
              </a:xfrm>
              <a:custGeom>
                <a:avLst/>
                <a:gdLst>
                  <a:gd name="T0" fmla="*/ 70 w 86"/>
                  <a:gd name="T1" fmla="*/ 47 h 58"/>
                  <a:gd name="T2" fmla="*/ 75 w 86"/>
                  <a:gd name="T3" fmla="*/ 50 h 58"/>
                  <a:gd name="T4" fmla="*/ 82 w 86"/>
                  <a:gd name="T5" fmla="*/ 52 h 58"/>
                  <a:gd name="T6" fmla="*/ 86 w 86"/>
                  <a:gd name="T7" fmla="*/ 52 h 58"/>
                  <a:gd name="T8" fmla="*/ 84 w 86"/>
                  <a:gd name="T9" fmla="*/ 37 h 58"/>
                  <a:gd name="T10" fmla="*/ 73 w 86"/>
                  <a:gd name="T11" fmla="*/ 30 h 58"/>
                  <a:gd name="T12" fmla="*/ 71 w 86"/>
                  <a:gd name="T13" fmla="*/ 20 h 58"/>
                  <a:gd name="T14" fmla="*/ 56 w 86"/>
                  <a:gd name="T15" fmla="*/ 21 h 58"/>
                  <a:gd name="T16" fmla="*/ 47 w 86"/>
                  <a:gd name="T17" fmla="*/ 19 h 58"/>
                  <a:gd name="T18" fmla="*/ 37 w 86"/>
                  <a:gd name="T19" fmla="*/ 18 h 58"/>
                  <a:gd name="T20" fmla="*/ 21 w 86"/>
                  <a:gd name="T21" fmla="*/ 17 h 58"/>
                  <a:gd name="T22" fmla="*/ 29 w 86"/>
                  <a:gd name="T23" fmla="*/ 10 h 58"/>
                  <a:gd name="T24" fmla="*/ 32 w 86"/>
                  <a:gd name="T25" fmla="*/ 10 h 58"/>
                  <a:gd name="T26" fmla="*/ 36 w 86"/>
                  <a:gd name="T27" fmla="*/ 1 h 58"/>
                  <a:gd name="T28" fmla="*/ 29 w 86"/>
                  <a:gd name="T29" fmla="*/ 3 h 58"/>
                  <a:gd name="T30" fmla="*/ 20 w 86"/>
                  <a:gd name="T31" fmla="*/ 5 h 58"/>
                  <a:gd name="T32" fmla="*/ 15 w 86"/>
                  <a:gd name="T33" fmla="*/ 11 h 58"/>
                  <a:gd name="T34" fmla="*/ 11 w 86"/>
                  <a:gd name="T35" fmla="*/ 17 h 58"/>
                  <a:gd name="T36" fmla="*/ 0 w 86"/>
                  <a:gd name="T37" fmla="*/ 21 h 58"/>
                  <a:gd name="T38" fmla="*/ 7 w 86"/>
                  <a:gd name="T39" fmla="*/ 30 h 58"/>
                  <a:gd name="T40" fmla="*/ 9 w 86"/>
                  <a:gd name="T41" fmla="*/ 40 h 58"/>
                  <a:gd name="T42" fmla="*/ 4 w 86"/>
                  <a:gd name="T43" fmla="*/ 52 h 58"/>
                  <a:gd name="T44" fmla="*/ 9 w 86"/>
                  <a:gd name="T45" fmla="*/ 52 h 58"/>
                  <a:gd name="T46" fmla="*/ 21 w 86"/>
                  <a:gd name="T47" fmla="*/ 49 h 58"/>
                  <a:gd name="T48" fmla="*/ 31 w 86"/>
                  <a:gd name="T49" fmla="*/ 44 h 58"/>
                  <a:gd name="T50" fmla="*/ 42 w 86"/>
                  <a:gd name="T51" fmla="*/ 34 h 58"/>
                  <a:gd name="T52" fmla="*/ 46 w 86"/>
                  <a:gd name="T53" fmla="*/ 43 h 58"/>
                  <a:gd name="T54" fmla="*/ 47 w 86"/>
                  <a:gd name="T55" fmla="*/ 57 h 58"/>
                  <a:gd name="T56" fmla="*/ 52 w 86"/>
                  <a:gd name="T57" fmla="*/ 57 h 58"/>
                  <a:gd name="T58" fmla="*/ 58 w 86"/>
                  <a:gd name="T59" fmla="*/ 55 h 58"/>
                  <a:gd name="T60" fmla="*/ 70 w 86"/>
                  <a:gd name="T61" fmla="*/ 4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6" h="58">
                    <a:moveTo>
                      <a:pt x="70" y="47"/>
                    </a:moveTo>
                    <a:cubicBezTo>
                      <a:pt x="73" y="48"/>
                      <a:pt x="72" y="50"/>
                      <a:pt x="75" y="50"/>
                    </a:cubicBezTo>
                    <a:cubicBezTo>
                      <a:pt x="76" y="50"/>
                      <a:pt x="80" y="51"/>
                      <a:pt x="82" y="52"/>
                    </a:cubicBezTo>
                    <a:cubicBezTo>
                      <a:pt x="84" y="52"/>
                      <a:pt x="86" y="52"/>
                      <a:pt x="86" y="52"/>
                    </a:cubicBezTo>
                    <a:cubicBezTo>
                      <a:pt x="86" y="52"/>
                      <a:pt x="84" y="40"/>
                      <a:pt x="84" y="37"/>
                    </a:cubicBezTo>
                    <a:cubicBezTo>
                      <a:pt x="83" y="33"/>
                      <a:pt x="73" y="30"/>
                      <a:pt x="73" y="30"/>
                    </a:cubicBezTo>
                    <a:cubicBezTo>
                      <a:pt x="71" y="20"/>
                      <a:pt x="71" y="20"/>
                      <a:pt x="71" y="20"/>
                    </a:cubicBezTo>
                    <a:cubicBezTo>
                      <a:pt x="71" y="20"/>
                      <a:pt x="59" y="22"/>
                      <a:pt x="56" y="21"/>
                    </a:cubicBezTo>
                    <a:cubicBezTo>
                      <a:pt x="54" y="20"/>
                      <a:pt x="49" y="22"/>
                      <a:pt x="47" y="19"/>
                    </a:cubicBezTo>
                    <a:cubicBezTo>
                      <a:pt x="45" y="16"/>
                      <a:pt x="41" y="21"/>
                      <a:pt x="37" y="18"/>
                    </a:cubicBezTo>
                    <a:cubicBezTo>
                      <a:pt x="33" y="16"/>
                      <a:pt x="21" y="19"/>
                      <a:pt x="21" y="17"/>
                    </a:cubicBezTo>
                    <a:cubicBezTo>
                      <a:pt x="20" y="15"/>
                      <a:pt x="26" y="10"/>
                      <a:pt x="29" y="10"/>
                    </a:cubicBezTo>
                    <a:cubicBezTo>
                      <a:pt x="29" y="11"/>
                      <a:pt x="31" y="11"/>
                      <a:pt x="32" y="10"/>
                    </a:cubicBezTo>
                    <a:cubicBezTo>
                      <a:pt x="34" y="8"/>
                      <a:pt x="37" y="3"/>
                      <a:pt x="36" y="1"/>
                    </a:cubicBezTo>
                    <a:cubicBezTo>
                      <a:pt x="35" y="0"/>
                      <a:pt x="31" y="1"/>
                      <a:pt x="29" y="3"/>
                    </a:cubicBezTo>
                    <a:cubicBezTo>
                      <a:pt x="26" y="5"/>
                      <a:pt x="21" y="2"/>
                      <a:pt x="20" y="5"/>
                    </a:cubicBezTo>
                    <a:cubicBezTo>
                      <a:pt x="19" y="8"/>
                      <a:pt x="18" y="11"/>
                      <a:pt x="15" y="11"/>
                    </a:cubicBezTo>
                    <a:cubicBezTo>
                      <a:pt x="12" y="11"/>
                      <a:pt x="14" y="16"/>
                      <a:pt x="11" y="17"/>
                    </a:cubicBezTo>
                    <a:cubicBezTo>
                      <a:pt x="8" y="19"/>
                      <a:pt x="1" y="18"/>
                      <a:pt x="0" y="21"/>
                    </a:cubicBezTo>
                    <a:cubicBezTo>
                      <a:pt x="0" y="24"/>
                      <a:pt x="8" y="26"/>
                      <a:pt x="7" y="30"/>
                    </a:cubicBezTo>
                    <a:cubicBezTo>
                      <a:pt x="7" y="34"/>
                      <a:pt x="12" y="38"/>
                      <a:pt x="9" y="40"/>
                    </a:cubicBezTo>
                    <a:cubicBezTo>
                      <a:pt x="6" y="42"/>
                      <a:pt x="4" y="45"/>
                      <a:pt x="4" y="52"/>
                    </a:cubicBezTo>
                    <a:cubicBezTo>
                      <a:pt x="6" y="53"/>
                      <a:pt x="8" y="54"/>
                      <a:pt x="9" y="52"/>
                    </a:cubicBezTo>
                    <a:cubicBezTo>
                      <a:pt x="11" y="49"/>
                      <a:pt x="21" y="52"/>
                      <a:pt x="21" y="49"/>
                    </a:cubicBezTo>
                    <a:cubicBezTo>
                      <a:pt x="21" y="46"/>
                      <a:pt x="31" y="47"/>
                      <a:pt x="31" y="44"/>
                    </a:cubicBezTo>
                    <a:cubicBezTo>
                      <a:pt x="31" y="41"/>
                      <a:pt x="38" y="34"/>
                      <a:pt x="42" y="34"/>
                    </a:cubicBezTo>
                    <a:cubicBezTo>
                      <a:pt x="46" y="34"/>
                      <a:pt x="41" y="41"/>
                      <a:pt x="46" y="43"/>
                    </a:cubicBezTo>
                    <a:cubicBezTo>
                      <a:pt x="51" y="46"/>
                      <a:pt x="44" y="54"/>
                      <a:pt x="47" y="57"/>
                    </a:cubicBezTo>
                    <a:cubicBezTo>
                      <a:pt x="48" y="58"/>
                      <a:pt x="49" y="58"/>
                      <a:pt x="52" y="57"/>
                    </a:cubicBezTo>
                    <a:cubicBezTo>
                      <a:pt x="54" y="56"/>
                      <a:pt x="56" y="56"/>
                      <a:pt x="58" y="55"/>
                    </a:cubicBezTo>
                    <a:cubicBezTo>
                      <a:pt x="62" y="51"/>
                      <a:pt x="68" y="46"/>
                      <a:pt x="70" y="4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4" name="Freeform 172">
                <a:extLst>
                  <a:ext uri="{FF2B5EF4-FFF2-40B4-BE49-F238E27FC236}">
                    <a16:creationId xmlns:a16="http://schemas.microsoft.com/office/drawing/2014/main" id="{1AAE99C0-74CB-41EB-AE8B-B49EF9F10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3468688"/>
                <a:ext cx="20637" cy="46038"/>
              </a:xfrm>
              <a:custGeom>
                <a:avLst/>
                <a:gdLst>
                  <a:gd name="T0" fmla="*/ 8 w 9"/>
                  <a:gd name="T1" fmla="*/ 20 h 21"/>
                  <a:gd name="T2" fmla="*/ 3 w 9"/>
                  <a:gd name="T3" fmla="*/ 15 h 21"/>
                  <a:gd name="T4" fmla="*/ 0 w 9"/>
                  <a:gd name="T5" fmla="*/ 7 h 21"/>
                  <a:gd name="T6" fmla="*/ 4 w 9"/>
                  <a:gd name="T7" fmla="*/ 4 h 21"/>
                  <a:gd name="T8" fmla="*/ 5 w 9"/>
                  <a:gd name="T9" fmla="*/ 13 h 21"/>
                  <a:gd name="T10" fmla="*/ 8 w 9"/>
                  <a:gd name="T11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21">
                    <a:moveTo>
                      <a:pt x="8" y="20"/>
                    </a:moveTo>
                    <a:cubicBezTo>
                      <a:pt x="7" y="21"/>
                      <a:pt x="4" y="18"/>
                      <a:pt x="3" y="15"/>
                    </a:cubicBezTo>
                    <a:cubicBezTo>
                      <a:pt x="3" y="12"/>
                      <a:pt x="0" y="12"/>
                      <a:pt x="0" y="7"/>
                    </a:cubicBezTo>
                    <a:cubicBezTo>
                      <a:pt x="0" y="3"/>
                      <a:pt x="1" y="0"/>
                      <a:pt x="4" y="4"/>
                    </a:cubicBezTo>
                    <a:cubicBezTo>
                      <a:pt x="6" y="8"/>
                      <a:pt x="4" y="11"/>
                      <a:pt x="5" y="13"/>
                    </a:cubicBezTo>
                    <a:cubicBezTo>
                      <a:pt x="5" y="15"/>
                      <a:pt x="9" y="17"/>
                      <a:pt x="8" y="2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5" name="Freeform 173">
                <a:extLst>
                  <a:ext uri="{FF2B5EF4-FFF2-40B4-BE49-F238E27FC236}">
                    <a16:creationId xmlns:a16="http://schemas.microsoft.com/office/drawing/2014/main" id="{6347990C-5F1C-441C-B656-B032E0C38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3843338"/>
                <a:ext cx="31750" cy="23813"/>
              </a:xfrm>
              <a:custGeom>
                <a:avLst/>
                <a:gdLst>
                  <a:gd name="T0" fmla="*/ 3 w 14"/>
                  <a:gd name="T1" fmla="*/ 10 h 11"/>
                  <a:gd name="T2" fmla="*/ 3 w 14"/>
                  <a:gd name="T3" fmla="*/ 5 h 11"/>
                  <a:gd name="T4" fmla="*/ 11 w 14"/>
                  <a:gd name="T5" fmla="*/ 2 h 11"/>
                  <a:gd name="T6" fmla="*/ 12 w 14"/>
                  <a:gd name="T7" fmla="*/ 9 h 11"/>
                  <a:gd name="T8" fmla="*/ 3 w 14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3" y="10"/>
                    </a:moveTo>
                    <a:cubicBezTo>
                      <a:pt x="2" y="9"/>
                      <a:pt x="5" y="6"/>
                      <a:pt x="3" y="5"/>
                    </a:cubicBezTo>
                    <a:cubicBezTo>
                      <a:pt x="0" y="3"/>
                      <a:pt x="8" y="0"/>
                      <a:pt x="11" y="2"/>
                    </a:cubicBezTo>
                    <a:cubicBezTo>
                      <a:pt x="14" y="5"/>
                      <a:pt x="14" y="8"/>
                      <a:pt x="12" y="9"/>
                    </a:cubicBezTo>
                    <a:cubicBezTo>
                      <a:pt x="9" y="10"/>
                      <a:pt x="4" y="11"/>
                      <a:pt x="3" y="1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6" name="Freeform 174">
                <a:extLst>
                  <a:ext uri="{FF2B5EF4-FFF2-40B4-BE49-F238E27FC236}">
                    <a16:creationId xmlns:a16="http://schemas.microsoft.com/office/drawing/2014/main" id="{F924BC1F-E88B-48F9-A42C-4CCCAA624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6388" y="3022600"/>
                <a:ext cx="84137" cy="69850"/>
              </a:xfrm>
              <a:custGeom>
                <a:avLst/>
                <a:gdLst>
                  <a:gd name="T0" fmla="*/ 36 w 38"/>
                  <a:gd name="T1" fmla="*/ 25 h 32"/>
                  <a:gd name="T2" fmla="*/ 29 w 38"/>
                  <a:gd name="T3" fmla="*/ 17 h 32"/>
                  <a:gd name="T4" fmla="*/ 25 w 38"/>
                  <a:gd name="T5" fmla="*/ 8 h 32"/>
                  <a:gd name="T6" fmla="*/ 21 w 38"/>
                  <a:gd name="T7" fmla="*/ 1 h 32"/>
                  <a:gd name="T8" fmla="*/ 11 w 38"/>
                  <a:gd name="T9" fmla="*/ 0 h 32"/>
                  <a:gd name="T10" fmla="*/ 0 w 38"/>
                  <a:gd name="T11" fmla="*/ 2 h 32"/>
                  <a:gd name="T12" fmla="*/ 3 w 38"/>
                  <a:gd name="T13" fmla="*/ 11 h 32"/>
                  <a:gd name="T14" fmla="*/ 11 w 38"/>
                  <a:gd name="T15" fmla="*/ 15 h 32"/>
                  <a:gd name="T16" fmla="*/ 13 w 38"/>
                  <a:gd name="T17" fmla="*/ 19 h 32"/>
                  <a:gd name="T18" fmla="*/ 14 w 38"/>
                  <a:gd name="T19" fmla="*/ 19 h 32"/>
                  <a:gd name="T20" fmla="*/ 17 w 38"/>
                  <a:gd name="T21" fmla="*/ 22 h 32"/>
                  <a:gd name="T22" fmla="*/ 23 w 38"/>
                  <a:gd name="T23" fmla="*/ 24 h 32"/>
                  <a:gd name="T24" fmla="*/ 28 w 38"/>
                  <a:gd name="T25" fmla="*/ 26 h 32"/>
                  <a:gd name="T26" fmla="*/ 30 w 38"/>
                  <a:gd name="T27" fmla="*/ 32 h 32"/>
                  <a:gd name="T28" fmla="*/ 38 w 38"/>
                  <a:gd name="T29" fmla="*/ 31 h 32"/>
                  <a:gd name="T30" fmla="*/ 36 w 38"/>
                  <a:gd name="T31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2">
                    <a:moveTo>
                      <a:pt x="36" y="25"/>
                    </a:moveTo>
                    <a:cubicBezTo>
                      <a:pt x="36" y="22"/>
                      <a:pt x="29" y="20"/>
                      <a:pt x="29" y="17"/>
                    </a:cubicBezTo>
                    <a:cubicBezTo>
                      <a:pt x="29" y="13"/>
                      <a:pt x="24" y="10"/>
                      <a:pt x="25" y="8"/>
                    </a:cubicBezTo>
                    <a:cubicBezTo>
                      <a:pt x="25" y="6"/>
                      <a:pt x="23" y="3"/>
                      <a:pt x="21" y="1"/>
                    </a:cubicBezTo>
                    <a:cubicBezTo>
                      <a:pt x="18" y="0"/>
                      <a:pt x="14" y="0"/>
                      <a:pt x="11" y="0"/>
                    </a:cubicBezTo>
                    <a:cubicBezTo>
                      <a:pt x="7" y="1"/>
                      <a:pt x="4" y="2"/>
                      <a:pt x="0" y="2"/>
                    </a:cubicBezTo>
                    <a:cubicBezTo>
                      <a:pt x="2" y="6"/>
                      <a:pt x="1" y="7"/>
                      <a:pt x="3" y="11"/>
                    </a:cubicBezTo>
                    <a:cubicBezTo>
                      <a:pt x="5" y="16"/>
                      <a:pt x="10" y="14"/>
                      <a:pt x="11" y="15"/>
                    </a:cubicBezTo>
                    <a:cubicBezTo>
                      <a:pt x="12" y="15"/>
                      <a:pt x="13" y="17"/>
                      <a:pt x="13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6" y="19"/>
                      <a:pt x="17" y="20"/>
                      <a:pt x="17" y="22"/>
                    </a:cubicBezTo>
                    <a:cubicBezTo>
                      <a:pt x="20" y="22"/>
                      <a:pt x="22" y="24"/>
                      <a:pt x="23" y="24"/>
                    </a:cubicBezTo>
                    <a:cubicBezTo>
                      <a:pt x="24" y="25"/>
                      <a:pt x="25" y="23"/>
                      <a:pt x="28" y="26"/>
                    </a:cubicBezTo>
                    <a:cubicBezTo>
                      <a:pt x="31" y="29"/>
                      <a:pt x="31" y="30"/>
                      <a:pt x="30" y="32"/>
                    </a:cubicBezTo>
                    <a:cubicBezTo>
                      <a:pt x="33" y="32"/>
                      <a:pt x="35" y="32"/>
                      <a:pt x="38" y="31"/>
                    </a:cubicBezTo>
                    <a:cubicBezTo>
                      <a:pt x="37" y="29"/>
                      <a:pt x="36" y="26"/>
                      <a:pt x="36" y="25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7" name="Freeform 175">
                <a:extLst>
                  <a:ext uri="{FF2B5EF4-FFF2-40B4-BE49-F238E27FC236}">
                    <a16:creationId xmlns:a16="http://schemas.microsoft.com/office/drawing/2014/main" id="{FE37B6A6-69E1-41CD-B1C8-175DE6C788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4488" y="3005138"/>
                <a:ext cx="125412" cy="101600"/>
              </a:xfrm>
              <a:custGeom>
                <a:avLst/>
                <a:gdLst>
                  <a:gd name="T0" fmla="*/ 53 w 57"/>
                  <a:gd name="T1" fmla="*/ 16 h 46"/>
                  <a:gd name="T2" fmla="*/ 43 w 57"/>
                  <a:gd name="T3" fmla="*/ 3 h 46"/>
                  <a:gd name="T4" fmla="*/ 36 w 57"/>
                  <a:gd name="T5" fmla="*/ 8 h 46"/>
                  <a:gd name="T6" fmla="*/ 31 w 57"/>
                  <a:gd name="T7" fmla="*/ 8 h 46"/>
                  <a:gd name="T8" fmla="*/ 22 w 57"/>
                  <a:gd name="T9" fmla="*/ 2 h 46"/>
                  <a:gd name="T10" fmla="*/ 19 w 57"/>
                  <a:gd name="T11" fmla="*/ 0 h 46"/>
                  <a:gd name="T12" fmla="*/ 17 w 57"/>
                  <a:gd name="T13" fmla="*/ 5 h 46"/>
                  <a:gd name="T14" fmla="*/ 20 w 57"/>
                  <a:gd name="T15" fmla="*/ 10 h 46"/>
                  <a:gd name="T16" fmla="*/ 12 w 57"/>
                  <a:gd name="T17" fmla="*/ 9 h 46"/>
                  <a:gd name="T18" fmla="*/ 4 w 57"/>
                  <a:gd name="T19" fmla="*/ 7 h 46"/>
                  <a:gd name="T20" fmla="*/ 8 w 57"/>
                  <a:gd name="T21" fmla="*/ 16 h 46"/>
                  <a:gd name="T22" fmla="*/ 12 w 57"/>
                  <a:gd name="T23" fmla="*/ 25 h 46"/>
                  <a:gd name="T24" fmla="*/ 19 w 57"/>
                  <a:gd name="T25" fmla="*/ 33 h 46"/>
                  <a:gd name="T26" fmla="*/ 21 w 57"/>
                  <a:gd name="T27" fmla="*/ 39 h 46"/>
                  <a:gd name="T28" fmla="*/ 34 w 57"/>
                  <a:gd name="T29" fmla="*/ 30 h 46"/>
                  <a:gd name="T30" fmla="*/ 36 w 57"/>
                  <a:gd name="T31" fmla="*/ 40 h 46"/>
                  <a:gd name="T32" fmla="*/ 45 w 57"/>
                  <a:gd name="T33" fmla="*/ 46 h 46"/>
                  <a:gd name="T34" fmla="*/ 47 w 57"/>
                  <a:gd name="T35" fmla="*/ 40 h 46"/>
                  <a:gd name="T36" fmla="*/ 53 w 57"/>
                  <a:gd name="T37" fmla="*/ 16 h 46"/>
                  <a:gd name="T38" fmla="*/ 6 w 57"/>
                  <a:gd name="T39" fmla="*/ 32 h 46"/>
                  <a:gd name="T40" fmla="*/ 0 w 57"/>
                  <a:gd name="T41" fmla="*/ 30 h 46"/>
                  <a:gd name="T42" fmla="*/ 4 w 57"/>
                  <a:gd name="T43" fmla="*/ 36 h 46"/>
                  <a:gd name="T44" fmla="*/ 12 w 57"/>
                  <a:gd name="T45" fmla="*/ 40 h 46"/>
                  <a:gd name="T46" fmla="*/ 13 w 57"/>
                  <a:gd name="T47" fmla="*/ 40 h 46"/>
                  <a:gd name="T48" fmla="*/ 11 w 57"/>
                  <a:gd name="T49" fmla="*/ 34 h 46"/>
                  <a:gd name="T50" fmla="*/ 6 w 57"/>
                  <a:gd name="T51" fmla="*/ 3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" h="46">
                    <a:moveTo>
                      <a:pt x="53" y="16"/>
                    </a:moveTo>
                    <a:cubicBezTo>
                      <a:pt x="52" y="13"/>
                      <a:pt x="48" y="8"/>
                      <a:pt x="43" y="3"/>
                    </a:cubicBezTo>
                    <a:cubicBezTo>
                      <a:pt x="42" y="7"/>
                      <a:pt x="37" y="6"/>
                      <a:pt x="36" y="8"/>
                    </a:cubicBezTo>
                    <a:cubicBezTo>
                      <a:pt x="35" y="10"/>
                      <a:pt x="32" y="7"/>
                      <a:pt x="31" y="8"/>
                    </a:cubicBezTo>
                    <a:cubicBezTo>
                      <a:pt x="29" y="8"/>
                      <a:pt x="26" y="2"/>
                      <a:pt x="22" y="2"/>
                    </a:cubicBezTo>
                    <a:cubicBezTo>
                      <a:pt x="21" y="2"/>
                      <a:pt x="20" y="1"/>
                      <a:pt x="19" y="0"/>
                    </a:cubicBezTo>
                    <a:cubicBezTo>
                      <a:pt x="17" y="2"/>
                      <a:pt x="16" y="4"/>
                      <a:pt x="17" y="5"/>
                    </a:cubicBezTo>
                    <a:cubicBezTo>
                      <a:pt x="18" y="6"/>
                      <a:pt x="22" y="8"/>
                      <a:pt x="20" y="10"/>
                    </a:cubicBezTo>
                    <a:cubicBezTo>
                      <a:pt x="19" y="11"/>
                      <a:pt x="13" y="11"/>
                      <a:pt x="12" y="9"/>
                    </a:cubicBezTo>
                    <a:cubicBezTo>
                      <a:pt x="10" y="7"/>
                      <a:pt x="5" y="5"/>
                      <a:pt x="4" y="7"/>
                    </a:cubicBezTo>
                    <a:cubicBezTo>
                      <a:pt x="3" y="9"/>
                      <a:pt x="8" y="13"/>
                      <a:pt x="8" y="16"/>
                    </a:cubicBezTo>
                    <a:cubicBezTo>
                      <a:pt x="7" y="18"/>
                      <a:pt x="12" y="21"/>
                      <a:pt x="12" y="25"/>
                    </a:cubicBezTo>
                    <a:cubicBezTo>
                      <a:pt x="12" y="28"/>
                      <a:pt x="19" y="30"/>
                      <a:pt x="19" y="33"/>
                    </a:cubicBezTo>
                    <a:cubicBezTo>
                      <a:pt x="19" y="34"/>
                      <a:pt x="20" y="37"/>
                      <a:pt x="21" y="39"/>
                    </a:cubicBezTo>
                    <a:cubicBezTo>
                      <a:pt x="26" y="36"/>
                      <a:pt x="31" y="32"/>
                      <a:pt x="34" y="30"/>
                    </a:cubicBezTo>
                    <a:cubicBezTo>
                      <a:pt x="40" y="28"/>
                      <a:pt x="37" y="39"/>
                      <a:pt x="36" y="40"/>
                    </a:cubicBezTo>
                    <a:cubicBezTo>
                      <a:pt x="36" y="42"/>
                      <a:pt x="40" y="45"/>
                      <a:pt x="45" y="46"/>
                    </a:cubicBezTo>
                    <a:cubicBezTo>
                      <a:pt x="44" y="44"/>
                      <a:pt x="45" y="41"/>
                      <a:pt x="47" y="40"/>
                    </a:cubicBezTo>
                    <a:cubicBezTo>
                      <a:pt x="52" y="33"/>
                      <a:pt x="57" y="22"/>
                      <a:pt x="53" y="16"/>
                    </a:cubicBezTo>
                    <a:close/>
                    <a:moveTo>
                      <a:pt x="6" y="32"/>
                    </a:moveTo>
                    <a:cubicBezTo>
                      <a:pt x="5" y="32"/>
                      <a:pt x="3" y="30"/>
                      <a:pt x="0" y="30"/>
                    </a:cubicBezTo>
                    <a:cubicBezTo>
                      <a:pt x="1" y="32"/>
                      <a:pt x="1" y="34"/>
                      <a:pt x="4" y="36"/>
                    </a:cubicBezTo>
                    <a:cubicBezTo>
                      <a:pt x="9" y="38"/>
                      <a:pt x="2" y="39"/>
                      <a:pt x="12" y="40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14" y="38"/>
                      <a:pt x="14" y="37"/>
                      <a:pt x="11" y="34"/>
                    </a:cubicBezTo>
                    <a:cubicBezTo>
                      <a:pt x="8" y="31"/>
                      <a:pt x="7" y="33"/>
                      <a:pt x="6" y="3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8" name="Freeform 176">
                <a:extLst>
                  <a:ext uri="{FF2B5EF4-FFF2-40B4-BE49-F238E27FC236}">
                    <a16:creationId xmlns:a16="http://schemas.microsoft.com/office/drawing/2014/main" id="{B961E1FC-9298-40DD-9D5D-D45A930BC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6600" y="3109913"/>
                <a:ext cx="355600" cy="255588"/>
              </a:xfrm>
              <a:custGeom>
                <a:avLst/>
                <a:gdLst>
                  <a:gd name="T0" fmla="*/ 157 w 162"/>
                  <a:gd name="T1" fmla="*/ 16 h 116"/>
                  <a:gd name="T2" fmla="*/ 152 w 162"/>
                  <a:gd name="T3" fmla="*/ 13 h 116"/>
                  <a:gd name="T4" fmla="*/ 140 w 162"/>
                  <a:gd name="T5" fmla="*/ 21 h 116"/>
                  <a:gd name="T6" fmla="*/ 134 w 162"/>
                  <a:gd name="T7" fmla="*/ 23 h 116"/>
                  <a:gd name="T8" fmla="*/ 129 w 162"/>
                  <a:gd name="T9" fmla="*/ 23 h 116"/>
                  <a:gd name="T10" fmla="*/ 128 w 162"/>
                  <a:gd name="T11" fmla="*/ 9 h 116"/>
                  <a:gd name="T12" fmla="*/ 124 w 162"/>
                  <a:gd name="T13" fmla="*/ 0 h 116"/>
                  <a:gd name="T14" fmla="*/ 113 w 162"/>
                  <a:gd name="T15" fmla="*/ 10 h 116"/>
                  <a:gd name="T16" fmla="*/ 103 w 162"/>
                  <a:gd name="T17" fmla="*/ 15 h 116"/>
                  <a:gd name="T18" fmla="*/ 91 w 162"/>
                  <a:gd name="T19" fmla="*/ 18 h 116"/>
                  <a:gd name="T20" fmla="*/ 81 w 162"/>
                  <a:gd name="T21" fmla="*/ 16 h 116"/>
                  <a:gd name="T22" fmla="*/ 72 w 162"/>
                  <a:gd name="T23" fmla="*/ 12 h 116"/>
                  <a:gd name="T24" fmla="*/ 63 w 162"/>
                  <a:gd name="T25" fmla="*/ 11 h 116"/>
                  <a:gd name="T26" fmla="*/ 54 w 162"/>
                  <a:gd name="T27" fmla="*/ 16 h 116"/>
                  <a:gd name="T28" fmla="*/ 47 w 162"/>
                  <a:gd name="T29" fmla="*/ 27 h 116"/>
                  <a:gd name="T30" fmla="*/ 31 w 162"/>
                  <a:gd name="T31" fmla="*/ 36 h 116"/>
                  <a:gd name="T32" fmla="*/ 21 w 162"/>
                  <a:gd name="T33" fmla="*/ 40 h 116"/>
                  <a:gd name="T34" fmla="*/ 13 w 162"/>
                  <a:gd name="T35" fmla="*/ 38 h 116"/>
                  <a:gd name="T36" fmla="*/ 8 w 162"/>
                  <a:gd name="T37" fmla="*/ 43 h 116"/>
                  <a:gd name="T38" fmla="*/ 4 w 162"/>
                  <a:gd name="T39" fmla="*/ 52 h 116"/>
                  <a:gd name="T40" fmla="*/ 3 w 162"/>
                  <a:gd name="T41" fmla="*/ 62 h 116"/>
                  <a:gd name="T42" fmla="*/ 3 w 162"/>
                  <a:gd name="T43" fmla="*/ 74 h 116"/>
                  <a:gd name="T44" fmla="*/ 4 w 162"/>
                  <a:gd name="T45" fmla="*/ 87 h 116"/>
                  <a:gd name="T46" fmla="*/ 15 w 162"/>
                  <a:gd name="T47" fmla="*/ 93 h 116"/>
                  <a:gd name="T48" fmla="*/ 4 w 162"/>
                  <a:gd name="T49" fmla="*/ 109 h 116"/>
                  <a:gd name="T50" fmla="*/ 6 w 162"/>
                  <a:gd name="T51" fmla="*/ 112 h 116"/>
                  <a:gd name="T52" fmla="*/ 24 w 162"/>
                  <a:gd name="T53" fmla="*/ 114 h 116"/>
                  <a:gd name="T54" fmla="*/ 69 w 162"/>
                  <a:gd name="T55" fmla="*/ 109 h 116"/>
                  <a:gd name="T56" fmla="*/ 68 w 162"/>
                  <a:gd name="T57" fmla="*/ 97 h 116"/>
                  <a:gd name="T58" fmla="*/ 77 w 162"/>
                  <a:gd name="T59" fmla="*/ 92 h 116"/>
                  <a:gd name="T60" fmla="*/ 85 w 162"/>
                  <a:gd name="T61" fmla="*/ 90 h 116"/>
                  <a:gd name="T62" fmla="*/ 97 w 162"/>
                  <a:gd name="T63" fmla="*/ 86 h 116"/>
                  <a:gd name="T64" fmla="*/ 102 w 162"/>
                  <a:gd name="T65" fmla="*/ 81 h 116"/>
                  <a:gd name="T66" fmla="*/ 106 w 162"/>
                  <a:gd name="T67" fmla="*/ 69 h 116"/>
                  <a:gd name="T68" fmla="*/ 113 w 162"/>
                  <a:gd name="T69" fmla="*/ 64 h 116"/>
                  <a:gd name="T70" fmla="*/ 110 w 162"/>
                  <a:gd name="T71" fmla="*/ 57 h 116"/>
                  <a:gd name="T72" fmla="*/ 122 w 162"/>
                  <a:gd name="T73" fmla="*/ 57 h 116"/>
                  <a:gd name="T74" fmla="*/ 123 w 162"/>
                  <a:gd name="T75" fmla="*/ 48 h 116"/>
                  <a:gd name="T76" fmla="*/ 129 w 162"/>
                  <a:gd name="T77" fmla="*/ 40 h 116"/>
                  <a:gd name="T78" fmla="*/ 127 w 162"/>
                  <a:gd name="T79" fmla="*/ 34 h 116"/>
                  <a:gd name="T80" fmla="*/ 128 w 162"/>
                  <a:gd name="T81" fmla="*/ 28 h 116"/>
                  <a:gd name="T82" fmla="*/ 130 w 162"/>
                  <a:gd name="T83" fmla="*/ 27 h 116"/>
                  <a:gd name="T84" fmla="*/ 136 w 162"/>
                  <a:gd name="T85" fmla="*/ 25 h 116"/>
                  <a:gd name="T86" fmla="*/ 151 w 162"/>
                  <a:gd name="T87" fmla="*/ 21 h 116"/>
                  <a:gd name="T88" fmla="*/ 162 w 162"/>
                  <a:gd name="T89" fmla="*/ 17 h 116"/>
                  <a:gd name="T90" fmla="*/ 157 w 162"/>
                  <a:gd name="T91" fmla="*/ 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62" h="116">
                    <a:moveTo>
                      <a:pt x="157" y="16"/>
                    </a:moveTo>
                    <a:cubicBezTo>
                      <a:pt x="154" y="16"/>
                      <a:pt x="155" y="14"/>
                      <a:pt x="152" y="13"/>
                    </a:cubicBezTo>
                    <a:cubicBezTo>
                      <a:pt x="150" y="12"/>
                      <a:pt x="144" y="17"/>
                      <a:pt x="140" y="21"/>
                    </a:cubicBezTo>
                    <a:cubicBezTo>
                      <a:pt x="138" y="22"/>
                      <a:pt x="136" y="22"/>
                      <a:pt x="134" y="23"/>
                    </a:cubicBezTo>
                    <a:cubicBezTo>
                      <a:pt x="132" y="24"/>
                      <a:pt x="130" y="24"/>
                      <a:pt x="129" y="23"/>
                    </a:cubicBezTo>
                    <a:cubicBezTo>
                      <a:pt x="126" y="20"/>
                      <a:pt x="133" y="12"/>
                      <a:pt x="128" y="9"/>
                    </a:cubicBezTo>
                    <a:cubicBezTo>
                      <a:pt x="123" y="7"/>
                      <a:pt x="128" y="0"/>
                      <a:pt x="124" y="0"/>
                    </a:cubicBezTo>
                    <a:cubicBezTo>
                      <a:pt x="120" y="0"/>
                      <a:pt x="113" y="7"/>
                      <a:pt x="113" y="10"/>
                    </a:cubicBezTo>
                    <a:cubicBezTo>
                      <a:pt x="113" y="13"/>
                      <a:pt x="103" y="12"/>
                      <a:pt x="103" y="15"/>
                    </a:cubicBezTo>
                    <a:cubicBezTo>
                      <a:pt x="103" y="18"/>
                      <a:pt x="93" y="15"/>
                      <a:pt x="91" y="18"/>
                    </a:cubicBezTo>
                    <a:cubicBezTo>
                      <a:pt x="89" y="22"/>
                      <a:pt x="84" y="16"/>
                      <a:pt x="81" y="16"/>
                    </a:cubicBezTo>
                    <a:cubicBezTo>
                      <a:pt x="78" y="16"/>
                      <a:pt x="76" y="11"/>
                      <a:pt x="72" y="12"/>
                    </a:cubicBezTo>
                    <a:cubicBezTo>
                      <a:pt x="68" y="14"/>
                      <a:pt x="66" y="11"/>
                      <a:pt x="63" y="11"/>
                    </a:cubicBezTo>
                    <a:cubicBezTo>
                      <a:pt x="60" y="10"/>
                      <a:pt x="57" y="17"/>
                      <a:pt x="54" y="16"/>
                    </a:cubicBezTo>
                    <a:cubicBezTo>
                      <a:pt x="50" y="15"/>
                      <a:pt x="48" y="23"/>
                      <a:pt x="47" y="27"/>
                    </a:cubicBezTo>
                    <a:cubicBezTo>
                      <a:pt x="46" y="32"/>
                      <a:pt x="31" y="32"/>
                      <a:pt x="31" y="36"/>
                    </a:cubicBezTo>
                    <a:cubicBezTo>
                      <a:pt x="32" y="41"/>
                      <a:pt x="22" y="43"/>
                      <a:pt x="21" y="40"/>
                    </a:cubicBezTo>
                    <a:cubicBezTo>
                      <a:pt x="20" y="37"/>
                      <a:pt x="15" y="39"/>
                      <a:pt x="13" y="38"/>
                    </a:cubicBezTo>
                    <a:cubicBezTo>
                      <a:pt x="12" y="37"/>
                      <a:pt x="8" y="39"/>
                      <a:pt x="8" y="43"/>
                    </a:cubicBezTo>
                    <a:cubicBezTo>
                      <a:pt x="9" y="48"/>
                      <a:pt x="4" y="50"/>
                      <a:pt x="4" y="52"/>
                    </a:cubicBezTo>
                    <a:cubicBezTo>
                      <a:pt x="3" y="54"/>
                      <a:pt x="1" y="59"/>
                      <a:pt x="3" y="62"/>
                    </a:cubicBezTo>
                    <a:cubicBezTo>
                      <a:pt x="4" y="65"/>
                      <a:pt x="0" y="69"/>
                      <a:pt x="3" y="74"/>
                    </a:cubicBezTo>
                    <a:cubicBezTo>
                      <a:pt x="5" y="79"/>
                      <a:pt x="3" y="85"/>
                      <a:pt x="4" y="87"/>
                    </a:cubicBezTo>
                    <a:cubicBezTo>
                      <a:pt x="5" y="89"/>
                      <a:pt x="14" y="88"/>
                      <a:pt x="15" y="93"/>
                    </a:cubicBezTo>
                    <a:cubicBezTo>
                      <a:pt x="17" y="97"/>
                      <a:pt x="4" y="106"/>
                      <a:pt x="4" y="109"/>
                    </a:cubicBezTo>
                    <a:cubicBezTo>
                      <a:pt x="4" y="110"/>
                      <a:pt x="5" y="111"/>
                      <a:pt x="6" y="112"/>
                    </a:cubicBezTo>
                    <a:cubicBezTo>
                      <a:pt x="11" y="113"/>
                      <a:pt x="18" y="113"/>
                      <a:pt x="24" y="114"/>
                    </a:cubicBezTo>
                    <a:cubicBezTo>
                      <a:pt x="31" y="116"/>
                      <a:pt x="68" y="110"/>
                      <a:pt x="69" y="109"/>
                    </a:cubicBezTo>
                    <a:cubicBezTo>
                      <a:pt x="70" y="107"/>
                      <a:pt x="68" y="99"/>
                      <a:pt x="68" y="97"/>
                    </a:cubicBezTo>
                    <a:cubicBezTo>
                      <a:pt x="68" y="96"/>
                      <a:pt x="73" y="92"/>
                      <a:pt x="77" y="92"/>
                    </a:cubicBezTo>
                    <a:cubicBezTo>
                      <a:pt x="81" y="92"/>
                      <a:pt x="85" y="93"/>
                      <a:pt x="85" y="90"/>
                    </a:cubicBezTo>
                    <a:cubicBezTo>
                      <a:pt x="85" y="87"/>
                      <a:pt x="96" y="83"/>
                      <a:pt x="97" y="86"/>
                    </a:cubicBezTo>
                    <a:cubicBezTo>
                      <a:pt x="98" y="89"/>
                      <a:pt x="102" y="88"/>
                      <a:pt x="102" y="81"/>
                    </a:cubicBezTo>
                    <a:cubicBezTo>
                      <a:pt x="102" y="74"/>
                      <a:pt x="102" y="69"/>
                      <a:pt x="106" y="69"/>
                    </a:cubicBezTo>
                    <a:cubicBezTo>
                      <a:pt x="110" y="69"/>
                      <a:pt x="114" y="66"/>
                      <a:pt x="113" y="64"/>
                    </a:cubicBezTo>
                    <a:cubicBezTo>
                      <a:pt x="113" y="62"/>
                      <a:pt x="108" y="58"/>
                      <a:pt x="110" y="57"/>
                    </a:cubicBezTo>
                    <a:cubicBezTo>
                      <a:pt x="111" y="56"/>
                      <a:pt x="121" y="60"/>
                      <a:pt x="122" y="57"/>
                    </a:cubicBezTo>
                    <a:cubicBezTo>
                      <a:pt x="124" y="54"/>
                      <a:pt x="122" y="51"/>
                      <a:pt x="123" y="48"/>
                    </a:cubicBezTo>
                    <a:cubicBezTo>
                      <a:pt x="125" y="46"/>
                      <a:pt x="129" y="43"/>
                      <a:pt x="129" y="40"/>
                    </a:cubicBezTo>
                    <a:cubicBezTo>
                      <a:pt x="128" y="38"/>
                      <a:pt x="129" y="36"/>
                      <a:pt x="127" y="34"/>
                    </a:cubicBezTo>
                    <a:cubicBezTo>
                      <a:pt x="124" y="31"/>
                      <a:pt x="125" y="28"/>
                      <a:pt x="128" y="28"/>
                    </a:cubicBezTo>
                    <a:cubicBezTo>
                      <a:pt x="129" y="28"/>
                      <a:pt x="129" y="28"/>
                      <a:pt x="130" y="27"/>
                    </a:cubicBezTo>
                    <a:cubicBezTo>
                      <a:pt x="132" y="27"/>
                      <a:pt x="134" y="26"/>
                      <a:pt x="136" y="25"/>
                    </a:cubicBezTo>
                    <a:cubicBezTo>
                      <a:pt x="140" y="22"/>
                      <a:pt x="148" y="20"/>
                      <a:pt x="151" y="21"/>
                    </a:cubicBezTo>
                    <a:cubicBezTo>
                      <a:pt x="153" y="22"/>
                      <a:pt x="159" y="21"/>
                      <a:pt x="162" y="17"/>
                    </a:cubicBezTo>
                    <a:cubicBezTo>
                      <a:pt x="160" y="16"/>
                      <a:pt x="158" y="16"/>
                      <a:pt x="157" y="16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399" name="Freeform 177">
                <a:extLst>
                  <a:ext uri="{FF2B5EF4-FFF2-40B4-BE49-F238E27FC236}">
                    <a16:creationId xmlns:a16="http://schemas.microsoft.com/office/drawing/2014/main" id="{44947A87-6B55-44E8-A8B5-8452968DC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0888" y="3148013"/>
                <a:ext cx="409575" cy="371475"/>
              </a:xfrm>
              <a:custGeom>
                <a:avLst/>
                <a:gdLst>
                  <a:gd name="T0" fmla="*/ 172 w 187"/>
                  <a:gd name="T1" fmla="*/ 9 h 169"/>
                  <a:gd name="T2" fmla="*/ 158 w 187"/>
                  <a:gd name="T3" fmla="*/ 1 h 169"/>
                  <a:gd name="T4" fmla="*/ 145 w 187"/>
                  <a:gd name="T5" fmla="*/ 4 h 169"/>
                  <a:gd name="T6" fmla="*/ 124 w 187"/>
                  <a:gd name="T7" fmla="*/ 10 h 169"/>
                  <a:gd name="T8" fmla="*/ 121 w 187"/>
                  <a:gd name="T9" fmla="*/ 17 h 169"/>
                  <a:gd name="T10" fmla="*/ 117 w 187"/>
                  <a:gd name="T11" fmla="*/ 31 h 169"/>
                  <a:gd name="T12" fmla="*/ 104 w 187"/>
                  <a:gd name="T13" fmla="*/ 40 h 169"/>
                  <a:gd name="T14" fmla="*/ 100 w 187"/>
                  <a:gd name="T15" fmla="*/ 52 h 169"/>
                  <a:gd name="T16" fmla="*/ 91 w 187"/>
                  <a:gd name="T17" fmla="*/ 69 h 169"/>
                  <a:gd name="T18" fmla="*/ 71 w 187"/>
                  <a:gd name="T19" fmla="*/ 75 h 169"/>
                  <a:gd name="T20" fmla="*/ 63 w 187"/>
                  <a:gd name="T21" fmla="*/ 92 h 169"/>
                  <a:gd name="T22" fmla="*/ 0 w 187"/>
                  <a:gd name="T23" fmla="*/ 95 h 169"/>
                  <a:gd name="T24" fmla="*/ 17 w 187"/>
                  <a:gd name="T25" fmla="*/ 111 h 169"/>
                  <a:gd name="T26" fmla="*/ 25 w 187"/>
                  <a:gd name="T27" fmla="*/ 132 h 169"/>
                  <a:gd name="T28" fmla="*/ 8 w 187"/>
                  <a:gd name="T29" fmla="*/ 147 h 169"/>
                  <a:gd name="T30" fmla="*/ 29 w 187"/>
                  <a:gd name="T31" fmla="*/ 148 h 169"/>
                  <a:gd name="T32" fmla="*/ 56 w 187"/>
                  <a:gd name="T33" fmla="*/ 147 h 169"/>
                  <a:gd name="T34" fmla="*/ 70 w 187"/>
                  <a:gd name="T35" fmla="*/ 155 h 169"/>
                  <a:gd name="T36" fmla="*/ 82 w 187"/>
                  <a:gd name="T37" fmla="*/ 167 h 169"/>
                  <a:gd name="T38" fmla="*/ 85 w 187"/>
                  <a:gd name="T39" fmla="*/ 168 h 169"/>
                  <a:gd name="T40" fmla="*/ 106 w 187"/>
                  <a:gd name="T41" fmla="*/ 160 h 169"/>
                  <a:gd name="T42" fmla="*/ 110 w 187"/>
                  <a:gd name="T43" fmla="*/ 148 h 169"/>
                  <a:gd name="T44" fmla="*/ 98 w 187"/>
                  <a:gd name="T45" fmla="*/ 128 h 169"/>
                  <a:gd name="T46" fmla="*/ 115 w 187"/>
                  <a:gd name="T47" fmla="*/ 118 h 169"/>
                  <a:gd name="T48" fmla="*/ 129 w 187"/>
                  <a:gd name="T49" fmla="*/ 109 h 169"/>
                  <a:gd name="T50" fmla="*/ 143 w 187"/>
                  <a:gd name="T51" fmla="*/ 92 h 169"/>
                  <a:gd name="T52" fmla="*/ 155 w 187"/>
                  <a:gd name="T53" fmla="*/ 80 h 169"/>
                  <a:gd name="T54" fmla="*/ 163 w 187"/>
                  <a:gd name="T55" fmla="*/ 63 h 169"/>
                  <a:gd name="T56" fmla="*/ 151 w 187"/>
                  <a:gd name="T57" fmla="*/ 48 h 169"/>
                  <a:gd name="T58" fmla="*/ 155 w 187"/>
                  <a:gd name="T59" fmla="*/ 31 h 169"/>
                  <a:gd name="T60" fmla="*/ 183 w 187"/>
                  <a:gd name="T61" fmla="*/ 29 h 169"/>
                  <a:gd name="T62" fmla="*/ 178 w 187"/>
                  <a:gd name="T63" fmla="*/ 18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7" h="169">
                    <a:moveTo>
                      <a:pt x="178" y="18"/>
                    </a:moveTo>
                    <a:cubicBezTo>
                      <a:pt x="173" y="15"/>
                      <a:pt x="172" y="11"/>
                      <a:pt x="172" y="9"/>
                    </a:cubicBezTo>
                    <a:cubicBezTo>
                      <a:pt x="172" y="8"/>
                      <a:pt x="166" y="4"/>
                      <a:pt x="162" y="1"/>
                    </a:cubicBezTo>
                    <a:cubicBezTo>
                      <a:pt x="161" y="1"/>
                      <a:pt x="160" y="1"/>
                      <a:pt x="158" y="1"/>
                    </a:cubicBezTo>
                    <a:cubicBezTo>
                      <a:pt x="158" y="1"/>
                      <a:pt x="157" y="1"/>
                      <a:pt x="156" y="0"/>
                    </a:cubicBezTo>
                    <a:cubicBezTo>
                      <a:pt x="153" y="4"/>
                      <a:pt x="147" y="5"/>
                      <a:pt x="145" y="4"/>
                    </a:cubicBezTo>
                    <a:cubicBezTo>
                      <a:pt x="142" y="3"/>
                      <a:pt x="134" y="5"/>
                      <a:pt x="130" y="8"/>
                    </a:cubicBezTo>
                    <a:cubicBezTo>
                      <a:pt x="128" y="9"/>
                      <a:pt x="126" y="10"/>
                      <a:pt x="124" y="10"/>
                    </a:cubicBezTo>
                    <a:cubicBezTo>
                      <a:pt x="123" y="11"/>
                      <a:pt x="123" y="11"/>
                      <a:pt x="122" y="11"/>
                    </a:cubicBezTo>
                    <a:cubicBezTo>
                      <a:pt x="119" y="11"/>
                      <a:pt x="118" y="14"/>
                      <a:pt x="121" y="17"/>
                    </a:cubicBezTo>
                    <a:cubicBezTo>
                      <a:pt x="123" y="19"/>
                      <a:pt x="122" y="21"/>
                      <a:pt x="123" y="23"/>
                    </a:cubicBezTo>
                    <a:cubicBezTo>
                      <a:pt x="123" y="26"/>
                      <a:pt x="119" y="29"/>
                      <a:pt x="117" y="31"/>
                    </a:cubicBezTo>
                    <a:cubicBezTo>
                      <a:pt x="116" y="34"/>
                      <a:pt x="118" y="37"/>
                      <a:pt x="116" y="40"/>
                    </a:cubicBezTo>
                    <a:cubicBezTo>
                      <a:pt x="115" y="43"/>
                      <a:pt x="105" y="39"/>
                      <a:pt x="104" y="40"/>
                    </a:cubicBezTo>
                    <a:cubicBezTo>
                      <a:pt x="102" y="41"/>
                      <a:pt x="107" y="45"/>
                      <a:pt x="107" y="47"/>
                    </a:cubicBezTo>
                    <a:cubicBezTo>
                      <a:pt x="108" y="49"/>
                      <a:pt x="104" y="52"/>
                      <a:pt x="100" y="52"/>
                    </a:cubicBezTo>
                    <a:cubicBezTo>
                      <a:pt x="96" y="52"/>
                      <a:pt x="96" y="57"/>
                      <a:pt x="96" y="64"/>
                    </a:cubicBezTo>
                    <a:cubicBezTo>
                      <a:pt x="96" y="71"/>
                      <a:pt x="92" y="72"/>
                      <a:pt x="91" y="69"/>
                    </a:cubicBezTo>
                    <a:cubicBezTo>
                      <a:pt x="90" y="66"/>
                      <a:pt x="79" y="70"/>
                      <a:pt x="79" y="73"/>
                    </a:cubicBezTo>
                    <a:cubicBezTo>
                      <a:pt x="79" y="76"/>
                      <a:pt x="75" y="75"/>
                      <a:pt x="71" y="75"/>
                    </a:cubicBezTo>
                    <a:cubicBezTo>
                      <a:pt x="67" y="75"/>
                      <a:pt x="62" y="79"/>
                      <a:pt x="62" y="80"/>
                    </a:cubicBezTo>
                    <a:cubicBezTo>
                      <a:pt x="62" y="82"/>
                      <a:pt x="64" y="90"/>
                      <a:pt x="63" y="92"/>
                    </a:cubicBezTo>
                    <a:cubicBezTo>
                      <a:pt x="62" y="93"/>
                      <a:pt x="25" y="99"/>
                      <a:pt x="18" y="97"/>
                    </a:cubicBezTo>
                    <a:cubicBezTo>
                      <a:pt x="12" y="96"/>
                      <a:pt x="5" y="96"/>
                      <a:pt x="0" y="95"/>
                    </a:cubicBezTo>
                    <a:cubicBezTo>
                      <a:pt x="2" y="97"/>
                      <a:pt x="5" y="99"/>
                      <a:pt x="5" y="101"/>
                    </a:cubicBezTo>
                    <a:cubicBezTo>
                      <a:pt x="7" y="105"/>
                      <a:pt x="12" y="109"/>
                      <a:pt x="17" y="111"/>
                    </a:cubicBezTo>
                    <a:cubicBezTo>
                      <a:pt x="22" y="113"/>
                      <a:pt x="20" y="123"/>
                      <a:pt x="22" y="124"/>
                    </a:cubicBezTo>
                    <a:cubicBezTo>
                      <a:pt x="25" y="125"/>
                      <a:pt x="29" y="132"/>
                      <a:pt x="25" y="132"/>
                    </a:cubicBezTo>
                    <a:cubicBezTo>
                      <a:pt x="21" y="133"/>
                      <a:pt x="18" y="133"/>
                      <a:pt x="15" y="135"/>
                    </a:cubicBezTo>
                    <a:cubicBezTo>
                      <a:pt x="11" y="137"/>
                      <a:pt x="7" y="141"/>
                      <a:pt x="8" y="147"/>
                    </a:cubicBezTo>
                    <a:cubicBezTo>
                      <a:pt x="8" y="147"/>
                      <a:pt x="8" y="148"/>
                      <a:pt x="8" y="150"/>
                    </a:cubicBezTo>
                    <a:cubicBezTo>
                      <a:pt x="17" y="150"/>
                      <a:pt x="28" y="149"/>
                      <a:pt x="29" y="148"/>
                    </a:cubicBezTo>
                    <a:cubicBezTo>
                      <a:pt x="31" y="146"/>
                      <a:pt x="35" y="145"/>
                      <a:pt x="38" y="147"/>
                    </a:cubicBezTo>
                    <a:cubicBezTo>
                      <a:pt x="40" y="148"/>
                      <a:pt x="51" y="149"/>
                      <a:pt x="56" y="147"/>
                    </a:cubicBezTo>
                    <a:cubicBezTo>
                      <a:pt x="61" y="144"/>
                      <a:pt x="65" y="147"/>
                      <a:pt x="65" y="149"/>
                    </a:cubicBezTo>
                    <a:cubicBezTo>
                      <a:pt x="65" y="152"/>
                      <a:pt x="68" y="153"/>
                      <a:pt x="70" y="155"/>
                    </a:cubicBezTo>
                    <a:cubicBezTo>
                      <a:pt x="73" y="158"/>
                      <a:pt x="71" y="160"/>
                      <a:pt x="72" y="163"/>
                    </a:cubicBezTo>
                    <a:cubicBezTo>
                      <a:pt x="74" y="166"/>
                      <a:pt x="77" y="165"/>
                      <a:pt x="82" y="167"/>
                    </a:cubicBezTo>
                    <a:cubicBezTo>
                      <a:pt x="83" y="168"/>
                      <a:pt x="83" y="168"/>
                      <a:pt x="84" y="169"/>
                    </a:cubicBezTo>
                    <a:cubicBezTo>
                      <a:pt x="84" y="168"/>
                      <a:pt x="85" y="168"/>
                      <a:pt x="85" y="168"/>
                    </a:cubicBezTo>
                    <a:cubicBezTo>
                      <a:pt x="87" y="165"/>
                      <a:pt x="88" y="159"/>
                      <a:pt x="95" y="161"/>
                    </a:cubicBezTo>
                    <a:cubicBezTo>
                      <a:pt x="102" y="162"/>
                      <a:pt x="102" y="159"/>
                      <a:pt x="106" y="160"/>
                    </a:cubicBezTo>
                    <a:cubicBezTo>
                      <a:pt x="110" y="161"/>
                      <a:pt x="112" y="161"/>
                      <a:pt x="114" y="158"/>
                    </a:cubicBezTo>
                    <a:cubicBezTo>
                      <a:pt x="116" y="155"/>
                      <a:pt x="112" y="150"/>
                      <a:pt x="110" y="148"/>
                    </a:cubicBezTo>
                    <a:cubicBezTo>
                      <a:pt x="108" y="145"/>
                      <a:pt x="105" y="141"/>
                      <a:pt x="105" y="136"/>
                    </a:cubicBezTo>
                    <a:cubicBezTo>
                      <a:pt x="106" y="132"/>
                      <a:pt x="98" y="132"/>
                      <a:pt x="98" y="128"/>
                    </a:cubicBezTo>
                    <a:cubicBezTo>
                      <a:pt x="98" y="125"/>
                      <a:pt x="105" y="119"/>
                      <a:pt x="107" y="117"/>
                    </a:cubicBezTo>
                    <a:cubicBezTo>
                      <a:pt x="108" y="116"/>
                      <a:pt x="114" y="121"/>
                      <a:pt x="115" y="118"/>
                    </a:cubicBezTo>
                    <a:cubicBezTo>
                      <a:pt x="116" y="116"/>
                      <a:pt x="120" y="117"/>
                      <a:pt x="123" y="118"/>
                    </a:cubicBezTo>
                    <a:cubicBezTo>
                      <a:pt x="125" y="118"/>
                      <a:pt x="128" y="113"/>
                      <a:pt x="129" y="109"/>
                    </a:cubicBezTo>
                    <a:cubicBezTo>
                      <a:pt x="129" y="105"/>
                      <a:pt x="137" y="105"/>
                      <a:pt x="138" y="104"/>
                    </a:cubicBezTo>
                    <a:cubicBezTo>
                      <a:pt x="139" y="102"/>
                      <a:pt x="142" y="93"/>
                      <a:pt x="143" y="92"/>
                    </a:cubicBezTo>
                    <a:cubicBezTo>
                      <a:pt x="143" y="90"/>
                      <a:pt x="149" y="91"/>
                      <a:pt x="149" y="86"/>
                    </a:cubicBezTo>
                    <a:cubicBezTo>
                      <a:pt x="149" y="81"/>
                      <a:pt x="152" y="80"/>
                      <a:pt x="155" y="80"/>
                    </a:cubicBezTo>
                    <a:cubicBezTo>
                      <a:pt x="157" y="80"/>
                      <a:pt x="156" y="75"/>
                      <a:pt x="157" y="72"/>
                    </a:cubicBezTo>
                    <a:cubicBezTo>
                      <a:pt x="157" y="68"/>
                      <a:pt x="159" y="64"/>
                      <a:pt x="163" y="63"/>
                    </a:cubicBezTo>
                    <a:cubicBezTo>
                      <a:pt x="166" y="62"/>
                      <a:pt x="161" y="57"/>
                      <a:pt x="157" y="58"/>
                    </a:cubicBezTo>
                    <a:cubicBezTo>
                      <a:pt x="153" y="59"/>
                      <a:pt x="151" y="48"/>
                      <a:pt x="151" y="48"/>
                    </a:cubicBezTo>
                    <a:cubicBezTo>
                      <a:pt x="151" y="48"/>
                      <a:pt x="151" y="38"/>
                      <a:pt x="149" y="37"/>
                    </a:cubicBezTo>
                    <a:cubicBezTo>
                      <a:pt x="147" y="36"/>
                      <a:pt x="150" y="31"/>
                      <a:pt x="155" y="31"/>
                    </a:cubicBezTo>
                    <a:cubicBezTo>
                      <a:pt x="159" y="31"/>
                      <a:pt x="168" y="36"/>
                      <a:pt x="171" y="34"/>
                    </a:cubicBezTo>
                    <a:cubicBezTo>
                      <a:pt x="175" y="32"/>
                      <a:pt x="181" y="30"/>
                      <a:pt x="183" y="29"/>
                    </a:cubicBezTo>
                    <a:cubicBezTo>
                      <a:pt x="184" y="29"/>
                      <a:pt x="186" y="24"/>
                      <a:pt x="187" y="22"/>
                    </a:cubicBezTo>
                    <a:cubicBezTo>
                      <a:pt x="185" y="21"/>
                      <a:pt x="181" y="19"/>
                      <a:pt x="178" y="18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0" name="Freeform 178">
                <a:extLst>
                  <a:ext uri="{FF2B5EF4-FFF2-40B4-BE49-F238E27FC236}">
                    <a16:creationId xmlns:a16="http://schemas.microsoft.com/office/drawing/2014/main" id="{D5AF023F-58C0-4257-9938-850FF90B0B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48450" y="3970338"/>
                <a:ext cx="1139825" cy="415925"/>
              </a:xfrm>
              <a:custGeom>
                <a:avLst/>
                <a:gdLst>
                  <a:gd name="T0" fmla="*/ 39 w 519"/>
                  <a:gd name="T1" fmla="*/ 81 h 189"/>
                  <a:gd name="T2" fmla="*/ 148 w 519"/>
                  <a:gd name="T3" fmla="*/ 101 h 189"/>
                  <a:gd name="T4" fmla="*/ 22 w 519"/>
                  <a:gd name="T5" fmla="*/ 52 h 189"/>
                  <a:gd name="T6" fmla="*/ 279 w 519"/>
                  <a:gd name="T7" fmla="*/ 134 h 189"/>
                  <a:gd name="T8" fmla="*/ 290 w 519"/>
                  <a:gd name="T9" fmla="*/ 107 h 189"/>
                  <a:gd name="T10" fmla="*/ 307 w 519"/>
                  <a:gd name="T11" fmla="*/ 111 h 189"/>
                  <a:gd name="T12" fmla="*/ 318 w 519"/>
                  <a:gd name="T13" fmla="*/ 76 h 189"/>
                  <a:gd name="T14" fmla="*/ 318 w 519"/>
                  <a:gd name="T15" fmla="*/ 64 h 189"/>
                  <a:gd name="T16" fmla="*/ 298 w 519"/>
                  <a:gd name="T17" fmla="*/ 54 h 189"/>
                  <a:gd name="T18" fmla="*/ 267 w 519"/>
                  <a:gd name="T19" fmla="*/ 98 h 189"/>
                  <a:gd name="T20" fmla="*/ 123 w 519"/>
                  <a:gd name="T21" fmla="*/ 106 h 189"/>
                  <a:gd name="T22" fmla="*/ 119 w 519"/>
                  <a:gd name="T23" fmla="*/ 87 h 189"/>
                  <a:gd name="T24" fmla="*/ 115 w 519"/>
                  <a:gd name="T25" fmla="*/ 96 h 189"/>
                  <a:gd name="T26" fmla="*/ 96 w 519"/>
                  <a:gd name="T27" fmla="*/ 72 h 189"/>
                  <a:gd name="T28" fmla="*/ 78 w 519"/>
                  <a:gd name="T29" fmla="*/ 51 h 189"/>
                  <a:gd name="T30" fmla="*/ 53 w 519"/>
                  <a:gd name="T31" fmla="*/ 34 h 189"/>
                  <a:gd name="T32" fmla="*/ 3 w 519"/>
                  <a:gd name="T33" fmla="*/ 5 h 189"/>
                  <a:gd name="T34" fmla="*/ 46 w 519"/>
                  <a:gd name="T35" fmla="*/ 65 h 189"/>
                  <a:gd name="T36" fmla="*/ 100 w 519"/>
                  <a:gd name="T37" fmla="*/ 128 h 189"/>
                  <a:gd name="T38" fmla="*/ 122 w 519"/>
                  <a:gd name="T39" fmla="*/ 118 h 189"/>
                  <a:gd name="T40" fmla="*/ 374 w 519"/>
                  <a:gd name="T41" fmla="*/ 53 h 189"/>
                  <a:gd name="T42" fmla="*/ 376 w 519"/>
                  <a:gd name="T43" fmla="*/ 64 h 189"/>
                  <a:gd name="T44" fmla="*/ 349 w 519"/>
                  <a:gd name="T45" fmla="*/ 106 h 189"/>
                  <a:gd name="T46" fmla="*/ 278 w 519"/>
                  <a:gd name="T47" fmla="*/ 167 h 189"/>
                  <a:gd name="T48" fmla="*/ 323 w 519"/>
                  <a:gd name="T49" fmla="*/ 162 h 189"/>
                  <a:gd name="T50" fmla="*/ 387 w 519"/>
                  <a:gd name="T51" fmla="*/ 108 h 189"/>
                  <a:gd name="T52" fmla="*/ 218 w 519"/>
                  <a:gd name="T53" fmla="*/ 159 h 189"/>
                  <a:gd name="T54" fmla="*/ 197 w 519"/>
                  <a:gd name="T55" fmla="*/ 148 h 189"/>
                  <a:gd name="T56" fmla="*/ 123 w 519"/>
                  <a:gd name="T57" fmla="*/ 138 h 189"/>
                  <a:gd name="T58" fmla="*/ 132 w 519"/>
                  <a:gd name="T59" fmla="*/ 153 h 189"/>
                  <a:gd name="T60" fmla="*/ 201 w 519"/>
                  <a:gd name="T61" fmla="*/ 165 h 189"/>
                  <a:gd name="T62" fmla="*/ 218 w 519"/>
                  <a:gd name="T63" fmla="*/ 159 h 189"/>
                  <a:gd name="T64" fmla="*/ 452 w 519"/>
                  <a:gd name="T65" fmla="*/ 107 h 189"/>
                  <a:gd name="T66" fmla="*/ 405 w 519"/>
                  <a:gd name="T67" fmla="*/ 83 h 189"/>
                  <a:gd name="T68" fmla="*/ 435 w 519"/>
                  <a:gd name="T69" fmla="*/ 94 h 189"/>
                  <a:gd name="T70" fmla="*/ 418 w 519"/>
                  <a:gd name="T71" fmla="*/ 101 h 189"/>
                  <a:gd name="T72" fmla="*/ 444 w 519"/>
                  <a:gd name="T73" fmla="*/ 114 h 189"/>
                  <a:gd name="T74" fmla="*/ 492 w 519"/>
                  <a:gd name="T75" fmla="*/ 144 h 189"/>
                  <a:gd name="T76" fmla="*/ 507 w 519"/>
                  <a:gd name="T77" fmla="*/ 161 h 189"/>
                  <a:gd name="T78" fmla="*/ 481 w 519"/>
                  <a:gd name="T79" fmla="*/ 86 h 189"/>
                  <a:gd name="T80" fmla="*/ 331 w 519"/>
                  <a:gd name="T81" fmla="*/ 175 h 189"/>
                  <a:gd name="T82" fmla="*/ 336 w 519"/>
                  <a:gd name="T83" fmla="*/ 178 h 189"/>
                  <a:gd name="T84" fmla="*/ 340 w 519"/>
                  <a:gd name="T85" fmla="*/ 174 h 189"/>
                  <a:gd name="T86" fmla="*/ 250 w 519"/>
                  <a:gd name="T87" fmla="*/ 67 h 189"/>
                  <a:gd name="T88" fmla="*/ 256 w 519"/>
                  <a:gd name="T89" fmla="*/ 40 h 189"/>
                  <a:gd name="T90" fmla="*/ 255 w 519"/>
                  <a:gd name="T91" fmla="*/ 20 h 189"/>
                  <a:gd name="T92" fmla="*/ 225 w 519"/>
                  <a:gd name="T93" fmla="*/ 36 h 189"/>
                  <a:gd name="T94" fmla="*/ 201 w 519"/>
                  <a:gd name="T95" fmla="*/ 51 h 189"/>
                  <a:gd name="T96" fmla="*/ 166 w 519"/>
                  <a:gd name="T97" fmla="*/ 53 h 189"/>
                  <a:gd name="T98" fmla="*/ 154 w 519"/>
                  <a:gd name="T99" fmla="*/ 61 h 189"/>
                  <a:gd name="T100" fmla="*/ 180 w 519"/>
                  <a:gd name="T101" fmla="*/ 103 h 189"/>
                  <a:gd name="T102" fmla="*/ 219 w 519"/>
                  <a:gd name="T103" fmla="*/ 112 h 189"/>
                  <a:gd name="T104" fmla="*/ 269 w 519"/>
                  <a:gd name="T105" fmla="*/ 178 h 189"/>
                  <a:gd name="T106" fmla="*/ 269 w 519"/>
                  <a:gd name="T107" fmla="*/ 178 h 189"/>
                  <a:gd name="T108" fmla="*/ 236 w 519"/>
                  <a:gd name="T109" fmla="*/ 169 h 189"/>
                  <a:gd name="T110" fmla="*/ 252 w 519"/>
                  <a:gd name="T111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9" h="189">
                    <a:moveTo>
                      <a:pt x="39" y="81"/>
                    </a:moveTo>
                    <a:cubicBezTo>
                      <a:pt x="38" y="82"/>
                      <a:pt x="42" y="89"/>
                      <a:pt x="44" y="87"/>
                    </a:cubicBezTo>
                    <a:cubicBezTo>
                      <a:pt x="46" y="85"/>
                      <a:pt x="41" y="75"/>
                      <a:pt x="39" y="81"/>
                    </a:cubicBezTo>
                    <a:close/>
                    <a:moveTo>
                      <a:pt x="148" y="101"/>
                    </a:moveTo>
                    <a:cubicBezTo>
                      <a:pt x="148" y="98"/>
                      <a:pt x="139" y="99"/>
                      <a:pt x="142" y="104"/>
                    </a:cubicBezTo>
                    <a:cubicBezTo>
                      <a:pt x="144" y="108"/>
                      <a:pt x="148" y="104"/>
                      <a:pt x="148" y="101"/>
                    </a:cubicBezTo>
                    <a:close/>
                    <a:moveTo>
                      <a:pt x="22" y="52"/>
                    </a:moveTo>
                    <a:cubicBezTo>
                      <a:pt x="22" y="55"/>
                      <a:pt x="25" y="65"/>
                      <a:pt x="29" y="61"/>
                    </a:cubicBezTo>
                    <a:cubicBezTo>
                      <a:pt x="33" y="57"/>
                      <a:pt x="23" y="49"/>
                      <a:pt x="22" y="52"/>
                    </a:cubicBezTo>
                    <a:close/>
                    <a:moveTo>
                      <a:pt x="274" y="109"/>
                    </a:moveTo>
                    <a:cubicBezTo>
                      <a:pt x="279" y="109"/>
                      <a:pt x="278" y="117"/>
                      <a:pt x="277" y="121"/>
                    </a:cubicBezTo>
                    <a:cubicBezTo>
                      <a:pt x="276" y="125"/>
                      <a:pt x="274" y="136"/>
                      <a:pt x="279" y="134"/>
                    </a:cubicBezTo>
                    <a:cubicBezTo>
                      <a:pt x="284" y="132"/>
                      <a:pt x="287" y="125"/>
                      <a:pt x="284" y="123"/>
                    </a:cubicBezTo>
                    <a:cubicBezTo>
                      <a:pt x="281" y="121"/>
                      <a:pt x="282" y="106"/>
                      <a:pt x="283" y="102"/>
                    </a:cubicBezTo>
                    <a:cubicBezTo>
                      <a:pt x="284" y="99"/>
                      <a:pt x="293" y="101"/>
                      <a:pt x="290" y="107"/>
                    </a:cubicBezTo>
                    <a:cubicBezTo>
                      <a:pt x="287" y="113"/>
                      <a:pt x="296" y="112"/>
                      <a:pt x="296" y="118"/>
                    </a:cubicBezTo>
                    <a:cubicBezTo>
                      <a:pt x="296" y="125"/>
                      <a:pt x="301" y="121"/>
                      <a:pt x="306" y="120"/>
                    </a:cubicBezTo>
                    <a:cubicBezTo>
                      <a:pt x="312" y="118"/>
                      <a:pt x="311" y="115"/>
                      <a:pt x="307" y="111"/>
                    </a:cubicBezTo>
                    <a:cubicBezTo>
                      <a:pt x="303" y="107"/>
                      <a:pt x="310" y="101"/>
                      <a:pt x="305" y="98"/>
                    </a:cubicBezTo>
                    <a:cubicBezTo>
                      <a:pt x="300" y="95"/>
                      <a:pt x="296" y="90"/>
                      <a:pt x="301" y="89"/>
                    </a:cubicBezTo>
                    <a:cubicBezTo>
                      <a:pt x="306" y="88"/>
                      <a:pt x="320" y="80"/>
                      <a:pt x="318" y="76"/>
                    </a:cubicBezTo>
                    <a:cubicBezTo>
                      <a:pt x="316" y="73"/>
                      <a:pt x="297" y="77"/>
                      <a:pt x="295" y="83"/>
                    </a:cubicBezTo>
                    <a:cubicBezTo>
                      <a:pt x="293" y="89"/>
                      <a:pt x="279" y="82"/>
                      <a:pt x="281" y="72"/>
                    </a:cubicBezTo>
                    <a:cubicBezTo>
                      <a:pt x="283" y="62"/>
                      <a:pt x="310" y="60"/>
                      <a:pt x="318" y="64"/>
                    </a:cubicBezTo>
                    <a:cubicBezTo>
                      <a:pt x="326" y="67"/>
                      <a:pt x="335" y="58"/>
                      <a:pt x="338" y="52"/>
                    </a:cubicBezTo>
                    <a:cubicBezTo>
                      <a:pt x="341" y="46"/>
                      <a:pt x="332" y="53"/>
                      <a:pt x="326" y="57"/>
                    </a:cubicBezTo>
                    <a:cubicBezTo>
                      <a:pt x="320" y="60"/>
                      <a:pt x="305" y="56"/>
                      <a:pt x="298" y="54"/>
                    </a:cubicBezTo>
                    <a:cubicBezTo>
                      <a:pt x="290" y="51"/>
                      <a:pt x="290" y="58"/>
                      <a:pt x="284" y="59"/>
                    </a:cubicBezTo>
                    <a:cubicBezTo>
                      <a:pt x="278" y="60"/>
                      <a:pt x="279" y="74"/>
                      <a:pt x="276" y="76"/>
                    </a:cubicBezTo>
                    <a:cubicBezTo>
                      <a:pt x="273" y="78"/>
                      <a:pt x="273" y="88"/>
                      <a:pt x="267" y="98"/>
                    </a:cubicBezTo>
                    <a:cubicBezTo>
                      <a:pt x="261" y="107"/>
                      <a:pt x="269" y="109"/>
                      <a:pt x="274" y="109"/>
                    </a:cubicBezTo>
                    <a:close/>
                    <a:moveTo>
                      <a:pt x="122" y="118"/>
                    </a:moveTo>
                    <a:cubicBezTo>
                      <a:pt x="121" y="113"/>
                      <a:pt x="123" y="108"/>
                      <a:pt x="123" y="106"/>
                    </a:cubicBezTo>
                    <a:cubicBezTo>
                      <a:pt x="123" y="104"/>
                      <a:pt x="125" y="103"/>
                      <a:pt x="128" y="103"/>
                    </a:cubicBezTo>
                    <a:cubicBezTo>
                      <a:pt x="131" y="104"/>
                      <a:pt x="131" y="97"/>
                      <a:pt x="128" y="96"/>
                    </a:cubicBezTo>
                    <a:cubicBezTo>
                      <a:pt x="126" y="96"/>
                      <a:pt x="125" y="87"/>
                      <a:pt x="119" y="87"/>
                    </a:cubicBezTo>
                    <a:cubicBezTo>
                      <a:pt x="113" y="87"/>
                      <a:pt x="114" y="92"/>
                      <a:pt x="118" y="92"/>
                    </a:cubicBezTo>
                    <a:cubicBezTo>
                      <a:pt x="121" y="93"/>
                      <a:pt x="123" y="95"/>
                      <a:pt x="122" y="98"/>
                    </a:cubicBezTo>
                    <a:cubicBezTo>
                      <a:pt x="121" y="100"/>
                      <a:pt x="120" y="95"/>
                      <a:pt x="115" y="96"/>
                    </a:cubicBezTo>
                    <a:cubicBezTo>
                      <a:pt x="110" y="96"/>
                      <a:pt x="113" y="90"/>
                      <a:pt x="108" y="90"/>
                    </a:cubicBezTo>
                    <a:cubicBezTo>
                      <a:pt x="103" y="89"/>
                      <a:pt x="104" y="80"/>
                      <a:pt x="98" y="80"/>
                    </a:cubicBezTo>
                    <a:cubicBezTo>
                      <a:pt x="92" y="80"/>
                      <a:pt x="92" y="75"/>
                      <a:pt x="96" y="72"/>
                    </a:cubicBezTo>
                    <a:cubicBezTo>
                      <a:pt x="99" y="68"/>
                      <a:pt x="90" y="65"/>
                      <a:pt x="90" y="61"/>
                    </a:cubicBezTo>
                    <a:cubicBezTo>
                      <a:pt x="90" y="57"/>
                      <a:pt x="84" y="60"/>
                      <a:pt x="84" y="56"/>
                    </a:cubicBezTo>
                    <a:cubicBezTo>
                      <a:pt x="84" y="53"/>
                      <a:pt x="81" y="55"/>
                      <a:pt x="78" y="51"/>
                    </a:cubicBezTo>
                    <a:cubicBezTo>
                      <a:pt x="75" y="47"/>
                      <a:pt x="74" y="50"/>
                      <a:pt x="71" y="47"/>
                    </a:cubicBezTo>
                    <a:cubicBezTo>
                      <a:pt x="69" y="44"/>
                      <a:pt x="65" y="43"/>
                      <a:pt x="63" y="44"/>
                    </a:cubicBezTo>
                    <a:cubicBezTo>
                      <a:pt x="60" y="45"/>
                      <a:pt x="55" y="39"/>
                      <a:pt x="53" y="34"/>
                    </a:cubicBezTo>
                    <a:cubicBezTo>
                      <a:pt x="51" y="30"/>
                      <a:pt x="36" y="23"/>
                      <a:pt x="34" y="17"/>
                    </a:cubicBezTo>
                    <a:cubicBezTo>
                      <a:pt x="32" y="11"/>
                      <a:pt x="27" y="9"/>
                      <a:pt x="18" y="9"/>
                    </a:cubicBezTo>
                    <a:cubicBezTo>
                      <a:pt x="9" y="10"/>
                      <a:pt x="5" y="0"/>
                      <a:pt x="3" y="5"/>
                    </a:cubicBezTo>
                    <a:cubicBezTo>
                      <a:pt x="0" y="11"/>
                      <a:pt x="13" y="23"/>
                      <a:pt x="18" y="27"/>
                    </a:cubicBezTo>
                    <a:cubicBezTo>
                      <a:pt x="24" y="30"/>
                      <a:pt x="27" y="42"/>
                      <a:pt x="34" y="43"/>
                    </a:cubicBezTo>
                    <a:cubicBezTo>
                      <a:pt x="40" y="43"/>
                      <a:pt x="41" y="64"/>
                      <a:pt x="46" y="65"/>
                    </a:cubicBezTo>
                    <a:cubicBezTo>
                      <a:pt x="51" y="66"/>
                      <a:pt x="62" y="83"/>
                      <a:pt x="63" y="91"/>
                    </a:cubicBezTo>
                    <a:cubicBezTo>
                      <a:pt x="65" y="100"/>
                      <a:pt x="76" y="104"/>
                      <a:pt x="80" y="111"/>
                    </a:cubicBezTo>
                    <a:cubicBezTo>
                      <a:pt x="83" y="117"/>
                      <a:pt x="98" y="126"/>
                      <a:pt x="100" y="128"/>
                    </a:cubicBezTo>
                    <a:cubicBezTo>
                      <a:pt x="102" y="131"/>
                      <a:pt x="104" y="137"/>
                      <a:pt x="106" y="134"/>
                    </a:cubicBezTo>
                    <a:cubicBezTo>
                      <a:pt x="107" y="131"/>
                      <a:pt x="114" y="134"/>
                      <a:pt x="118" y="134"/>
                    </a:cubicBezTo>
                    <a:cubicBezTo>
                      <a:pt x="121" y="135"/>
                      <a:pt x="122" y="122"/>
                      <a:pt x="122" y="118"/>
                    </a:cubicBezTo>
                    <a:close/>
                    <a:moveTo>
                      <a:pt x="376" y="64"/>
                    </a:moveTo>
                    <a:cubicBezTo>
                      <a:pt x="384" y="65"/>
                      <a:pt x="380" y="61"/>
                      <a:pt x="380" y="56"/>
                    </a:cubicBezTo>
                    <a:cubicBezTo>
                      <a:pt x="380" y="51"/>
                      <a:pt x="374" y="55"/>
                      <a:pt x="374" y="53"/>
                    </a:cubicBezTo>
                    <a:cubicBezTo>
                      <a:pt x="374" y="51"/>
                      <a:pt x="371" y="41"/>
                      <a:pt x="366" y="49"/>
                    </a:cubicBezTo>
                    <a:cubicBezTo>
                      <a:pt x="361" y="56"/>
                      <a:pt x="368" y="74"/>
                      <a:pt x="372" y="73"/>
                    </a:cubicBezTo>
                    <a:cubicBezTo>
                      <a:pt x="376" y="73"/>
                      <a:pt x="369" y="64"/>
                      <a:pt x="376" y="64"/>
                    </a:cubicBezTo>
                    <a:close/>
                    <a:moveTo>
                      <a:pt x="349" y="106"/>
                    </a:moveTo>
                    <a:cubicBezTo>
                      <a:pt x="350" y="111"/>
                      <a:pt x="360" y="114"/>
                      <a:pt x="363" y="110"/>
                    </a:cubicBezTo>
                    <a:cubicBezTo>
                      <a:pt x="365" y="105"/>
                      <a:pt x="347" y="100"/>
                      <a:pt x="349" y="106"/>
                    </a:cubicBezTo>
                    <a:close/>
                    <a:moveTo>
                      <a:pt x="323" y="162"/>
                    </a:moveTo>
                    <a:cubicBezTo>
                      <a:pt x="314" y="161"/>
                      <a:pt x="308" y="168"/>
                      <a:pt x="299" y="164"/>
                    </a:cubicBezTo>
                    <a:cubicBezTo>
                      <a:pt x="290" y="161"/>
                      <a:pt x="276" y="164"/>
                      <a:pt x="278" y="167"/>
                    </a:cubicBezTo>
                    <a:cubicBezTo>
                      <a:pt x="279" y="170"/>
                      <a:pt x="287" y="170"/>
                      <a:pt x="296" y="171"/>
                    </a:cubicBezTo>
                    <a:cubicBezTo>
                      <a:pt x="305" y="171"/>
                      <a:pt x="313" y="166"/>
                      <a:pt x="319" y="166"/>
                    </a:cubicBezTo>
                    <a:cubicBezTo>
                      <a:pt x="325" y="165"/>
                      <a:pt x="332" y="164"/>
                      <a:pt x="323" y="162"/>
                    </a:cubicBezTo>
                    <a:close/>
                    <a:moveTo>
                      <a:pt x="394" y="101"/>
                    </a:moveTo>
                    <a:cubicBezTo>
                      <a:pt x="385" y="99"/>
                      <a:pt x="370" y="101"/>
                      <a:pt x="372" y="105"/>
                    </a:cubicBezTo>
                    <a:cubicBezTo>
                      <a:pt x="373" y="109"/>
                      <a:pt x="380" y="108"/>
                      <a:pt x="387" y="108"/>
                    </a:cubicBezTo>
                    <a:cubicBezTo>
                      <a:pt x="394" y="108"/>
                      <a:pt x="398" y="113"/>
                      <a:pt x="402" y="113"/>
                    </a:cubicBezTo>
                    <a:cubicBezTo>
                      <a:pt x="405" y="113"/>
                      <a:pt x="403" y="104"/>
                      <a:pt x="394" y="101"/>
                    </a:cubicBezTo>
                    <a:close/>
                    <a:moveTo>
                      <a:pt x="218" y="159"/>
                    </a:moveTo>
                    <a:cubicBezTo>
                      <a:pt x="218" y="155"/>
                      <a:pt x="205" y="158"/>
                      <a:pt x="199" y="156"/>
                    </a:cubicBezTo>
                    <a:cubicBezTo>
                      <a:pt x="192" y="153"/>
                      <a:pt x="206" y="151"/>
                      <a:pt x="210" y="148"/>
                    </a:cubicBezTo>
                    <a:cubicBezTo>
                      <a:pt x="214" y="145"/>
                      <a:pt x="207" y="144"/>
                      <a:pt x="197" y="148"/>
                    </a:cubicBezTo>
                    <a:cubicBezTo>
                      <a:pt x="186" y="151"/>
                      <a:pt x="174" y="140"/>
                      <a:pt x="173" y="145"/>
                    </a:cubicBezTo>
                    <a:cubicBezTo>
                      <a:pt x="173" y="150"/>
                      <a:pt x="154" y="143"/>
                      <a:pt x="149" y="140"/>
                    </a:cubicBezTo>
                    <a:cubicBezTo>
                      <a:pt x="145" y="136"/>
                      <a:pt x="127" y="132"/>
                      <a:pt x="123" y="138"/>
                    </a:cubicBezTo>
                    <a:cubicBezTo>
                      <a:pt x="119" y="145"/>
                      <a:pt x="116" y="139"/>
                      <a:pt x="118" y="145"/>
                    </a:cubicBezTo>
                    <a:cubicBezTo>
                      <a:pt x="119" y="149"/>
                      <a:pt x="123" y="147"/>
                      <a:pt x="126" y="147"/>
                    </a:cubicBezTo>
                    <a:cubicBezTo>
                      <a:pt x="129" y="147"/>
                      <a:pt x="128" y="152"/>
                      <a:pt x="132" y="153"/>
                    </a:cubicBezTo>
                    <a:cubicBezTo>
                      <a:pt x="136" y="154"/>
                      <a:pt x="151" y="158"/>
                      <a:pt x="152" y="155"/>
                    </a:cubicBezTo>
                    <a:cubicBezTo>
                      <a:pt x="153" y="152"/>
                      <a:pt x="167" y="155"/>
                      <a:pt x="173" y="160"/>
                    </a:cubicBezTo>
                    <a:cubicBezTo>
                      <a:pt x="180" y="165"/>
                      <a:pt x="195" y="166"/>
                      <a:pt x="201" y="165"/>
                    </a:cubicBezTo>
                    <a:cubicBezTo>
                      <a:pt x="207" y="164"/>
                      <a:pt x="214" y="169"/>
                      <a:pt x="216" y="165"/>
                    </a:cubicBezTo>
                    <a:cubicBezTo>
                      <a:pt x="219" y="162"/>
                      <a:pt x="223" y="171"/>
                      <a:pt x="230" y="166"/>
                    </a:cubicBezTo>
                    <a:cubicBezTo>
                      <a:pt x="236" y="161"/>
                      <a:pt x="219" y="163"/>
                      <a:pt x="218" y="159"/>
                    </a:cubicBezTo>
                    <a:close/>
                    <a:moveTo>
                      <a:pt x="481" y="86"/>
                    </a:moveTo>
                    <a:cubicBezTo>
                      <a:pt x="476" y="86"/>
                      <a:pt x="475" y="95"/>
                      <a:pt x="471" y="95"/>
                    </a:cubicBezTo>
                    <a:cubicBezTo>
                      <a:pt x="466" y="95"/>
                      <a:pt x="460" y="104"/>
                      <a:pt x="452" y="107"/>
                    </a:cubicBezTo>
                    <a:cubicBezTo>
                      <a:pt x="444" y="109"/>
                      <a:pt x="444" y="84"/>
                      <a:pt x="440" y="79"/>
                    </a:cubicBezTo>
                    <a:cubicBezTo>
                      <a:pt x="437" y="74"/>
                      <a:pt x="417" y="70"/>
                      <a:pt x="415" y="75"/>
                    </a:cubicBezTo>
                    <a:cubicBezTo>
                      <a:pt x="413" y="81"/>
                      <a:pt x="406" y="78"/>
                      <a:pt x="405" y="83"/>
                    </a:cubicBezTo>
                    <a:cubicBezTo>
                      <a:pt x="404" y="87"/>
                      <a:pt x="407" y="86"/>
                      <a:pt x="411" y="86"/>
                    </a:cubicBezTo>
                    <a:cubicBezTo>
                      <a:pt x="415" y="86"/>
                      <a:pt x="415" y="89"/>
                      <a:pt x="417" y="93"/>
                    </a:cubicBezTo>
                    <a:cubicBezTo>
                      <a:pt x="419" y="98"/>
                      <a:pt x="431" y="95"/>
                      <a:pt x="435" y="94"/>
                    </a:cubicBezTo>
                    <a:cubicBezTo>
                      <a:pt x="439" y="94"/>
                      <a:pt x="440" y="100"/>
                      <a:pt x="434" y="98"/>
                    </a:cubicBezTo>
                    <a:cubicBezTo>
                      <a:pt x="429" y="96"/>
                      <a:pt x="429" y="100"/>
                      <a:pt x="425" y="99"/>
                    </a:cubicBezTo>
                    <a:cubicBezTo>
                      <a:pt x="421" y="98"/>
                      <a:pt x="415" y="99"/>
                      <a:pt x="418" y="101"/>
                    </a:cubicBezTo>
                    <a:cubicBezTo>
                      <a:pt x="421" y="103"/>
                      <a:pt x="425" y="106"/>
                      <a:pt x="425" y="111"/>
                    </a:cubicBezTo>
                    <a:cubicBezTo>
                      <a:pt x="425" y="116"/>
                      <a:pt x="433" y="115"/>
                      <a:pt x="433" y="111"/>
                    </a:cubicBezTo>
                    <a:cubicBezTo>
                      <a:pt x="433" y="107"/>
                      <a:pt x="437" y="112"/>
                      <a:pt x="444" y="114"/>
                    </a:cubicBezTo>
                    <a:cubicBezTo>
                      <a:pt x="452" y="116"/>
                      <a:pt x="447" y="119"/>
                      <a:pt x="454" y="120"/>
                    </a:cubicBezTo>
                    <a:cubicBezTo>
                      <a:pt x="462" y="120"/>
                      <a:pt x="479" y="126"/>
                      <a:pt x="486" y="131"/>
                    </a:cubicBezTo>
                    <a:cubicBezTo>
                      <a:pt x="493" y="136"/>
                      <a:pt x="488" y="139"/>
                      <a:pt x="492" y="144"/>
                    </a:cubicBezTo>
                    <a:cubicBezTo>
                      <a:pt x="497" y="148"/>
                      <a:pt x="498" y="154"/>
                      <a:pt x="492" y="154"/>
                    </a:cubicBezTo>
                    <a:cubicBezTo>
                      <a:pt x="486" y="154"/>
                      <a:pt x="480" y="160"/>
                      <a:pt x="481" y="163"/>
                    </a:cubicBezTo>
                    <a:cubicBezTo>
                      <a:pt x="483" y="166"/>
                      <a:pt x="503" y="161"/>
                      <a:pt x="507" y="161"/>
                    </a:cubicBezTo>
                    <a:cubicBezTo>
                      <a:pt x="510" y="161"/>
                      <a:pt x="513" y="167"/>
                      <a:pt x="519" y="171"/>
                    </a:cubicBezTo>
                    <a:cubicBezTo>
                      <a:pt x="519" y="99"/>
                      <a:pt x="519" y="99"/>
                      <a:pt x="519" y="99"/>
                    </a:cubicBezTo>
                    <a:cubicBezTo>
                      <a:pt x="505" y="95"/>
                      <a:pt x="485" y="86"/>
                      <a:pt x="481" y="86"/>
                    </a:cubicBezTo>
                    <a:close/>
                    <a:moveTo>
                      <a:pt x="336" y="170"/>
                    </a:moveTo>
                    <a:cubicBezTo>
                      <a:pt x="335" y="171"/>
                      <a:pt x="334" y="172"/>
                      <a:pt x="333" y="172"/>
                    </a:cubicBezTo>
                    <a:cubicBezTo>
                      <a:pt x="332" y="173"/>
                      <a:pt x="332" y="175"/>
                      <a:pt x="331" y="175"/>
                    </a:cubicBezTo>
                    <a:cubicBezTo>
                      <a:pt x="330" y="176"/>
                      <a:pt x="328" y="174"/>
                      <a:pt x="327" y="173"/>
                    </a:cubicBezTo>
                    <a:cubicBezTo>
                      <a:pt x="321" y="176"/>
                      <a:pt x="317" y="184"/>
                      <a:pt x="322" y="186"/>
                    </a:cubicBezTo>
                    <a:cubicBezTo>
                      <a:pt x="326" y="188"/>
                      <a:pt x="332" y="182"/>
                      <a:pt x="336" y="178"/>
                    </a:cubicBezTo>
                    <a:cubicBezTo>
                      <a:pt x="337" y="177"/>
                      <a:pt x="337" y="176"/>
                      <a:pt x="338" y="176"/>
                    </a:cubicBezTo>
                    <a:cubicBezTo>
                      <a:pt x="338" y="176"/>
                      <a:pt x="338" y="175"/>
                      <a:pt x="339" y="175"/>
                    </a:cubicBezTo>
                    <a:cubicBezTo>
                      <a:pt x="339" y="175"/>
                      <a:pt x="339" y="174"/>
                      <a:pt x="340" y="174"/>
                    </a:cubicBezTo>
                    <a:cubicBezTo>
                      <a:pt x="339" y="173"/>
                      <a:pt x="337" y="171"/>
                      <a:pt x="336" y="170"/>
                    </a:cubicBezTo>
                    <a:close/>
                    <a:moveTo>
                      <a:pt x="244" y="85"/>
                    </a:moveTo>
                    <a:cubicBezTo>
                      <a:pt x="250" y="81"/>
                      <a:pt x="251" y="74"/>
                      <a:pt x="250" y="67"/>
                    </a:cubicBezTo>
                    <a:cubicBezTo>
                      <a:pt x="250" y="61"/>
                      <a:pt x="265" y="60"/>
                      <a:pt x="267" y="58"/>
                    </a:cubicBezTo>
                    <a:cubicBezTo>
                      <a:pt x="270" y="55"/>
                      <a:pt x="264" y="51"/>
                      <a:pt x="260" y="49"/>
                    </a:cubicBezTo>
                    <a:cubicBezTo>
                      <a:pt x="255" y="47"/>
                      <a:pt x="259" y="42"/>
                      <a:pt x="256" y="40"/>
                    </a:cubicBezTo>
                    <a:cubicBezTo>
                      <a:pt x="253" y="37"/>
                      <a:pt x="248" y="30"/>
                      <a:pt x="252" y="30"/>
                    </a:cubicBezTo>
                    <a:cubicBezTo>
                      <a:pt x="257" y="29"/>
                      <a:pt x="249" y="23"/>
                      <a:pt x="253" y="21"/>
                    </a:cubicBezTo>
                    <a:cubicBezTo>
                      <a:pt x="253" y="21"/>
                      <a:pt x="254" y="21"/>
                      <a:pt x="255" y="20"/>
                    </a:cubicBezTo>
                    <a:cubicBezTo>
                      <a:pt x="252" y="19"/>
                      <a:pt x="250" y="19"/>
                      <a:pt x="249" y="19"/>
                    </a:cubicBezTo>
                    <a:cubicBezTo>
                      <a:pt x="244" y="19"/>
                      <a:pt x="231" y="17"/>
                      <a:pt x="232" y="26"/>
                    </a:cubicBezTo>
                    <a:cubicBezTo>
                      <a:pt x="233" y="35"/>
                      <a:pt x="225" y="31"/>
                      <a:pt x="225" y="36"/>
                    </a:cubicBezTo>
                    <a:cubicBezTo>
                      <a:pt x="226" y="41"/>
                      <a:pt x="221" y="41"/>
                      <a:pt x="222" y="47"/>
                    </a:cubicBezTo>
                    <a:cubicBezTo>
                      <a:pt x="223" y="53"/>
                      <a:pt x="219" y="50"/>
                      <a:pt x="212" y="53"/>
                    </a:cubicBezTo>
                    <a:cubicBezTo>
                      <a:pt x="205" y="57"/>
                      <a:pt x="208" y="51"/>
                      <a:pt x="201" y="51"/>
                    </a:cubicBezTo>
                    <a:cubicBezTo>
                      <a:pt x="195" y="51"/>
                      <a:pt x="194" y="55"/>
                      <a:pt x="190" y="56"/>
                    </a:cubicBezTo>
                    <a:cubicBezTo>
                      <a:pt x="186" y="57"/>
                      <a:pt x="178" y="55"/>
                      <a:pt x="175" y="57"/>
                    </a:cubicBezTo>
                    <a:cubicBezTo>
                      <a:pt x="173" y="59"/>
                      <a:pt x="169" y="53"/>
                      <a:pt x="166" y="53"/>
                    </a:cubicBezTo>
                    <a:cubicBezTo>
                      <a:pt x="164" y="53"/>
                      <a:pt x="163" y="49"/>
                      <a:pt x="162" y="45"/>
                    </a:cubicBezTo>
                    <a:cubicBezTo>
                      <a:pt x="162" y="45"/>
                      <a:pt x="162" y="45"/>
                      <a:pt x="161" y="45"/>
                    </a:cubicBezTo>
                    <a:cubicBezTo>
                      <a:pt x="157" y="46"/>
                      <a:pt x="150" y="57"/>
                      <a:pt x="154" y="61"/>
                    </a:cubicBezTo>
                    <a:cubicBezTo>
                      <a:pt x="159" y="66"/>
                      <a:pt x="158" y="73"/>
                      <a:pt x="160" y="77"/>
                    </a:cubicBezTo>
                    <a:cubicBezTo>
                      <a:pt x="162" y="80"/>
                      <a:pt x="170" y="81"/>
                      <a:pt x="170" y="88"/>
                    </a:cubicBezTo>
                    <a:cubicBezTo>
                      <a:pt x="170" y="95"/>
                      <a:pt x="176" y="106"/>
                      <a:pt x="180" y="103"/>
                    </a:cubicBezTo>
                    <a:cubicBezTo>
                      <a:pt x="185" y="100"/>
                      <a:pt x="188" y="104"/>
                      <a:pt x="189" y="107"/>
                    </a:cubicBezTo>
                    <a:cubicBezTo>
                      <a:pt x="191" y="110"/>
                      <a:pt x="201" y="105"/>
                      <a:pt x="204" y="106"/>
                    </a:cubicBezTo>
                    <a:cubicBezTo>
                      <a:pt x="208" y="106"/>
                      <a:pt x="218" y="108"/>
                      <a:pt x="219" y="112"/>
                    </a:cubicBezTo>
                    <a:cubicBezTo>
                      <a:pt x="219" y="116"/>
                      <a:pt x="229" y="112"/>
                      <a:pt x="235" y="110"/>
                    </a:cubicBezTo>
                    <a:cubicBezTo>
                      <a:pt x="241" y="107"/>
                      <a:pt x="238" y="88"/>
                      <a:pt x="244" y="85"/>
                    </a:cubicBezTo>
                    <a:close/>
                    <a:moveTo>
                      <a:pt x="269" y="178"/>
                    </a:moveTo>
                    <a:cubicBezTo>
                      <a:pt x="271" y="181"/>
                      <a:pt x="276" y="181"/>
                      <a:pt x="279" y="183"/>
                    </a:cubicBezTo>
                    <a:cubicBezTo>
                      <a:pt x="281" y="185"/>
                      <a:pt x="289" y="189"/>
                      <a:pt x="289" y="184"/>
                    </a:cubicBezTo>
                    <a:cubicBezTo>
                      <a:pt x="289" y="178"/>
                      <a:pt x="266" y="175"/>
                      <a:pt x="269" y="178"/>
                    </a:cubicBezTo>
                    <a:close/>
                    <a:moveTo>
                      <a:pt x="252" y="162"/>
                    </a:moveTo>
                    <a:cubicBezTo>
                      <a:pt x="251" y="165"/>
                      <a:pt x="245" y="165"/>
                      <a:pt x="242" y="163"/>
                    </a:cubicBezTo>
                    <a:cubicBezTo>
                      <a:pt x="238" y="161"/>
                      <a:pt x="234" y="166"/>
                      <a:pt x="236" y="169"/>
                    </a:cubicBezTo>
                    <a:cubicBezTo>
                      <a:pt x="237" y="170"/>
                      <a:pt x="244" y="176"/>
                      <a:pt x="253" y="172"/>
                    </a:cubicBezTo>
                    <a:cubicBezTo>
                      <a:pt x="261" y="168"/>
                      <a:pt x="267" y="171"/>
                      <a:pt x="269" y="167"/>
                    </a:cubicBezTo>
                    <a:cubicBezTo>
                      <a:pt x="271" y="163"/>
                      <a:pt x="253" y="159"/>
                      <a:pt x="252" y="162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1" name="Freeform 179">
                <a:extLst>
                  <a:ext uri="{FF2B5EF4-FFF2-40B4-BE49-F238E27FC236}">
                    <a16:creationId xmlns:a16="http://schemas.microsoft.com/office/drawing/2014/main" id="{318C8362-7F6A-4109-9A3E-1B4264CD99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7588" y="4324350"/>
                <a:ext cx="82550" cy="33338"/>
              </a:xfrm>
              <a:custGeom>
                <a:avLst/>
                <a:gdLst>
                  <a:gd name="T0" fmla="*/ 4 w 38"/>
                  <a:gd name="T1" fmla="*/ 11 h 15"/>
                  <a:gd name="T2" fmla="*/ 0 w 38"/>
                  <a:gd name="T3" fmla="*/ 12 h 15"/>
                  <a:gd name="T4" fmla="*/ 4 w 38"/>
                  <a:gd name="T5" fmla="*/ 14 h 15"/>
                  <a:gd name="T6" fmla="*/ 6 w 38"/>
                  <a:gd name="T7" fmla="*/ 11 h 15"/>
                  <a:gd name="T8" fmla="*/ 4 w 38"/>
                  <a:gd name="T9" fmla="*/ 11 h 15"/>
                  <a:gd name="T10" fmla="*/ 4 w 38"/>
                  <a:gd name="T11" fmla="*/ 11 h 15"/>
                  <a:gd name="T12" fmla="*/ 20 w 38"/>
                  <a:gd name="T13" fmla="*/ 3 h 15"/>
                  <a:gd name="T14" fmla="*/ 10 w 38"/>
                  <a:gd name="T15" fmla="*/ 9 h 15"/>
                  <a:gd name="T16" fmla="*/ 9 w 38"/>
                  <a:gd name="T17" fmla="*/ 9 h 15"/>
                  <a:gd name="T18" fmla="*/ 13 w 38"/>
                  <a:gd name="T19" fmla="*/ 13 h 15"/>
                  <a:gd name="T20" fmla="*/ 37 w 38"/>
                  <a:gd name="T21" fmla="*/ 2 h 15"/>
                  <a:gd name="T22" fmla="*/ 20 w 38"/>
                  <a:gd name="T23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15">
                    <a:moveTo>
                      <a:pt x="4" y="11"/>
                    </a:moveTo>
                    <a:cubicBezTo>
                      <a:pt x="3" y="11"/>
                      <a:pt x="1" y="12"/>
                      <a:pt x="0" y="12"/>
                    </a:cubicBezTo>
                    <a:cubicBezTo>
                      <a:pt x="1" y="13"/>
                      <a:pt x="3" y="15"/>
                      <a:pt x="4" y="14"/>
                    </a:cubicBezTo>
                    <a:cubicBezTo>
                      <a:pt x="5" y="14"/>
                      <a:pt x="5" y="12"/>
                      <a:pt x="6" y="11"/>
                    </a:cubicBezTo>
                    <a:cubicBezTo>
                      <a:pt x="5" y="11"/>
                      <a:pt x="5" y="11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close/>
                    <a:moveTo>
                      <a:pt x="20" y="3"/>
                    </a:moveTo>
                    <a:cubicBezTo>
                      <a:pt x="15" y="2"/>
                      <a:pt x="14" y="6"/>
                      <a:pt x="10" y="9"/>
                    </a:cubicBezTo>
                    <a:cubicBezTo>
                      <a:pt x="10" y="9"/>
                      <a:pt x="10" y="9"/>
                      <a:pt x="9" y="9"/>
                    </a:cubicBezTo>
                    <a:cubicBezTo>
                      <a:pt x="10" y="10"/>
                      <a:pt x="12" y="12"/>
                      <a:pt x="13" y="13"/>
                    </a:cubicBezTo>
                    <a:cubicBezTo>
                      <a:pt x="19" y="9"/>
                      <a:pt x="36" y="5"/>
                      <a:pt x="37" y="2"/>
                    </a:cubicBezTo>
                    <a:cubicBezTo>
                      <a:pt x="38" y="0"/>
                      <a:pt x="27" y="3"/>
                      <a:pt x="20" y="3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2" name="Freeform 180">
                <a:extLst>
                  <a:ext uri="{FF2B5EF4-FFF2-40B4-BE49-F238E27FC236}">
                    <a16:creationId xmlns:a16="http://schemas.microsoft.com/office/drawing/2014/main" id="{6F53B7BE-4BEB-41A1-B1A5-5402321302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1038" y="2844800"/>
                <a:ext cx="285750" cy="311150"/>
              </a:xfrm>
              <a:custGeom>
                <a:avLst/>
                <a:gdLst>
                  <a:gd name="T0" fmla="*/ 90 w 130"/>
                  <a:gd name="T1" fmla="*/ 123 h 142"/>
                  <a:gd name="T2" fmla="*/ 76 w 130"/>
                  <a:gd name="T3" fmla="*/ 123 h 142"/>
                  <a:gd name="T4" fmla="*/ 67 w 130"/>
                  <a:gd name="T5" fmla="*/ 127 h 142"/>
                  <a:gd name="T6" fmla="*/ 78 w 130"/>
                  <a:gd name="T7" fmla="*/ 134 h 142"/>
                  <a:gd name="T8" fmla="*/ 91 w 130"/>
                  <a:gd name="T9" fmla="*/ 142 h 142"/>
                  <a:gd name="T10" fmla="*/ 94 w 130"/>
                  <a:gd name="T11" fmla="*/ 134 h 142"/>
                  <a:gd name="T12" fmla="*/ 99 w 130"/>
                  <a:gd name="T13" fmla="*/ 123 h 142"/>
                  <a:gd name="T14" fmla="*/ 90 w 130"/>
                  <a:gd name="T15" fmla="*/ 123 h 142"/>
                  <a:gd name="T16" fmla="*/ 25 w 130"/>
                  <a:gd name="T17" fmla="*/ 85 h 142"/>
                  <a:gd name="T18" fmla="*/ 17 w 130"/>
                  <a:gd name="T19" fmla="*/ 87 h 142"/>
                  <a:gd name="T20" fmla="*/ 21 w 130"/>
                  <a:gd name="T21" fmla="*/ 101 h 142"/>
                  <a:gd name="T22" fmla="*/ 26 w 130"/>
                  <a:gd name="T23" fmla="*/ 112 h 142"/>
                  <a:gd name="T24" fmla="*/ 34 w 130"/>
                  <a:gd name="T25" fmla="*/ 107 h 142"/>
                  <a:gd name="T26" fmla="*/ 36 w 130"/>
                  <a:gd name="T27" fmla="*/ 89 h 142"/>
                  <a:gd name="T28" fmla="*/ 25 w 130"/>
                  <a:gd name="T29" fmla="*/ 85 h 142"/>
                  <a:gd name="T30" fmla="*/ 107 w 130"/>
                  <a:gd name="T31" fmla="*/ 80 h 142"/>
                  <a:gd name="T32" fmla="*/ 99 w 130"/>
                  <a:gd name="T33" fmla="*/ 73 h 142"/>
                  <a:gd name="T34" fmla="*/ 81 w 130"/>
                  <a:gd name="T35" fmla="*/ 55 h 142"/>
                  <a:gd name="T36" fmla="*/ 65 w 130"/>
                  <a:gd name="T37" fmla="*/ 39 h 142"/>
                  <a:gd name="T38" fmla="*/ 66 w 130"/>
                  <a:gd name="T39" fmla="*/ 27 h 142"/>
                  <a:gd name="T40" fmla="*/ 70 w 130"/>
                  <a:gd name="T41" fmla="*/ 21 h 142"/>
                  <a:gd name="T42" fmla="*/ 71 w 130"/>
                  <a:gd name="T43" fmla="*/ 6 h 142"/>
                  <a:gd name="T44" fmla="*/ 65 w 130"/>
                  <a:gd name="T45" fmla="*/ 5 h 142"/>
                  <a:gd name="T46" fmla="*/ 63 w 130"/>
                  <a:gd name="T47" fmla="*/ 0 h 142"/>
                  <a:gd name="T48" fmla="*/ 54 w 130"/>
                  <a:gd name="T49" fmla="*/ 1 h 142"/>
                  <a:gd name="T50" fmla="*/ 47 w 130"/>
                  <a:gd name="T51" fmla="*/ 4 h 142"/>
                  <a:gd name="T52" fmla="*/ 46 w 130"/>
                  <a:gd name="T53" fmla="*/ 3 h 142"/>
                  <a:gd name="T54" fmla="*/ 44 w 130"/>
                  <a:gd name="T55" fmla="*/ 5 h 142"/>
                  <a:gd name="T56" fmla="*/ 42 w 130"/>
                  <a:gd name="T57" fmla="*/ 8 h 142"/>
                  <a:gd name="T58" fmla="*/ 39 w 130"/>
                  <a:gd name="T59" fmla="*/ 9 h 142"/>
                  <a:gd name="T60" fmla="*/ 33 w 130"/>
                  <a:gd name="T61" fmla="*/ 10 h 142"/>
                  <a:gd name="T62" fmla="*/ 29 w 130"/>
                  <a:gd name="T63" fmla="*/ 13 h 142"/>
                  <a:gd name="T64" fmla="*/ 26 w 130"/>
                  <a:gd name="T65" fmla="*/ 17 h 142"/>
                  <a:gd name="T66" fmla="*/ 20 w 130"/>
                  <a:gd name="T67" fmla="*/ 9 h 142"/>
                  <a:gd name="T68" fmla="*/ 14 w 130"/>
                  <a:gd name="T69" fmla="*/ 17 h 142"/>
                  <a:gd name="T70" fmla="*/ 5 w 130"/>
                  <a:gd name="T71" fmla="*/ 18 h 142"/>
                  <a:gd name="T72" fmla="*/ 6 w 130"/>
                  <a:gd name="T73" fmla="*/ 23 h 142"/>
                  <a:gd name="T74" fmla="*/ 4 w 130"/>
                  <a:gd name="T75" fmla="*/ 27 h 142"/>
                  <a:gd name="T76" fmla="*/ 1 w 130"/>
                  <a:gd name="T77" fmla="*/ 30 h 142"/>
                  <a:gd name="T78" fmla="*/ 5 w 130"/>
                  <a:gd name="T79" fmla="*/ 36 h 142"/>
                  <a:gd name="T80" fmla="*/ 7 w 130"/>
                  <a:gd name="T81" fmla="*/ 41 h 142"/>
                  <a:gd name="T82" fmla="*/ 12 w 130"/>
                  <a:gd name="T83" fmla="*/ 43 h 142"/>
                  <a:gd name="T84" fmla="*/ 11 w 130"/>
                  <a:gd name="T85" fmla="*/ 47 h 142"/>
                  <a:gd name="T86" fmla="*/ 17 w 130"/>
                  <a:gd name="T87" fmla="*/ 45 h 142"/>
                  <a:gd name="T88" fmla="*/ 24 w 130"/>
                  <a:gd name="T89" fmla="*/ 39 h 142"/>
                  <a:gd name="T90" fmla="*/ 40 w 130"/>
                  <a:gd name="T91" fmla="*/ 45 h 142"/>
                  <a:gd name="T92" fmla="*/ 44 w 130"/>
                  <a:gd name="T93" fmla="*/ 52 h 142"/>
                  <a:gd name="T94" fmla="*/ 54 w 130"/>
                  <a:gd name="T95" fmla="*/ 66 h 142"/>
                  <a:gd name="T96" fmla="*/ 70 w 130"/>
                  <a:gd name="T97" fmla="*/ 79 h 142"/>
                  <a:gd name="T98" fmla="*/ 81 w 130"/>
                  <a:gd name="T99" fmla="*/ 84 h 142"/>
                  <a:gd name="T100" fmla="*/ 90 w 130"/>
                  <a:gd name="T101" fmla="*/ 90 h 142"/>
                  <a:gd name="T102" fmla="*/ 98 w 130"/>
                  <a:gd name="T103" fmla="*/ 97 h 142"/>
                  <a:gd name="T104" fmla="*/ 102 w 130"/>
                  <a:gd name="T105" fmla="*/ 103 h 142"/>
                  <a:gd name="T106" fmla="*/ 103 w 130"/>
                  <a:gd name="T107" fmla="*/ 116 h 142"/>
                  <a:gd name="T108" fmla="*/ 103 w 130"/>
                  <a:gd name="T109" fmla="*/ 125 h 142"/>
                  <a:gd name="T110" fmla="*/ 109 w 130"/>
                  <a:gd name="T111" fmla="*/ 115 h 142"/>
                  <a:gd name="T112" fmla="*/ 115 w 130"/>
                  <a:gd name="T113" fmla="*/ 109 h 142"/>
                  <a:gd name="T114" fmla="*/ 110 w 130"/>
                  <a:gd name="T115" fmla="*/ 100 h 142"/>
                  <a:gd name="T116" fmla="*/ 121 w 130"/>
                  <a:gd name="T117" fmla="*/ 95 h 142"/>
                  <a:gd name="T118" fmla="*/ 129 w 130"/>
                  <a:gd name="T119" fmla="*/ 95 h 142"/>
                  <a:gd name="T120" fmla="*/ 107 w 130"/>
                  <a:gd name="T121" fmla="*/ 8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0" h="142">
                    <a:moveTo>
                      <a:pt x="90" y="123"/>
                    </a:moveTo>
                    <a:cubicBezTo>
                      <a:pt x="83" y="124"/>
                      <a:pt x="80" y="125"/>
                      <a:pt x="76" y="123"/>
                    </a:cubicBezTo>
                    <a:cubicBezTo>
                      <a:pt x="72" y="121"/>
                      <a:pt x="66" y="125"/>
                      <a:pt x="67" y="127"/>
                    </a:cubicBezTo>
                    <a:cubicBezTo>
                      <a:pt x="67" y="129"/>
                      <a:pt x="70" y="131"/>
                      <a:pt x="78" y="134"/>
                    </a:cubicBezTo>
                    <a:cubicBezTo>
                      <a:pt x="87" y="136"/>
                      <a:pt x="88" y="141"/>
                      <a:pt x="91" y="142"/>
                    </a:cubicBezTo>
                    <a:cubicBezTo>
                      <a:pt x="95" y="142"/>
                      <a:pt x="95" y="138"/>
                      <a:pt x="94" y="134"/>
                    </a:cubicBezTo>
                    <a:cubicBezTo>
                      <a:pt x="93" y="129"/>
                      <a:pt x="98" y="124"/>
                      <a:pt x="99" y="123"/>
                    </a:cubicBezTo>
                    <a:cubicBezTo>
                      <a:pt x="99" y="123"/>
                      <a:pt x="97" y="121"/>
                      <a:pt x="90" y="123"/>
                    </a:cubicBezTo>
                    <a:close/>
                    <a:moveTo>
                      <a:pt x="25" y="85"/>
                    </a:moveTo>
                    <a:cubicBezTo>
                      <a:pt x="22" y="88"/>
                      <a:pt x="19" y="84"/>
                      <a:pt x="17" y="87"/>
                    </a:cubicBezTo>
                    <a:cubicBezTo>
                      <a:pt x="15" y="90"/>
                      <a:pt x="23" y="95"/>
                      <a:pt x="21" y="101"/>
                    </a:cubicBezTo>
                    <a:cubicBezTo>
                      <a:pt x="20" y="108"/>
                      <a:pt x="22" y="116"/>
                      <a:pt x="26" y="112"/>
                    </a:cubicBezTo>
                    <a:cubicBezTo>
                      <a:pt x="30" y="108"/>
                      <a:pt x="32" y="110"/>
                      <a:pt x="34" y="107"/>
                    </a:cubicBezTo>
                    <a:cubicBezTo>
                      <a:pt x="36" y="105"/>
                      <a:pt x="34" y="94"/>
                      <a:pt x="36" y="89"/>
                    </a:cubicBezTo>
                    <a:cubicBezTo>
                      <a:pt x="37" y="84"/>
                      <a:pt x="29" y="82"/>
                      <a:pt x="25" y="85"/>
                    </a:cubicBezTo>
                    <a:close/>
                    <a:moveTo>
                      <a:pt x="107" y="80"/>
                    </a:moveTo>
                    <a:cubicBezTo>
                      <a:pt x="103" y="77"/>
                      <a:pt x="106" y="73"/>
                      <a:pt x="99" y="73"/>
                    </a:cubicBezTo>
                    <a:cubicBezTo>
                      <a:pt x="92" y="73"/>
                      <a:pt x="84" y="65"/>
                      <a:pt x="81" y="55"/>
                    </a:cubicBezTo>
                    <a:cubicBezTo>
                      <a:pt x="79" y="45"/>
                      <a:pt x="68" y="45"/>
                      <a:pt x="65" y="39"/>
                    </a:cubicBezTo>
                    <a:cubicBezTo>
                      <a:pt x="63" y="33"/>
                      <a:pt x="68" y="32"/>
                      <a:pt x="66" y="27"/>
                    </a:cubicBezTo>
                    <a:cubicBezTo>
                      <a:pt x="64" y="25"/>
                      <a:pt x="67" y="22"/>
                      <a:pt x="70" y="21"/>
                    </a:cubicBezTo>
                    <a:cubicBezTo>
                      <a:pt x="70" y="16"/>
                      <a:pt x="71" y="10"/>
                      <a:pt x="71" y="6"/>
                    </a:cubicBezTo>
                    <a:cubicBezTo>
                      <a:pt x="68" y="6"/>
                      <a:pt x="66" y="5"/>
                      <a:pt x="65" y="5"/>
                    </a:cubicBezTo>
                    <a:cubicBezTo>
                      <a:pt x="64" y="4"/>
                      <a:pt x="64" y="0"/>
                      <a:pt x="63" y="0"/>
                    </a:cubicBezTo>
                    <a:cubicBezTo>
                      <a:pt x="62" y="0"/>
                      <a:pt x="55" y="0"/>
                      <a:pt x="54" y="1"/>
                    </a:cubicBezTo>
                    <a:cubicBezTo>
                      <a:pt x="53" y="3"/>
                      <a:pt x="49" y="5"/>
                      <a:pt x="47" y="4"/>
                    </a:cubicBezTo>
                    <a:cubicBezTo>
                      <a:pt x="47" y="3"/>
                      <a:pt x="46" y="3"/>
                      <a:pt x="46" y="3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3" y="8"/>
                      <a:pt x="42" y="8"/>
                    </a:cubicBezTo>
                    <a:cubicBezTo>
                      <a:pt x="41" y="8"/>
                      <a:pt x="39" y="7"/>
                      <a:pt x="39" y="9"/>
                    </a:cubicBezTo>
                    <a:cubicBezTo>
                      <a:pt x="39" y="11"/>
                      <a:pt x="35" y="11"/>
                      <a:pt x="33" y="10"/>
                    </a:cubicBezTo>
                    <a:cubicBezTo>
                      <a:pt x="32" y="10"/>
                      <a:pt x="29" y="11"/>
                      <a:pt x="29" y="13"/>
                    </a:cubicBezTo>
                    <a:cubicBezTo>
                      <a:pt x="29" y="15"/>
                      <a:pt x="29" y="19"/>
                      <a:pt x="26" y="17"/>
                    </a:cubicBezTo>
                    <a:cubicBezTo>
                      <a:pt x="24" y="14"/>
                      <a:pt x="21" y="8"/>
                      <a:pt x="20" y="9"/>
                    </a:cubicBezTo>
                    <a:cubicBezTo>
                      <a:pt x="19" y="10"/>
                      <a:pt x="17" y="17"/>
                      <a:pt x="14" y="17"/>
                    </a:cubicBezTo>
                    <a:cubicBezTo>
                      <a:pt x="13" y="17"/>
                      <a:pt x="8" y="17"/>
                      <a:pt x="5" y="18"/>
                    </a:cubicBezTo>
                    <a:cubicBezTo>
                      <a:pt x="4" y="20"/>
                      <a:pt x="5" y="22"/>
                      <a:pt x="6" y="23"/>
                    </a:cubicBezTo>
                    <a:cubicBezTo>
                      <a:pt x="7" y="24"/>
                      <a:pt x="5" y="27"/>
                      <a:pt x="4" y="27"/>
                    </a:cubicBezTo>
                    <a:cubicBezTo>
                      <a:pt x="2" y="28"/>
                      <a:pt x="0" y="27"/>
                      <a:pt x="1" y="30"/>
                    </a:cubicBezTo>
                    <a:cubicBezTo>
                      <a:pt x="3" y="33"/>
                      <a:pt x="6" y="33"/>
                      <a:pt x="5" y="36"/>
                    </a:cubicBezTo>
                    <a:cubicBezTo>
                      <a:pt x="3" y="39"/>
                      <a:pt x="5" y="41"/>
                      <a:pt x="7" y="41"/>
                    </a:cubicBezTo>
                    <a:cubicBezTo>
                      <a:pt x="10" y="42"/>
                      <a:pt x="13" y="41"/>
                      <a:pt x="12" y="43"/>
                    </a:cubicBezTo>
                    <a:cubicBezTo>
                      <a:pt x="12" y="44"/>
                      <a:pt x="11" y="46"/>
                      <a:pt x="11" y="47"/>
                    </a:cubicBezTo>
                    <a:cubicBezTo>
                      <a:pt x="13" y="46"/>
                      <a:pt x="15" y="46"/>
                      <a:pt x="17" y="45"/>
                    </a:cubicBezTo>
                    <a:cubicBezTo>
                      <a:pt x="20" y="44"/>
                      <a:pt x="19" y="40"/>
                      <a:pt x="24" y="39"/>
                    </a:cubicBezTo>
                    <a:cubicBezTo>
                      <a:pt x="30" y="37"/>
                      <a:pt x="38" y="42"/>
                      <a:pt x="40" y="45"/>
                    </a:cubicBezTo>
                    <a:cubicBezTo>
                      <a:pt x="43" y="49"/>
                      <a:pt x="43" y="49"/>
                      <a:pt x="44" y="52"/>
                    </a:cubicBezTo>
                    <a:cubicBezTo>
                      <a:pt x="44" y="55"/>
                      <a:pt x="46" y="61"/>
                      <a:pt x="54" y="66"/>
                    </a:cubicBezTo>
                    <a:cubicBezTo>
                      <a:pt x="62" y="71"/>
                      <a:pt x="66" y="77"/>
                      <a:pt x="70" y="79"/>
                    </a:cubicBezTo>
                    <a:cubicBezTo>
                      <a:pt x="74" y="81"/>
                      <a:pt x="78" y="81"/>
                      <a:pt x="81" y="84"/>
                    </a:cubicBezTo>
                    <a:cubicBezTo>
                      <a:pt x="83" y="87"/>
                      <a:pt x="86" y="88"/>
                      <a:pt x="90" y="90"/>
                    </a:cubicBezTo>
                    <a:cubicBezTo>
                      <a:pt x="94" y="92"/>
                      <a:pt x="95" y="96"/>
                      <a:pt x="98" y="97"/>
                    </a:cubicBezTo>
                    <a:cubicBezTo>
                      <a:pt x="102" y="97"/>
                      <a:pt x="100" y="101"/>
                      <a:pt x="102" y="103"/>
                    </a:cubicBezTo>
                    <a:cubicBezTo>
                      <a:pt x="104" y="106"/>
                      <a:pt x="105" y="112"/>
                      <a:pt x="103" y="116"/>
                    </a:cubicBezTo>
                    <a:cubicBezTo>
                      <a:pt x="100" y="119"/>
                      <a:pt x="101" y="125"/>
                      <a:pt x="103" y="125"/>
                    </a:cubicBezTo>
                    <a:cubicBezTo>
                      <a:pt x="105" y="125"/>
                      <a:pt x="108" y="119"/>
                      <a:pt x="109" y="115"/>
                    </a:cubicBezTo>
                    <a:cubicBezTo>
                      <a:pt x="109" y="112"/>
                      <a:pt x="113" y="112"/>
                      <a:pt x="115" y="109"/>
                    </a:cubicBezTo>
                    <a:cubicBezTo>
                      <a:pt x="118" y="105"/>
                      <a:pt x="111" y="104"/>
                      <a:pt x="110" y="100"/>
                    </a:cubicBezTo>
                    <a:cubicBezTo>
                      <a:pt x="109" y="95"/>
                      <a:pt x="115" y="91"/>
                      <a:pt x="121" y="95"/>
                    </a:cubicBezTo>
                    <a:cubicBezTo>
                      <a:pt x="127" y="99"/>
                      <a:pt x="129" y="101"/>
                      <a:pt x="129" y="95"/>
                    </a:cubicBezTo>
                    <a:cubicBezTo>
                      <a:pt x="130" y="90"/>
                      <a:pt x="111" y="82"/>
                      <a:pt x="107" y="8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3" name="Freeform 181">
                <a:extLst>
                  <a:ext uri="{FF2B5EF4-FFF2-40B4-BE49-F238E27FC236}">
                    <a16:creationId xmlns:a16="http://schemas.microsoft.com/office/drawing/2014/main" id="{093C3839-0CA6-48F8-B0C6-44C693B15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6788" y="2959100"/>
                <a:ext cx="28575" cy="39688"/>
              </a:xfrm>
              <a:custGeom>
                <a:avLst/>
                <a:gdLst>
                  <a:gd name="T0" fmla="*/ 4 w 13"/>
                  <a:gd name="T1" fmla="*/ 0 h 18"/>
                  <a:gd name="T2" fmla="*/ 0 w 13"/>
                  <a:gd name="T3" fmla="*/ 9 h 18"/>
                  <a:gd name="T4" fmla="*/ 0 w 13"/>
                  <a:gd name="T5" fmla="*/ 12 h 18"/>
                  <a:gd name="T6" fmla="*/ 8 w 13"/>
                  <a:gd name="T7" fmla="*/ 18 h 18"/>
                  <a:gd name="T8" fmla="*/ 8 w 13"/>
                  <a:gd name="T9" fmla="*/ 18 h 18"/>
                  <a:gd name="T10" fmla="*/ 13 w 13"/>
                  <a:gd name="T11" fmla="*/ 10 h 18"/>
                  <a:gd name="T12" fmla="*/ 4 w 13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4" y="0"/>
                    </a:moveTo>
                    <a:cubicBezTo>
                      <a:pt x="2" y="3"/>
                      <a:pt x="0" y="7"/>
                      <a:pt x="0" y="9"/>
                    </a:cubicBezTo>
                    <a:cubicBezTo>
                      <a:pt x="0" y="9"/>
                      <a:pt x="0" y="10"/>
                      <a:pt x="0" y="12"/>
                    </a:cubicBezTo>
                    <a:cubicBezTo>
                      <a:pt x="3" y="14"/>
                      <a:pt x="5" y="17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9" y="15"/>
                      <a:pt x="11" y="11"/>
                      <a:pt x="13" y="10"/>
                    </a:cubicBezTo>
                    <a:cubicBezTo>
                      <a:pt x="11" y="7"/>
                      <a:pt x="7" y="3"/>
                      <a:pt x="4" y="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4" name="Freeform 182">
                <a:extLst>
                  <a:ext uri="{FF2B5EF4-FFF2-40B4-BE49-F238E27FC236}">
                    <a16:creationId xmlns:a16="http://schemas.microsoft.com/office/drawing/2014/main" id="{5E79D381-FEB1-4478-8ACF-BA555F531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3138" y="2871788"/>
                <a:ext cx="103187" cy="122238"/>
              </a:xfrm>
              <a:custGeom>
                <a:avLst/>
                <a:gdLst>
                  <a:gd name="T0" fmla="*/ 41 w 47"/>
                  <a:gd name="T1" fmla="*/ 37 h 56"/>
                  <a:gd name="T2" fmla="*/ 41 w 47"/>
                  <a:gd name="T3" fmla="*/ 30 h 56"/>
                  <a:gd name="T4" fmla="*/ 41 w 47"/>
                  <a:gd name="T5" fmla="*/ 24 h 56"/>
                  <a:gd name="T6" fmla="*/ 29 w 47"/>
                  <a:gd name="T7" fmla="*/ 20 h 56"/>
                  <a:gd name="T8" fmla="*/ 27 w 47"/>
                  <a:gd name="T9" fmla="*/ 13 h 56"/>
                  <a:gd name="T10" fmla="*/ 23 w 47"/>
                  <a:gd name="T11" fmla="*/ 9 h 56"/>
                  <a:gd name="T12" fmla="*/ 19 w 47"/>
                  <a:gd name="T13" fmla="*/ 2 h 56"/>
                  <a:gd name="T14" fmla="*/ 20 w 47"/>
                  <a:gd name="T15" fmla="*/ 2 h 56"/>
                  <a:gd name="T16" fmla="*/ 16 w 47"/>
                  <a:gd name="T17" fmla="*/ 1 h 56"/>
                  <a:gd name="T18" fmla="*/ 12 w 47"/>
                  <a:gd name="T19" fmla="*/ 0 h 56"/>
                  <a:gd name="T20" fmla="*/ 0 w 47"/>
                  <a:gd name="T21" fmla="*/ 4 h 56"/>
                  <a:gd name="T22" fmla="*/ 3 w 47"/>
                  <a:gd name="T23" fmla="*/ 10 h 56"/>
                  <a:gd name="T24" fmla="*/ 6 w 47"/>
                  <a:gd name="T25" fmla="*/ 18 h 56"/>
                  <a:gd name="T26" fmla="*/ 6 w 47"/>
                  <a:gd name="T27" fmla="*/ 36 h 56"/>
                  <a:gd name="T28" fmla="*/ 1 w 47"/>
                  <a:gd name="T29" fmla="*/ 40 h 56"/>
                  <a:gd name="T30" fmla="*/ 10 w 47"/>
                  <a:gd name="T31" fmla="*/ 50 h 56"/>
                  <a:gd name="T32" fmla="*/ 11 w 47"/>
                  <a:gd name="T33" fmla="*/ 50 h 56"/>
                  <a:gd name="T34" fmla="*/ 21 w 47"/>
                  <a:gd name="T35" fmla="*/ 56 h 56"/>
                  <a:gd name="T36" fmla="*/ 40 w 47"/>
                  <a:gd name="T37" fmla="*/ 53 h 56"/>
                  <a:gd name="T38" fmla="*/ 41 w 47"/>
                  <a:gd name="T39" fmla="*/ 49 h 56"/>
                  <a:gd name="T40" fmla="*/ 44 w 47"/>
                  <a:gd name="T41" fmla="*/ 45 h 56"/>
                  <a:gd name="T42" fmla="*/ 41 w 47"/>
                  <a:gd name="T43" fmla="*/ 3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56">
                    <a:moveTo>
                      <a:pt x="41" y="37"/>
                    </a:moveTo>
                    <a:cubicBezTo>
                      <a:pt x="38" y="35"/>
                      <a:pt x="39" y="31"/>
                      <a:pt x="41" y="30"/>
                    </a:cubicBezTo>
                    <a:cubicBezTo>
                      <a:pt x="43" y="28"/>
                      <a:pt x="41" y="26"/>
                      <a:pt x="41" y="24"/>
                    </a:cubicBezTo>
                    <a:cubicBezTo>
                      <a:pt x="41" y="21"/>
                      <a:pt x="30" y="20"/>
                      <a:pt x="29" y="20"/>
                    </a:cubicBezTo>
                    <a:cubicBezTo>
                      <a:pt x="27" y="19"/>
                      <a:pt x="30" y="13"/>
                      <a:pt x="27" y="13"/>
                    </a:cubicBezTo>
                    <a:cubicBezTo>
                      <a:pt x="24" y="13"/>
                      <a:pt x="23" y="11"/>
                      <a:pt x="23" y="9"/>
                    </a:cubicBezTo>
                    <a:cubicBezTo>
                      <a:pt x="23" y="7"/>
                      <a:pt x="19" y="4"/>
                      <a:pt x="19" y="2"/>
                    </a:cubicBezTo>
                    <a:cubicBezTo>
                      <a:pt x="19" y="2"/>
                      <a:pt x="20" y="2"/>
                      <a:pt x="20" y="2"/>
                    </a:cubicBezTo>
                    <a:cubicBezTo>
                      <a:pt x="18" y="2"/>
                      <a:pt x="17" y="1"/>
                      <a:pt x="16" y="1"/>
                    </a:cubicBezTo>
                    <a:cubicBezTo>
                      <a:pt x="15" y="1"/>
                      <a:pt x="12" y="0"/>
                      <a:pt x="12" y="0"/>
                    </a:cubicBezTo>
                    <a:cubicBezTo>
                      <a:pt x="12" y="0"/>
                      <a:pt x="5" y="2"/>
                      <a:pt x="0" y="4"/>
                    </a:cubicBezTo>
                    <a:cubicBezTo>
                      <a:pt x="0" y="7"/>
                      <a:pt x="1" y="10"/>
                      <a:pt x="3" y="10"/>
                    </a:cubicBezTo>
                    <a:cubicBezTo>
                      <a:pt x="6" y="12"/>
                      <a:pt x="5" y="15"/>
                      <a:pt x="6" y="18"/>
                    </a:cubicBezTo>
                    <a:cubicBezTo>
                      <a:pt x="8" y="22"/>
                      <a:pt x="7" y="36"/>
                      <a:pt x="6" y="36"/>
                    </a:cubicBezTo>
                    <a:cubicBezTo>
                      <a:pt x="5" y="36"/>
                      <a:pt x="3" y="38"/>
                      <a:pt x="1" y="40"/>
                    </a:cubicBezTo>
                    <a:cubicBezTo>
                      <a:pt x="4" y="43"/>
                      <a:pt x="8" y="47"/>
                      <a:pt x="10" y="50"/>
                    </a:cubicBezTo>
                    <a:cubicBezTo>
                      <a:pt x="10" y="50"/>
                      <a:pt x="10" y="50"/>
                      <a:pt x="11" y="50"/>
                    </a:cubicBezTo>
                    <a:cubicBezTo>
                      <a:pt x="13" y="50"/>
                      <a:pt x="21" y="56"/>
                      <a:pt x="21" y="56"/>
                    </a:cubicBezTo>
                    <a:cubicBezTo>
                      <a:pt x="21" y="56"/>
                      <a:pt x="33" y="54"/>
                      <a:pt x="40" y="53"/>
                    </a:cubicBezTo>
                    <a:cubicBezTo>
                      <a:pt x="40" y="51"/>
                      <a:pt x="41" y="50"/>
                      <a:pt x="41" y="49"/>
                    </a:cubicBezTo>
                    <a:cubicBezTo>
                      <a:pt x="40" y="48"/>
                      <a:pt x="42" y="45"/>
                      <a:pt x="44" y="45"/>
                    </a:cubicBezTo>
                    <a:cubicBezTo>
                      <a:pt x="47" y="45"/>
                      <a:pt x="43" y="40"/>
                      <a:pt x="41" y="37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05" name="Freeform 183">
                <a:extLst>
                  <a:ext uri="{FF2B5EF4-FFF2-40B4-BE49-F238E27FC236}">
                    <a16:creationId xmlns:a16="http://schemas.microsoft.com/office/drawing/2014/main" id="{750713D2-46CC-4896-9681-9C95309BBD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113" y="1274763"/>
                <a:ext cx="8916987" cy="4398963"/>
              </a:xfrm>
              <a:custGeom>
                <a:avLst/>
                <a:gdLst>
                  <a:gd name="T0" fmla="*/ 559 w 4062"/>
                  <a:gd name="T1" fmla="*/ 286 h 2004"/>
                  <a:gd name="T2" fmla="*/ 642 w 4062"/>
                  <a:gd name="T3" fmla="*/ 203 h 2004"/>
                  <a:gd name="T4" fmla="*/ 843 w 4062"/>
                  <a:gd name="T5" fmla="*/ 229 h 2004"/>
                  <a:gd name="T6" fmla="*/ 881 w 4062"/>
                  <a:gd name="T7" fmla="*/ 56 h 2004"/>
                  <a:gd name="T8" fmla="*/ 986 w 4062"/>
                  <a:gd name="T9" fmla="*/ 28 h 2004"/>
                  <a:gd name="T10" fmla="*/ 1035 w 4062"/>
                  <a:gd name="T11" fmla="*/ 353 h 2004"/>
                  <a:gd name="T12" fmla="*/ 946 w 4062"/>
                  <a:gd name="T13" fmla="*/ 1041 h 2004"/>
                  <a:gd name="T14" fmla="*/ 1705 w 4062"/>
                  <a:gd name="T15" fmla="*/ 107 h 2004"/>
                  <a:gd name="T16" fmla="*/ 1155 w 4062"/>
                  <a:gd name="T17" fmla="*/ 165 h 2004"/>
                  <a:gd name="T18" fmla="*/ 1653 w 4062"/>
                  <a:gd name="T19" fmla="*/ 331 h 2004"/>
                  <a:gd name="T20" fmla="*/ 1640 w 4062"/>
                  <a:gd name="T21" fmla="*/ 407 h 2004"/>
                  <a:gd name="T22" fmla="*/ 1895 w 4062"/>
                  <a:gd name="T23" fmla="*/ 663 h 2004"/>
                  <a:gd name="T24" fmla="*/ 3993 w 4062"/>
                  <a:gd name="T25" fmla="*/ 399 h 2004"/>
                  <a:gd name="T26" fmla="*/ 3354 w 4062"/>
                  <a:gd name="T27" fmla="*/ 298 h 2004"/>
                  <a:gd name="T28" fmla="*/ 3052 w 4062"/>
                  <a:gd name="T29" fmla="*/ 162 h 2004"/>
                  <a:gd name="T30" fmla="*/ 2742 w 4062"/>
                  <a:gd name="T31" fmla="*/ 336 h 2004"/>
                  <a:gd name="T32" fmla="*/ 2590 w 4062"/>
                  <a:gd name="T33" fmla="*/ 339 h 2004"/>
                  <a:gd name="T34" fmla="*/ 2336 w 4062"/>
                  <a:gd name="T35" fmla="*/ 404 h 2004"/>
                  <a:gd name="T36" fmla="*/ 2109 w 4062"/>
                  <a:gd name="T37" fmla="*/ 336 h 2004"/>
                  <a:gd name="T38" fmla="*/ 1997 w 4062"/>
                  <a:gd name="T39" fmla="*/ 545 h 2004"/>
                  <a:gd name="T40" fmla="*/ 2170 w 4062"/>
                  <a:gd name="T41" fmla="*/ 538 h 2004"/>
                  <a:gd name="T42" fmla="*/ 1861 w 4062"/>
                  <a:gd name="T43" fmla="*/ 691 h 2004"/>
                  <a:gd name="T44" fmla="*/ 2092 w 4062"/>
                  <a:gd name="T45" fmla="*/ 768 h 2004"/>
                  <a:gd name="T46" fmla="*/ 2317 w 4062"/>
                  <a:gd name="T47" fmla="*/ 795 h 2004"/>
                  <a:gd name="T48" fmla="*/ 1797 w 4062"/>
                  <a:gd name="T49" fmla="*/ 920 h 2004"/>
                  <a:gd name="T50" fmla="*/ 2122 w 4062"/>
                  <a:gd name="T51" fmla="*/ 1704 h 2004"/>
                  <a:gd name="T52" fmla="*/ 2286 w 4062"/>
                  <a:gd name="T53" fmla="*/ 968 h 2004"/>
                  <a:gd name="T54" fmla="*/ 2684 w 4062"/>
                  <a:gd name="T55" fmla="*/ 1037 h 2004"/>
                  <a:gd name="T56" fmla="*/ 3070 w 4062"/>
                  <a:gd name="T57" fmla="*/ 1176 h 2004"/>
                  <a:gd name="T58" fmla="*/ 3225 w 4062"/>
                  <a:gd name="T59" fmla="*/ 827 h 2004"/>
                  <a:gd name="T60" fmla="*/ 3595 w 4062"/>
                  <a:gd name="T61" fmla="*/ 523 h 2004"/>
                  <a:gd name="T62" fmla="*/ 3827 w 4062"/>
                  <a:gd name="T63" fmla="*/ 511 h 2004"/>
                  <a:gd name="T64" fmla="*/ 2511 w 4062"/>
                  <a:gd name="T65" fmla="*/ 855 h 2004"/>
                  <a:gd name="T66" fmla="*/ 2074 w 4062"/>
                  <a:gd name="T67" fmla="*/ 160 h 2004"/>
                  <a:gd name="T68" fmla="*/ 2191 w 4062"/>
                  <a:gd name="T69" fmla="*/ 93 h 2004"/>
                  <a:gd name="T70" fmla="*/ 2416 w 4062"/>
                  <a:gd name="T71" fmla="*/ 84 h 2004"/>
                  <a:gd name="T72" fmla="*/ 3047 w 4062"/>
                  <a:gd name="T73" fmla="*/ 149 h 2004"/>
                  <a:gd name="T74" fmla="*/ 3526 w 4062"/>
                  <a:gd name="T75" fmla="*/ 688 h 2004"/>
                  <a:gd name="T76" fmla="*/ 3365 w 4062"/>
                  <a:gd name="T77" fmla="*/ 906 h 2004"/>
                  <a:gd name="T78" fmla="*/ 3288 w 4062"/>
                  <a:gd name="T79" fmla="*/ 1209 h 2004"/>
                  <a:gd name="T80" fmla="*/ 3187 w 4062"/>
                  <a:gd name="T81" fmla="*/ 1244 h 2004"/>
                  <a:gd name="T82" fmla="*/ 3284 w 4062"/>
                  <a:gd name="T83" fmla="*/ 1292 h 2004"/>
                  <a:gd name="T84" fmla="*/ 3622 w 4062"/>
                  <a:gd name="T85" fmla="*/ 1351 h 2004"/>
                  <a:gd name="T86" fmla="*/ 140 w 4062"/>
                  <a:gd name="T87" fmla="*/ 1064 h 2004"/>
                  <a:gd name="T88" fmla="*/ 3454 w 4062"/>
                  <a:gd name="T89" fmla="*/ 1489 h 2004"/>
                  <a:gd name="T90" fmla="*/ 3307 w 4062"/>
                  <a:gd name="T91" fmla="*/ 1680 h 2004"/>
                  <a:gd name="T92" fmla="*/ 3787 w 4062"/>
                  <a:gd name="T93" fmla="*/ 1866 h 2004"/>
                  <a:gd name="T94" fmla="*/ 1283 w 4062"/>
                  <a:gd name="T95" fmla="*/ 1226 h 2004"/>
                  <a:gd name="T96" fmla="*/ 841 w 4062"/>
                  <a:gd name="T97" fmla="*/ 943 h 2004"/>
                  <a:gd name="T98" fmla="*/ 1172 w 4062"/>
                  <a:gd name="T99" fmla="*/ 736 h 2004"/>
                  <a:gd name="T100" fmla="*/ 1138 w 4062"/>
                  <a:gd name="T101" fmla="*/ 543 h 2004"/>
                  <a:gd name="T102" fmla="*/ 877 w 4062"/>
                  <a:gd name="T103" fmla="*/ 457 h 2004"/>
                  <a:gd name="T104" fmla="*/ 862 w 4062"/>
                  <a:gd name="T105" fmla="*/ 271 h 2004"/>
                  <a:gd name="T106" fmla="*/ 612 w 4062"/>
                  <a:gd name="T107" fmla="*/ 363 h 2004"/>
                  <a:gd name="T108" fmla="*/ 47 w 4062"/>
                  <a:gd name="T109" fmla="*/ 407 h 2004"/>
                  <a:gd name="T110" fmla="*/ 226 w 4062"/>
                  <a:gd name="T111" fmla="*/ 516 h 2004"/>
                  <a:gd name="T112" fmla="*/ 455 w 4062"/>
                  <a:gd name="T113" fmla="*/ 649 h 2004"/>
                  <a:gd name="T114" fmla="*/ 604 w 4062"/>
                  <a:gd name="T115" fmla="*/ 922 h 2004"/>
                  <a:gd name="T116" fmla="*/ 983 w 4062"/>
                  <a:gd name="T117" fmla="*/ 1362 h 2004"/>
                  <a:gd name="T118" fmla="*/ 1056 w 4062"/>
                  <a:gd name="T119" fmla="*/ 1895 h 2004"/>
                  <a:gd name="T120" fmla="*/ 1129 w 4062"/>
                  <a:gd name="T121" fmla="*/ 1962 h 2004"/>
                  <a:gd name="T122" fmla="*/ 1457 w 4062"/>
                  <a:gd name="T123" fmla="*/ 1504 h 2004"/>
                  <a:gd name="T124" fmla="*/ 517 w 4062"/>
                  <a:gd name="T125" fmla="*/ 415 h 2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2" h="2004">
                    <a:moveTo>
                      <a:pt x="8" y="622"/>
                    </a:moveTo>
                    <a:cubicBezTo>
                      <a:pt x="14" y="620"/>
                      <a:pt x="17" y="617"/>
                      <a:pt x="14" y="614"/>
                    </a:cubicBezTo>
                    <a:cubicBezTo>
                      <a:pt x="12" y="611"/>
                      <a:pt x="4" y="624"/>
                      <a:pt x="8" y="622"/>
                    </a:cubicBezTo>
                    <a:close/>
                    <a:moveTo>
                      <a:pt x="51" y="600"/>
                    </a:moveTo>
                    <a:cubicBezTo>
                      <a:pt x="45" y="598"/>
                      <a:pt x="31" y="607"/>
                      <a:pt x="36" y="607"/>
                    </a:cubicBezTo>
                    <a:cubicBezTo>
                      <a:pt x="39" y="608"/>
                      <a:pt x="41" y="604"/>
                      <a:pt x="45" y="604"/>
                    </a:cubicBezTo>
                    <a:cubicBezTo>
                      <a:pt x="49" y="604"/>
                      <a:pt x="56" y="602"/>
                      <a:pt x="51" y="600"/>
                    </a:cubicBezTo>
                    <a:close/>
                    <a:moveTo>
                      <a:pt x="178" y="541"/>
                    </a:moveTo>
                    <a:cubicBezTo>
                      <a:pt x="178" y="538"/>
                      <a:pt x="174" y="539"/>
                      <a:pt x="169" y="544"/>
                    </a:cubicBezTo>
                    <a:cubicBezTo>
                      <a:pt x="164" y="550"/>
                      <a:pt x="160" y="553"/>
                      <a:pt x="159" y="556"/>
                    </a:cubicBezTo>
                    <a:cubicBezTo>
                      <a:pt x="158" y="559"/>
                      <a:pt x="152" y="555"/>
                      <a:pt x="151" y="559"/>
                    </a:cubicBezTo>
                    <a:cubicBezTo>
                      <a:pt x="149" y="562"/>
                      <a:pt x="152" y="570"/>
                      <a:pt x="155" y="568"/>
                    </a:cubicBezTo>
                    <a:cubicBezTo>
                      <a:pt x="159" y="565"/>
                      <a:pt x="159" y="568"/>
                      <a:pt x="161" y="568"/>
                    </a:cubicBezTo>
                    <a:cubicBezTo>
                      <a:pt x="164" y="568"/>
                      <a:pt x="174" y="561"/>
                      <a:pt x="176" y="557"/>
                    </a:cubicBezTo>
                    <a:cubicBezTo>
                      <a:pt x="178" y="554"/>
                      <a:pt x="172" y="553"/>
                      <a:pt x="172" y="550"/>
                    </a:cubicBezTo>
                    <a:cubicBezTo>
                      <a:pt x="172" y="548"/>
                      <a:pt x="177" y="548"/>
                      <a:pt x="180" y="547"/>
                    </a:cubicBezTo>
                    <a:cubicBezTo>
                      <a:pt x="183" y="545"/>
                      <a:pt x="177" y="544"/>
                      <a:pt x="178" y="541"/>
                    </a:cubicBezTo>
                    <a:close/>
                    <a:moveTo>
                      <a:pt x="18" y="512"/>
                    </a:moveTo>
                    <a:cubicBezTo>
                      <a:pt x="18" y="508"/>
                      <a:pt x="7" y="511"/>
                      <a:pt x="8" y="515"/>
                    </a:cubicBezTo>
                    <a:cubicBezTo>
                      <a:pt x="10" y="519"/>
                      <a:pt x="20" y="521"/>
                      <a:pt x="24" y="520"/>
                    </a:cubicBezTo>
                    <a:cubicBezTo>
                      <a:pt x="28" y="519"/>
                      <a:pt x="29" y="515"/>
                      <a:pt x="26" y="512"/>
                    </a:cubicBezTo>
                    <a:cubicBezTo>
                      <a:pt x="24" y="510"/>
                      <a:pt x="19" y="516"/>
                      <a:pt x="18" y="512"/>
                    </a:cubicBezTo>
                    <a:close/>
                    <a:moveTo>
                      <a:pt x="495" y="290"/>
                    </a:moveTo>
                    <a:cubicBezTo>
                      <a:pt x="504" y="292"/>
                      <a:pt x="505" y="308"/>
                      <a:pt x="511" y="308"/>
                    </a:cubicBezTo>
                    <a:cubicBezTo>
                      <a:pt x="515" y="308"/>
                      <a:pt x="512" y="303"/>
                      <a:pt x="519" y="303"/>
                    </a:cubicBezTo>
                    <a:cubicBezTo>
                      <a:pt x="525" y="303"/>
                      <a:pt x="524" y="300"/>
                      <a:pt x="530" y="300"/>
                    </a:cubicBezTo>
                    <a:cubicBezTo>
                      <a:pt x="536" y="301"/>
                      <a:pt x="541" y="299"/>
                      <a:pt x="541" y="292"/>
                    </a:cubicBezTo>
                    <a:cubicBezTo>
                      <a:pt x="541" y="285"/>
                      <a:pt x="545" y="282"/>
                      <a:pt x="551" y="281"/>
                    </a:cubicBezTo>
                    <a:cubicBezTo>
                      <a:pt x="557" y="279"/>
                      <a:pt x="552" y="272"/>
                      <a:pt x="560" y="270"/>
                    </a:cubicBezTo>
                    <a:cubicBezTo>
                      <a:pt x="569" y="268"/>
                      <a:pt x="592" y="258"/>
                      <a:pt x="596" y="255"/>
                    </a:cubicBezTo>
                    <a:cubicBezTo>
                      <a:pt x="600" y="252"/>
                      <a:pt x="591" y="248"/>
                      <a:pt x="582" y="242"/>
                    </a:cubicBezTo>
                    <a:cubicBezTo>
                      <a:pt x="573" y="237"/>
                      <a:pt x="566" y="235"/>
                      <a:pt x="559" y="240"/>
                    </a:cubicBezTo>
                    <a:cubicBezTo>
                      <a:pt x="552" y="244"/>
                      <a:pt x="558" y="235"/>
                      <a:pt x="552" y="237"/>
                    </a:cubicBezTo>
                    <a:cubicBezTo>
                      <a:pt x="547" y="240"/>
                      <a:pt x="532" y="233"/>
                      <a:pt x="530" y="231"/>
                    </a:cubicBezTo>
                    <a:cubicBezTo>
                      <a:pt x="528" y="228"/>
                      <a:pt x="501" y="236"/>
                      <a:pt x="494" y="236"/>
                    </a:cubicBezTo>
                    <a:cubicBezTo>
                      <a:pt x="488" y="236"/>
                      <a:pt x="495" y="243"/>
                      <a:pt x="499" y="247"/>
                    </a:cubicBezTo>
                    <a:cubicBezTo>
                      <a:pt x="504" y="250"/>
                      <a:pt x="488" y="261"/>
                      <a:pt x="491" y="264"/>
                    </a:cubicBezTo>
                    <a:cubicBezTo>
                      <a:pt x="494" y="266"/>
                      <a:pt x="488" y="273"/>
                      <a:pt x="481" y="281"/>
                    </a:cubicBezTo>
                    <a:cubicBezTo>
                      <a:pt x="474" y="289"/>
                      <a:pt x="486" y="288"/>
                      <a:pt x="495" y="290"/>
                    </a:cubicBezTo>
                    <a:close/>
                    <a:moveTo>
                      <a:pt x="745" y="331"/>
                    </a:moveTo>
                    <a:cubicBezTo>
                      <a:pt x="748" y="328"/>
                      <a:pt x="761" y="338"/>
                      <a:pt x="761" y="331"/>
                    </a:cubicBezTo>
                    <a:cubicBezTo>
                      <a:pt x="762" y="323"/>
                      <a:pt x="747" y="320"/>
                      <a:pt x="741" y="316"/>
                    </a:cubicBezTo>
                    <a:cubicBezTo>
                      <a:pt x="735" y="312"/>
                      <a:pt x="733" y="314"/>
                      <a:pt x="723" y="307"/>
                    </a:cubicBezTo>
                    <a:cubicBezTo>
                      <a:pt x="714" y="300"/>
                      <a:pt x="726" y="296"/>
                      <a:pt x="719" y="291"/>
                    </a:cubicBezTo>
                    <a:cubicBezTo>
                      <a:pt x="712" y="285"/>
                      <a:pt x="709" y="270"/>
                      <a:pt x="714" y="265"/>
                    </a:cubicBezTo>
                    <a:cubicBezTo>
                      <a:pt x="719" y="260"/>
                      <a:pt x="725" y="253"/>
                      <a:pt x="716" y="249"/>
                    </a:cubicBezTo>
                    <a:cubicBezTo>
                      <a:pt x="707" y="246"/>
                      <a:pt x="692" y="252"/>
                      <a:pt x="694" y="254"/>
                    </a:cubicBezTo>
                    <a:cubicBezTo>
                      <a:pt x="695" y="256"/>
                      <a:pt x="708" y="263"/>
                      <a:pt x="708" y="266"/>
                    </a:cubicBezTo>
                    <a:cubicBezTo>
                      <a:pt x="708" y="269"/>
                      <a:pt x="696" y="258"/>
                      <a:pt x="692" y="260"/>
                    </a:cubicBezTo>
                    <a:cubicBezTo>
                      <a:pt x="688" y="263"/>
                      <a:pt x="684" y="255"/>
                      <a:pt x="680" y="260"/>
                    </a:cubicBezTo>
                    <a:cubicBezTo>
                      <a:pt x="677" y="265"/>
                      <a:pt x="685" y="283"/>
                      <a:pt x="688" y="288"/>
                    </a:cubicBezTo>
                    <a:cubicBezTo>
                      <a:pt x="691" y="293"/>
                      <a:pt x="685" y="293"/>
                      <a:pt x="681" y="294"/>
                    </a:cubicBezTo>
                    <a:cubicBezTo>
                      <a:pt x="677" y="295"/>
                      <a:pt x="676" y="280"/>
                      <a:pt x="672" y="274"/>
                    </a:cubicBezTo>
                    <a:cubicBezTo>
                      <a:pt x="668" y="269"/>
                      <a:pt x="652" y="262"/>
                      <a:pt x="651" y="266"/>
                    </a:cubicBezTo>
                    <a:cubicBezTo>
                      <a:pt x="650" y="270"/>
                      <a:pt x="661" y="270"/>
                      <a:pt x="660" y="276"/>
                    </a:cubicBezTo>
                    <a:cubicBezTo>
                      <a:pt x="658" y="281"/>
                      <a:pt x="652" y="272"/>
                      <a:pt x="647" y="277"/>
                    </a:cubicBezTo>
                    <a:cubicBezTo>
                      <a:pt x="641" y="281"/>
                      <a:pt x="642" y="278"/>
                      <a:pt x="643" y="274"/>
                    </a:cubicBezTo>
                    <a:cubicBezTo>
                      <a:pt x="644" y="269"/>
                      <a:pt x="635" y="264"/>
                      <a:pt x="625" y="265"/>
                    </a:cubicBezTo>
                    <a:cubicBezTo>
                      <a:pt x="615" y="266"/>
                      <a:pt x="621" y="273"/>
                      <a:pt x="618" y="276"/>
                    </a:cubicBezTo>
                    <a:cubicBezTo>
                      <a:pt x="615" y="278"/>
                      <a:pt x="600" y="274"/>
                      <a:pt x="609" y="272"/>
                    </a:cubicBezTo>
                    <a:cubicBezTo>
                      <a:pt x="619" y="270"/>
                      <a:pt x="615" y="265"/>
                      <a:pt x="611" y="259"/>
                    </a:cubicBezTo>
                    <a:cubicBezTo>
                      <a:pt x="608" y="254"/>
                      <a:pt x="598" y="260"/>
                      <a:pt x="583" y="266"/>
                    </a:cubicBezTo>
                    <a:cubicBezTo>
                      <a:pt x="567" y="271"/>
                      <a:pt x="560" y="277"/>
                      <a:pt x="562" y="278"/>
                    </a:cubicBezTo>
                    <a:cubicBezTo>
                      <a:pt x="564" y="278"/>
                      <a:pt x="565" y="281"/>
                      <a:pt x="559" y="286"/>
                    </a:cubicBezTo>
                    <a:cubicBezTo>
                      <a:pt x="553" y="291"/>
                      <a:pt x="559" y="295"/>
                      <a:pt x="564" y="295"/>
                    </a:cubicBezTo>
                    <a:cubicBezTo>
                      <a:pt x="570" y="295"/>
                      <a:pt x="565" y="300"/>
                      <a:pt x="569" y="301"/>
                    </a:cubicBezTo>
                    <a:cubicBezTo>
                      <a:pt x="572" y="302"/>
                      <a:pt x="590" y="294"/>
                      <a:pt x="595" y="297"/>
                    </a:cubicBezTo>
                    <a:cubicBezTo>
                      <a:pt x="600" y="301"/>
                      <a:pt x="566" y="303"/>
                      <a:pt x="566" y="309"/>
                    </a:cubicBezTo>
                    <a:cubicBezTo>
                      <a:pt x="566" y="315"/>
                      <a:pt x="585" y="318"/>
                      <a:pt x="599" y="316"/>
                    </a:cubicBezTo>
                    <a:cubicBezTo>
                      <a:pt x="613" y="313"/>
                      <a:pt x="637" y="318"/>
                      <a:pt x="637" y="321"/>
                    </a:cubicBezTo>
                    <a:cubicBezTo>
                      <a:pt x="637" y="325"/>
                      <a:pt x="621" y="324"/>
                      <a:pt x="608" y="323"/>
                    </a:cubicBezTo>
                    <a:cubicBezTo>
                      <a:pt x="596" y="323"/>
                      <a:pt x="574" y="327"/>
                      <a:pt x="575" y="331"/>
                    </a:cubicBezTo>
                    <a:cubicBezTo>
                      <a:pt x="576" y="335"/>
                      <a:pt x="578" y="335"/>
                      <a:pt x="591" y="341"/>
                    </a:cubicBezTo>
                    <a:cubicBezTo>
                      <a:pt x="604" y="347"/>
                      <a:pt x="617" y="338"/>
                      <a:pt x="617" y="347"/>
                    </a:cubicBezTo>
                    <a:cubicBezTo>
                      <a:pt x="616" y="355"/>
                      <a:pt x="624" y="357"/>
                      <a:pt x="641" y="358"/>
                    </a:cubicBezTo>
                    <a:cubicBezTo>
                      <a:pt x="659" y="358"/>
                      <a:pt x="667" y="350"/>
                      <a:pt x="675" y="350"/>
                    </a:cubicBezTo>
                    <a:cubicBezTo>
                      <a:pt x="684" y="351"/>
                      <a:pt x="688" y="349"/>
                      <a:pt x="692" y="343"/>
                    </a:cubicBezTo>
                    <a:cubicBezTo>
                      <a:pt x="696" y="337"/>
                      <a:pt x="699" y="341"/>
                      <a:pt x="700" y="344"/>
                    </a:cubicBezTo>
                    <a:cubicBezTo>
                      <a:pt x="701" y="347"/>
                      <a:pt x="712" y="346"/>
                      <a:pt x="715" y="349"/>
                    </a:cubicBezTo>
                    <a:cubicBezTo>
                      <a:pt x="721" y="355"/>
                      <a:pt x="742" y="353"/>
                      <a:pt x="750" y="349"/>
                    </a:cubicBezTo>
                    <a:cubicBezTo>
                      <a:pt x="758" y="345"/>
                      <a:pt x="747" y="334"/>
                      <a:pt x="743" y="339"/>
                    </a:cubicBezTo>
                    <a:cubicBezTo>
                      <a:pt x="739" y="344"/>
                      <a:pt x="735" y="341"/>
                      <a:pt x="734" y="339"/>
                    </a:cubicBezTo>
                    <a:cubicBezTo>
                      <a:pt x="733" y="336"/>
                      <a:pt x="742" y="335"/>
                      <a:pt x="745" y="331"/>
                    </a:cubicBezTo>
                    <a:close/>
                    <a:moveTo>
                      <a:pt x="555" y="208"/>
                    </a:moveTo>
                    <a:cubicBezTo>
                      <a:pt x="564" y="209"/>
                      <a:pt x="573" y="201"/>
                      <a:pt x="573" y="197"/>
                    </a:cubicBezTo>
                    <a:cubicBezTo>
                      <a:pt x="572" y="192"/>
                      <a:pt x="551" y="208"/>
                      <a:pt x="555" y="208"/>
                    </a:cubicBezTo>
                    <a:close/>
                    <a:moveTo>
                      <a:pt x="514" y="194"/>
                    </a:moveTo>
                    <a:cubicBezTo>
                      <a:pt x="517" y="196"/>
                      <a:pt x="514" y="203"/>
                      <a:pt x="518" y="201"/>
                    </a:cubicBezTo>
                    <a:cubicBezTo>
                      <a:pt x="522" y="199"/>
                      <a:pt x="523" y="198"/>
                      <a:pt x="526" y="199"/>
                    </a:cubicBezTo>
                    <a:cubicBezTo>
                      <a:pt x="531" y="201"/>
                      <a:pt x="532" y="196"/>
                      <a:pt x="535" y="194"/>
                    </a:cubicBezTo>
                    <a:cubicBezTo>
                      <a:pt x="537" y="191"/>
                      <a:pt x="536" y="203"/>
                      <a:pt x="543" y="203"/>
                    </a:cubicBezTo>
                    <a:cubicBezTo>
                      <a:pt x="548" y="203"/>
                      <a:pt x="547" y="191"/>
                      <a:pt x="552" y="194"/>
                    </a:cubicBezTo>
                    <a:cubicBezTo>
                      <a:pt x="557" y="198"/>
                      <a:pt x="559" y="193"/>
                      <a:pt x="560" y="189"/>
                    </a:cubicBezTo>
                    <a:cubicBezTo>
                      <a:pt x="561" y="186"/>
                      <a:pt x="561" y="180"/>
                      <a:pt x="566" y="179"/>
                    </a:cubicBezTo>
                    <a:cubicBezTo>
                      <a:pt x="572" y="178"/>
                      <a:pt x="567" y="184"/>
                      <a:pt x="570" y="189"/>
                    </a:cubicBezTo>
                    <a:cubicBezTo>
                      <a:pt x="573" y="195"/>
                      <a:pt x="580" y="189"/>
                      <a:pt x="580" y="186"/>
                    </a:cubicBezTo>
                    <a:cubicBezTo>
                      <a:pt x="581" y="183"/>
                      <a:pt x="590" y="185"/>
                      <a:pt x="589" y="182"/>
                    </a:cubicBezTo>
                    <a:cubicBezTo>
                      <a:pt x="589" y="178"/>
                      <a:pt x="592" y="177"/>
                      <a:pt x="589" y="173"/>
                    </a:cubicBezTo>
                    <a:cubicBezTo>
                      <a:pt x="587" y="169"/>
                      <a:pt x="593" y="170"/>
                      <a:pt x="596" y="167"/>
                    </a:cubicBezTo>
                    <a:cubicBezTo>
                      <a:pt x="599" y="164"/>
                      <a:pt x="592" y="167"/>
                      <a:pt x="587" y="162"/>
                    </a:cubicBezTo>
                    <a:cubicBezTo>
                      <a:pt x="582" y="158"/>
                      <a:pt x="580" y="164"/>
                      <a:pt x="580" y="167"/>
                    </a:cubicBezTo>
                    <a:cubicBezTo>
                      <a:pt x="580" y="170"/>
                      <a:pt x="571" y="167"/>
                      <a:pt x="565" y="165"/>
                    </a:cubicBezTo>
                    <a:cubicBezTo>
                      <a:pt x="560" y="163"/>
                      <a:pt x="553" y="172"/>
                      <a:pt x="545" y="176"/>
                    </a:cubicBezTo>
                    <a:cubicBezTo>
                      <a:pt x="537" y="180"/>
                      <a:pt x="536" y="187"/>
                      <a:pt x="529" y="186"/>
                    </a:cubicBezTo>
                    <a:cubicBezTo>
                      <a:pt x="521" y="186"/>
                      <a:pt x="510" y="193"/>
                      <a:pt x="514" y="194"/>
                    </a:cubicBezTo>
                    <a:close/>
                    <a:moveTo>
                      <a:pt x="592" y="192"/>
                    </a:moveTo>
                    <a:cubicBezTo>
                      <a:pt x="585" y="192"/>
                      <a:pt x="585" y="199"/>
                      <a:pt x="593" y="199"/>
                    </a:cubicBezTo>
                    <a:cubicBezTo>
                      <a:pt x="601" y="199"/>
                      <a:pt x="604" y="202"/>
                      <a:pt x="592" y="201"/>
                    </a:cubicBezTo>
                    <a:cubicBezTo>
                      <a:pt x="581" y="201"/>
                      <a:pt x="576" y="211"/>
                      <a:pt x="584" y="209"/>
                    </a:cubicBezTo>
                    <a:cubicBezTo>
                      <a:pt x="592" y="207"/>
                      <a:pt x="601" y="207"/>
                      <a:pt x="595" y="209"/>
                    </a:cubicBezTo>
                    <a:cubicBezTo>
                      <a:pt x="589" y="211"/>
                      <a:pt x="573" y="212"/>
                      <a:pt x="575" y="215"/>
                    </a:cubicBezTo>
                    <a:cubicBezTo>
                      <a:pt x="577" y="217"/>
                      <a:pt x="583" y="217"/>
                      <a:pt x="590" y="219"/>
                    </a:cubicBezTo>
                    <a:cubicBezTo>
                      <a:pt x="596" y="222"/>
                      <a:pt x="600" y="223"/>
                      <a:pt x="605" y="218"/>
                    </a:cubicBezTo>
                    <a:cubicBezTo>
                      <a:pt x="610" y="212"/>
                      <a:pt x="617" y="207"/>
                      <a:pt x="614" y="214"/>
                    </a:cubicBezTo>
                    <a:cubicBezTo>
                      <a:pt x="612" y="222"/>
                      <a:pt x="622" y="216"/>
                      <a:pt x="636" y="216"/>
                    </a:cubicBezTo>
                    <a:cubicBezTo>
                      <a:pt x="649" y="215"/>
                      <a:pt x="633" y="224"/>
                      <a:pt x="619" y="225"/>
                    </a:cubicBezTo>
                    <a:cubicBezTo>
                      <a:pt x="605" y="226"/>
                      <a:pt x="608" y="233"/>
                      <a:pt x="619" y="235"/>
                    </a:cubicBezTo>
                    <a:cubicBezTo>
                      <a:pt x="630" y="238"/>
                      <a:pt x="653" y="228"/>
                      <a:pt x="659" y="223"/>
                    </a:cubicBezTo>
                    <a:cubicBezTo>
                      <a:pt x="664" y="217"/>
                      <a:pt x="669" y="226"/>
                      <a:pt x="675" y="222"/>
                    </a:cubicBezTo>
                    <a:cubicBezTo>
                      <a:pt x="680" y="218"/>
                      <a:pt x="691" y="222"/>
                      <a:pt x="700" y="220"/>
                    </a:cubicBezTo>
                    <a:cubicBezTo>
                      <a:pt x="710" y="218"/>
                      <a:pt x="711" y="200"/>
                      <a:pt x="704" y="197"/>
                    </a:cubicBezTo>
                    <a:cubicBezTo>
                      <a:pt x="697" y="194"/>
                      <a:pt x="697" y="201"/>
                      <a:pt x="692" y="202"/>
                    </a:cubicBezTo>
                    <a:cubicBezTo>
                      <a:pt x="686" y="203"/>
                      <a:pt x="683" y="196"/>
                      <a:pt x="679" y="191"/>
                    </a:cubicBezTo>
                    <a:cubicBezTo>
                      <a:pt x="674" y="187"/>
                      <a:pt x="677" y="178"/>
                      <a:pt x="671" y="179"/>
                    </a:cubicBezTo>
                    <a:cubicBezTo>
                      <a:pt x="664" y="180"/>
                      <a:pt x="650" y="191"/>
                      <a:pt x="659" y="192"/>
                    </a:cubicBezTo>
                    <a:cubicBezTo>
                      <a:pt x="667" y="193"/>
                      <a:pt x="664" y="197"/>
                      <a:pt x="660" y="199"/>
                    </a:cubicBezTo>
                    <a:cubicBezTo>
                      <a:pt x="655" y="201"/>
                      <a:pt x="670" y="205"/>
                      <a:pt x="668" y="208"/>
                    </a:cubicBezTo>
                    <a:cubicBezTo>
                      <a:pt x="666" y="211"/>
                      <a:pt x="643" y="208"/>
                      <a:pt x="642" y="203"/>
                    </a:cubicBezTo>
                    <a:cubicBezTo>
                      <a:pt x="641" y="198"/>
                      <a:pt x="623" y="189"/>
                      <a:pt x="616" y="191"/>
                    </a:cubicBezTo>
                    <a:cubicBezTo>
                      <a:pt x="608" y="193"/>
                      <a:pt x="611" y="185"/>
                      <a:pt x="604" y="185"/>
                    </a:cubicBezTo>
                    <a:cubicBezTo>
                      <a:pt x="596" y="184"/>
                      <a:pt x="599" y="191"/>
                      <a:pt x="592" y="192"/>
                    </a:cubicBezTo>
                    <a:close/>
                    <a:moveTo>
                      <a:pt x="618" y="156"/>
                    </a:moveTo>
                    <a:cubicBezTo>
                      <a:pt x="620" y="150"/>
                      <a:pt x="601" y="151"/>
                      <a:pt x="603" y="153"/>
                    </a:cubicBezTo>
                    <a:cubicBezTo>
                      <a:pt x="606" y="157"/>
                      <a:pt x="615" y="162"/>
                      <a:pt x="618" y="156"/>
                    </a:cubicBezTo>
                    <a:close/>
                    <a:moveTo>
                      <a:pt x="659" y="153"/>
                    </a:moveTo>
                    <a:cubicBezTo>
                      <a:pt x="666" y="152"/>
                      <a:pt x="663" y="147"/>
                      <a:pt x="652" y="149"/>
                    </a:cubicBezTo>
                    <a:cubicBezTo>
                      <a:pt x="642" y="150"/>
                      <a:pt x="624" y="150"/>
                      <a:pt x="624" y="158"/>
                    </a:cubicBezTo>
                    <a:cubicBezTo>
                      <a:pt x="624" y="164"/>
                      <a:pt x="627" y="167"/>
                      <a:pt x="639" y="168"/>
                    </a:cubicBezTo>
                    <a:cubicBezTo>
                      <a:pt x="650" y="169"/>
                      <a:pt x="660" y="158"/>
                      <a:pt x="655" y="158"/>
                    </a:cubicBezTo>
                    <a:cubicBezTo>
                      <a:pt x="649" y="158"/>
                      <a:pt x="653" y="154"/>
                      <a:pt x="659" y="153"/>
                    </a:cubicBezTo>
                    <a:close/>
                    <a:moveTo>
                      <a:pt x="635" y="144"/>
                    </a:moveTo>
                    <a:cubicBezTo>
                      <a:pt x="640" y="146"/>
                      <a:pt x="645" y="139"/>
                      <a:pt x="648" y="142"/>
                    </a:cubicBezTo>
                    <a:cubicBezTo>
                      <a:pt x="652" y="145"/>
                      <a:pt x="667" y="148"/>
                      <a:pt x="667" y="140"/>
                    </a:cubicBezTo>
                    <a:cubicBezTo>
                      <a:pt x="667" y="132"/>
                      <a:pt x="648" y="131"/>
                      <a:pt x="643" y="134"/>
                    </a:cubicBezTo>
                    <a:cubicBezTo>
                      <a:pt x="638" y="137"/>
                      <a:pt x="615" y="138"/>
                      <a:pt x="621" y="143"/>
                    </a:cubicBezTo>
                    <a:cubicBezTo>
                      <a:pt x="625" y="146"/>
                      <a:pt x="630" y="142"/>
                      <a:pt x="635" y="144"/>
                    </a:cubicBezTo>
                    <a:close/>
                    <a:moveTo>
                      <a:pt x="718" y="128"/>
                    </a:moveTo>
                    <a:cubicBezTo>
                      <a:pt x="724" y="124"/>
                      <a:pt x="735" y="131"/>
                      <a:pt x="733" y="135"/>
                    </a:cubicBezTo>
                    <a:cubicBezTo>
                      <a:pt x="731" y="140"/>
                      <a:pt x="714" y="135"/>
                      <a:pt x="715" y="138"/>
                    </a:cubicBezTo>
                    <a:cubicBezTo>
                      <a:pt x="716" y="140"/>
                      <a:pt x="718" y="146"/>
                      <a:pt x="730" y="142"/>
                    </a:cubicBezTo>
                    <a:cubicBezTo>
                      <a:pt x="742" y="139"/>
                      <a:pt x="752" y="141"/>
                      <a:pt x="760" y="148"/>
                    </a:cubicBezTo>
                    <a:cubicBezTo>
                      <a:pt x="768" y="154"/>
                      <a:pt x="775" y="157"/>
                      <a:pt x="781" y="150"/>
                    </a:cubicBezTo>
                    <a:cubicBezTo>
                      <a:pt x="786" y="144"/>
                      <a:pt x="774" y="143"/>
                      <a:pt x="776" y="138"/>
                    </a:cubicBezTo>
                    <a:cubicBezTo>
                      <a:pt x="779" y="133"/>
                      <a:pt x="768" y="130"/>
                      <a:pt x="763" y="130"/>
                    </a:cubicBezTo>
                    <a:cubicBezTo>
                      <a:pt x="757" y="130"/>
                      <a:pt x="755" y="120"/>
                      <a:pt x="751" y="122"/>
                    </a:cubicBezTo>
                    <a:cubicBezTo>
                      <a:pt x="746" y="124"/>
                      <a:pt x="743" y="127"/>
                      <a:pt x="743" y="121"/>
                    </a:cubicBezTo>
                    <a:cubicBezTo>
                      <a:pt x="743" y="114"/>
                      <a:pt x="717" y="114"/>
                      <a:pt x="711" y="116"/>
                    </a:cubicBezTo>
                    <a:cubicBezTo>
                      <a:pt x="704" y="119"/>
                      <a:pt x="712" y="132"/>
                      <a:pt x="718" y="128"/>
                    </a:cubicBezTo>
                    <a:close/>
                    <a:moveTo>
                      <a:pt x="722" y="170"/>
                    </a:moveTo>
                    <a:cubicBezTo>
                      <a:pt x="726" y="165"/>
                      <a:pt x="706" y="149"/>
                      <a:pt x="705" y="157"/>
                    </a:cubicBezTo>
                    <a:cubicBezTo>
                      <a:pt x="704" y="164"/>
                      <a:pt x="718" y="176"/>
                      <a:pt x="722" y="170"/>
                    </a:cubicBezTo>
                    <a:close/>
                    <a:moveTo>
                      <a:pt x="787" y="105"/>
                    </a:moveTo>
                    <a:cubicBezTo>
                      <a:pt x="790" y="99"/>
                      <a:pt x="766" y="94"/>
                      <a:pt x="772" y="99"/>
                    </a:cubicBezTo>
                    <a:cubicBezTo>
                      <a:pt x="775" y="102"/>
                      <a:pt x="783" y="111"/>
                      <a:pt x="787" y="105"/>
                    </a:cubicBezTo>
                    <a:close/>
                    <a:moveTo>
                      <a:pt x="730" y="218"/>
                    </a:moveTo>
                    <a:cubicBezTo>
                      <a:pt x="734" y="214"/>
                      <a:pt x="723" y="206"/>
                      <a:pt x="720" y="213"/>
                    </a:cubicBezTo>
                    <a:cubicBezTo>
                      <a:pt x="717" y="220"/>
                      <a:pt x="727" y="222"/>
                      <a:pt x="730" y="218"/>
                    </a:cubicBezTo>
                    <a:close/>
                    <a:moveTo>
                      <a:pt x="787" y="183"/>
                    </a:moveTo>
                    <a:cubicBezTo>
                      <a:pt x="786" y="188"/>
                      <a:pt x="775" y="182"/>
                      <a:pt x="766" y="179"/>
                    </a:cubicBezTo>
                    <a:cubicBezTo>
                      <a:pt x="757" y="175"/>
                      <a:pt x="762" y="186"/>
                      <a:pt x="769" y="192"/>
                    </a:cubicBezTo>
                    <a:cubicBezTo>
                      <a:pt x="776" y="198"/>
                      <a:pt x="766" y="195"/>
                      <a:pt x="756" y="188"/>
                    </a:cubicBezTo>
                    <a:cubicBezTo>
                      <a:pt x="747" y="182"/>
                      <a:pt x="748" y="193"/>
                      <a:pt x="752" y="196"/>
                    </a:cubicBezTo>
                    <a:cubicBezTo>
                      <a:pt x="757" y="200"/>
                      <a:pt x="751" y="205"/>
                      <a:pt x="745" y="197"/>
                    </a:cubicBezTo>
                    <a:cubicBezTo>
                      <a:pt x="739" y="189"/>
                      <a:pt x="736" y="180"/>
                      <a:pt x="727" y="180"/>
                    </a:cubicBezTo>
                    <a:cubicBezTo>
                      <a:pt x="717" y="179"/>
                      <a:pt x="722" y="189"/>
                      <a:pt x="725" y="194"/>
                    </a:cubicBezTo>
                    <a:cubicBezTo>
                      <a:pt x="730" y="200"/>
                      <a:pt x="735" y="202"/>
                      <a:pt x="743" y="206"/>
                    </a:cubicBezTo>
                    <a:cubicBezTo>
                      <a:pt x="751" y="211"/>
                      <a:pt x="764" y="204"/>
                      <a:pt x="770" y="206"/>
                    </a:cubicBezTo>
                    <a:cubicBezTo>
                      <a:pt x="776" y="207"/>
                      <a:pt x="764" y="215"/>
                      <a:pt x="768" y="220"/>
                    </a:cubicBezTo>
                    <a:cubicBezTo>
                      <a:pt x="772" y="225"/>
                      <a:pt x="783" y="221"/>
                      <a:pt x="791" y="221"/>
                    </a:cubicBezTo>
                    <a:cubicBezTo>
                      <a:pt x="800" y="220"/>
                      <a:pt x="796" y="215"/>
                      <a:pt x="801" y="212"/>
                    </a:cubicBezTo>
                    <a:cubicBezTo>
                      <a:pt x="806" y="208"/>
                      <a:pt x="796" y="209"/>
                      <a:pt x="800" y="200"/>
                    </a:cubicBezTo>
                    <a:cubicBezTo>
                      <a:pt x="804" y="192"/>
                      <a:pt x="787" y="178"/>
                      <a:pt x="787" y="183"/>
                    </a:cubicBezTo>
                    <a:close/>
                    <a:moveTo>
                      <a:pt x="808" y="154"/>
                    </a:moveTo>
                    <a:cubicBezTo>
                      <a:pt x="815" y="154"/>
                      <a:pt x="821" y="153"/>
                      <a:pt x="828" y="150"/>
                    </a:cubicBezTo>
                    <a:cubicBezTo>
                      <a:pt x="834" y="148"/>
                      <a:pt x="824" y="148"/>
                      <a:pt x="829" y="142"/>
                    </a:cubicBezTo>
                    <a:cubicBezTo>
                      <a:pt x="833" y="136"/>
                      <a:pt x="818" y="135"/>
                      <a:pt x="817" y="137"/>
                    </a:cubicBezTo>
                    <a:cubicBezTo>
                      <a:pt x="816" y="139"/>
                      <a:pt x="796" y="125"/>
                      <a:pt x="793" y="130"/>
                    </a:cubicBezTo>
                    <a:cubicBezTo>
                      <a:pt x="790" y="134"/>
                      <a:pt x="800" y="154"/>
                      <a:pt x="808" y="154"/>
                    </a:cubicBezTo>
                    <a:close/>
                    <a:moveTo>
                      <a:pt x="848" y="156"/>
                    </a:moveTo>
                    <a:cubicBezTo>
                      <a:pt x="847" y="153"/>
                      <a:pt x="809" y="158"/>
                      <a:pt x="815" y="162"/>
                    </a:cubicBezTo>
                    <a:cubicBezTo>
                      <a:pt x="825" y="170"/>
                      <a:pt x="849" y="159"/>
                      <a:pt x="848" y="156"/>
                    </a:cubicBezTo>
                    <a:close/>
                    <a:moveTo>
                      <a:pt x="843" y="229"/>
                    </a:moveTo>
                    <a:cubicBezTo>
                      <a:pt x="852" y="229"/>
                      <a:pt x="847" y="218"/>
                      <a:pt x="837" y="210"/>
                    </a:cubicBezTo>
                    <a:cubicBezTo>
                      <a:pt x="827" y="203"/>
                      <a:pt x="805" y="218"/>
                      <a:pt x="809" y="221"/>
                    </a:cubicBezTo>
                    <a:cubicBezTo>
                      <a:pt x="813" y="225"/>
                      <a:pt x="834" y="230"/>
                      <a:pt x="843" y="229"/>
                    </a:cubicBezTo>
                    <a:close/>
                    <a:moveTo>
                      <a:pt x="779" y="299"/>
                    </a:moveTo>
                    <a:cubicBezTo>
                      <a:pt x="790" y="307"/>
                      <a:pt x="786" y="293"/>
                      <a:pt x="799" y="294"/>
                    </a:cubicBezTo>
                    <a:cubicBezTo>
                      <a:pt x="811" y="294"/>
                      <a:pt x="812" y="274"/>
                      <a:pt x="814" y="266"/>
                    </a:cubicBezTo>
                    <a:cubicBezTo>
                      <a:pt x="816" y="259"/>
                      <a:pt x="804" y="259"/>
                      <a:pt x="807" y="265"/>
                    </a:cubicBezTo>
                    <a:cubicBezTo>
                      <a:pt x="810" y="270"/>
                      <a:pt x="806" y="276"/>
                      <a:pt x="805" y="269"/>
                    </a:cubicBezTo>
                    <a:cubicBezTo>
                      <a:pt x="804" y="263"/>
                      <a:pt x="795" y="269"/>
                      <a:pt x="791" y="264"/>
                    </a:cubicBezTo>
                    <a:cubicBezTo>
                      <a:pt x="788" y="259"/>
                      <a:pt x="802" y="258"/>
                      <a:pt x="806" y="252"/>
                    </a:cubicBezTo>
                    <a:cubicBezTo>
                      <a:pt x="809" y="245"/>
                      <a:pt x="794" y="246"/>
                      <a:pt x="798" y="241"/>
                    </a:cubicBezTo>
                    <a:cubicBezTo>
                      <a:pt x="801" y="236"/>
                      <a:pt x="776" y="242"/>
                      <a:pt x="783" y="245"/>
                    </a:cubicBezTo>
                    <a:cubicBezTo>
                      <a:pt x="791" y="248"/>
                      <a:pt x="784" y="252"/>
                      <a:pt x="777" y="247"/>
                    </a:cubicBezTo>
                    <a:cubicBezTo>
                      <a:pt x="770" y="242"/>
                      <a:pt x="750" y="250"/>
                      <a:pt x="757" y="256"/>
                    </a:cubicBezTo>
                    <a:cubicBezTo>
                      <a:pt x="763" y="260"/>
                      <a:pt x="779" y="253"/>
                      <a:pt x="770" y="266"/>
                    </a:cubicBezTo>
                    <a:cubicBezTo>
                      <a:pt x="760" y="279"/>
                      <a:pt x="756" y="262"/>
                      <a:pt x="747" y="264"/>
                    </a:cubicBezTo>
                    <a:cubicBezTo>
                      <a:pt x="738" y="265"/>
                      <a:pt x="742" y="276"/>
                      <a:pt x="756" y="280"/>
                    </a:cubicBezTo>
                    <a:cubicBezTo>
                      <a:pt x="769" y="284"/>
                      <a:pt x="768" y="292"/>
                      <a:pt x="779" y="299"/>
                    </a:cubicBezTo>
                    <a:close/>
                    <a:moveTo>
                      <a:pt x="860" y="219"/>
                    </a:moveTo>
                    <a:cubicBezTo>
                      <a:pt x="864" y="229"/>
                      <a:pt x="868" y="222"/>
                      <a:pt x="873" y="226"/>
                    </a:cubicBezTo>
                    <a:cubicBezTo>
                      <a:pt x="879" y="230"/>
                      <a:pt x="887" y="233"/>
                      <a:pt x="892" y="229"/>
                    </a:cubicBezTo>
                    <a:cubicBezTo>
                      <a:pt x="896" y="225"/>
                      <a:pt x="898" y="222"/>
                      <a:pt x="900" y="225"/>
                    </a:cubicBezTo>
                    <a:cubicBezTo>
                      <a:pt x="902" y="231"/>
                      <a:pt x="913" y="232"/>
                      <a:pt x="937" y="232"/>
                    </a:cubicBezTo>
                    <a:cubicBezTo>
                      <a:pt x="961" y="233"/>
                      <a:pt x="955" y="222"/>
                      <a:pt x="962" y="226"/>
                    </a:cubicBezTo>
                    <a:cubicBezTo>
                      <a:pt x="969" y="230"/>
                      <a:pt x="985" y="230"/>
                      <a:pt x="992" y="229"/>
                    </a:cubicBezTo>
                    <a:cubicBezTo>
                      <a:pt x="999" y="227"/>
                      <a:pt x="1003" y="216"/>
                      <a:pt x="1002" y="211"/>
                    </a:cubicBezTo>
                    <a:cubicBezTo>
                      <a:pt x="1002" y="205"/>
                      <a:pt x="948" y="201"/>
                      <a:pt x="939" y="206"/>
                    </a:cubicBezTo>
                    <a:cubicBezTo>
                      <a:pt x="929" y="212"/>
                      <a:pt x="914" y="204"/>
                      <a:pt x="907" y="208"/>
                    </a:cubicBezTo>
                    <a:cubicBezTo>
                      <a:pt x="899" y="212"/>
                      <a:pt x="902" y="203"/>
                      <a:pt x="888" y="202"/>
                    </a:cubicBezTo>
                    <a:cubicBezTo>
                      <a:pt x="875" y="202"/>
                      <a:pt x="889" y="195"/>
                      <a:pt x="892" y="192"/>
                    </a:cubicBezTo>
                    <a:cubicBezTo>
                      <a:pt x="894" y="189"/>
                      <a:pt x="871" y="181"/>
                      <a:pt x="862" y="183"/>
                    </a:cubicBezTo>
                    <a:cubicBezTo>
                      <a:pt x="852" y="185"/>
                      <a:pt x="847" y="180"/>
                      <a:pt x="838" y="176"/>
                    </a:cubicBezTo>
                    <a:cubicBezTo>
                      <a:pt x="829" y="172"/>
                      <a:pt x="804" y="173"/>
                      <a:pt x="809" y="180"/>
                    </a:cubicBezTo>
                    <a:cubicBezTo>
                      <a:pt x="813" y="185"/>
                      <a:pt x="842" y="195"/>
                      <a:pt x="845" y="190"/>
                    </a:cubicBezTo>
                    <a:cubicBezTo>
                      <a:pt x="848" y="185"/>
                      <a:pt x="855" y="196"/>
                      <a:pt x="860" y="202"/>
                    </a:cubicBezTo>
                    <a:cubicBezTo>
                      <a:pt x="864" y="207"/>
                      <a:pt x="857" y="209"/>
                      <a:pt x="860" y="219"/>
                    </a:cubicBezTo>
                    <a:close/>
                    <a:moveTo>
                      <a:pt x="886" y="160"/>
                    </a:moveTo>
                    <a:cubicBezTo>
                      <a:pt x="877" y="156"/>
                      <a:pt x="866" y="165"/>
                      <a:pt x="875" y="169"/>
                    </a:cubicBezTo>
                    <a:cubicBezTo>
                      <a:pt x="883" y="172"/>
                      <a:pt x="895" y="165"/>
                      <a:pt x="886" y="160"/>
                    </a:cubicBezTo>
                    <a:close/>
                    <a:moveTo>
                      <a:pt x="814" y="104"/>
                    </a:moveTo>
                    <a:cubicBezTo>
                      <a:pt x="821" y="108"/>
                      <a:pt x="817" y="113"/>
                      <a:pt x="825" y="116"/>
                    </a:cubicBezTo>
                    <a:cubicBezTo>
                      <a:pt x="833" y="120"/>
                      <a:pt x="856" y="112"/>
                      <a:pt x="858" y="117"/>
                    </a:cubicBezTo>
                    <a:cubicBezTo>
                      <a:pt x="860" y="123"/>
                      <a:pt x="834" y="123"/>
                      <a:pt x="838" y="127"/>
                    </a:cubicBezTo>
                    <a:cubicBezTo>
                      <a:pt x="841" y="130"/>
                      <a:pt x="856" y="136"/>
                      <a:pt x="854" y="139"/>
                    </a:cubicBezTo>
                    <a:cubicBezTo>
                      <a:pt x="852" y="142"/>
                      <a:pt x="878" y="150"/>
                      <a:pt x="880" y="146"/>
                    </a:cubicBezTo>
                    <a:cubicBezTo>
                      <a:pt x="883" y="142"/>
                      <a:pt x="890" y="143"/>
                      <a:pt x="896" y="146"/>
                    </a:cubicBezTo>
                    <a:cubicBezTo>
                      <a:pt x="903" y="148"/>
                      <a:pt x="903" y="130"/>
                      <a:pt x="908" y="133"/>
                    </a:cubicBezTo>
                    <a:cubicBezTo>
                      <a:pt x="912" y="136"/>
                      <a:pt x="912" y="127"/>
                      <a:pt x="919" y="124"/>
                    </a:cubicBezTo>
                    <a:cubicBezTo>
                      <a:pt x="927" y="121"/>
                      <a:pt x="938" y="121"/>
                      <a:pt x="938" y="117"/>
                    </a:cubicBezTo>
                    <a:cubicBezTo>
                      <a:pt x="939" y="115"/>
                      <a:pt x="936" y="111"/>
                      <a:pt x="927" y="112"/>
                    </a:cubicBezTo>
                    <a:cubicBezTo>
                      <a:pt x="918" y="113"/>
                      <a:pt x="912" y="110"/>
                      <a:pt x="916" y="105"/>
                    </a:cubicBezTo>
                    <a:cubicBezTo>
                      <a:pt x="920" y="100"/>
                      <a:pt x="906" y="98"/>
                      <a:pt x="911" y="94"/>
                    </a:cubicBezTo>
                    <a:cubicBezTo>
                      <a:pt x="916" y="90"/>
                      <a:pt x="902" y="86"/>
                      <a:pt x="903" y="92"/>
                    </a:cubicBezTo>
                    <a:cubicBezTo>
                      <a:pt x="905" y="98"/>
                      <a:pt x="894" y="93"/>
                      <a:pt x="893" y="87"/>
                    </a:cubicBezTo>
                    <a:cubicBezTo>
                      <a:pt x="891" y="82"/>
                      <a:pt x="871" y="80"/>
                      <a:pt x="857" y="68"/>
                    </a:cubicBezTo>
                    <a:cubicBezTo>
                      <a:pt x="844" y="56"/>
                      <a:pt x="830" y="64"/>
                      <a:pt x="838" y="65"/>
                    </a:cubicBezTo>
                    <a:cubicBezTo>
                      <a:pt x="846" y="67"/>
                      <a:pt x="845" y="71"/>
                      <a:pt x="839" y="70"/>
                    </a:cubicBezTo>
                    <a:cubicBezTo>
                      <a:pt x="832" y="70"/>
                      <a:pt x="821" y="71"/>
                      <a:pt x="831" y="75"/>
                    </a:cubicBezTo>
                    <a:cubicBezTo>
                      <a:pt x="842" y="79"/>
                      <a:pt x="830" y="80"/>
                      <a:pt x="822" y="80"/>
                    </a:cubicBezTo>
                    <a:cubicBezTo>
                      <a:pt x="813" y="80"/>
                      <a:pt x="813" y="91"/>
                      <a:pt x="824" y="93"/>
                    </a:cubicBezTo>
                    <a:cubicBezTo>
                      <a:pt x="835" y="94"/>
                      <a:pt x="827" y="101"/>
                      <a:pt x="818" y="98"/>
                    </a:cubicBezTo>
                    <a:cubicBezTo>
                      <a:pt x="809" y="96"/>
                      <a:pt x="806" y="100"/>
                      <a:pt x="814" y="104"/>
                    </a:cubicBezTo>
                    <a:close/>
                    <a:moveTo>
                      <a:pt x="874" y="55"/>
                    </a:moveTo>
                    <a:cubicBezTo>
                      <a:pt x="881" y="50"/>
                      <a:pt x="887" y="53"/>
                      <a:pt x="881" y="56"/>
                    </a:cubicBezTo>
                    <a:cubicBezTo>
                      <a:pt x="875" y="59"/>
                      <a:pt x="877" y="61"/>
                      <a:pt x="885" y="61"/>
                    </a:cubicBezTo>
                    <a:cubicBezTo>
                      <a:pt x="894" y="60"/>
                      <a:pt x="882" y="63"/>
                      <a:pt x="882" y="68"/>
                    </a:cubicBezTo>
                    <a:cubicBezTo>
                      <a:pt x="882" y="73"/>
                      <a:pt x="892" y="70"/>
                      <a:pt x="892" y="75"/>
                    </a:cubicBezTo>
                    <a:cubicBezTo>
                      <a:pt x="893" y="80"/>
                      <a:pt x="914" y="82"/>
                      <a:pt x="921" y="76"/>
                    </a:cubicBezTo>
                    <a:cubicBezTo>
                      <a:pt x="927" y="70"/>
                      <a:pt x="925" y="78"/>
                      <a:pt x="924" y="82"/>
                    </a:cubicBezTo>
                    <a:cubicBezTo>
                      <a:pt x="924" y="86"/>
                      <a:pt x="955" y="89"/>
                      <a:pt x="956" y="84"/>
                    </a:cubicBezTo>
                    <a:cubicBezTo>
                      <a:pt x="958" y="79"/>
                      <a:pt x="962" y="81"/>
                      <a:pt x="968" y="83"/>
                    </a:cubicBezTo>
                    <a:cubicBezTo>
                      <a:pt x="974" y="84"/>
                      <a:pt x="1004" y="77"/>
                      <a:pt x="1004" y="71"/>
                    </a:cubicBezTo>
                    <a:cubicBezTo>
                      <a:pt x="1005" y="65"/>
                      <a:pt x="1014" y="74"/>
                      <a:pt x="1004" y="81"/>
                    </a:cubicBezTo>
                    <a:cubicBezTo>
                      <a:pt x="995" y="87"/>
                      <a:pt x="976" y="86"/>
                      <a:pt x="967" y="89"/>
                    </a:cubicBezTo>
                    <a:cubicBezTo>
                      <a:pt x="959" y="91"/>
                      <a:pt x="973" y="97"/>
                      <a:pt x="981" y="104"/>
                    </a:cubicBezTo>
                    <a:cubicBezTo>
                      <a:pt x="990" y="110"/>
                      <a:pt x="970" y="107"/>
                      <a:pt x="962" y="98"/>
                    </a:cubicBezTo>
                    <a:cubicBezTo>
                      <a:pt x="954" y="90"/>
                      <a:pt x="936" y="90"/>
                      <a:pt x="927" y="90"/>
                    </a:cubicBezTo>
                    <a:cubicBezTo>
                      <a:pt x="917" y="91"/>
                      <a:pt x="920" y="108"/>
                      <a:pt x="927" y="108"/>
                    </a:cubicBezTo>
                    <a:cubicBezTo>
                      <a:pt x="934" y="108"/>
                      <a:pt x="941" y="111"/>
                      <a:pt x="948" y="122"/>
                    </a:cubicBezTo>
                    <a:cubicBezTo>
                      <a:pt x="955" y="133"/>
                      <a:pt x="970" y="130"/>
                      <a:pt x="970" y="135"/>
                    </a:cubicBezTo>
                    <a:cubicBezTo>
                      <a:pt x="970" y="140"/>
                      <a:pt x="951" y="131"/>
                      <a:pt x="940" y="129"/>
                    </a:cubicBezTo>
                    <a:cubicBezTo>
                      <a:pt x="929" y="127"/>
                      <a:pt x="911" y="134"/>
                      <a:pt x="911" y="142"/>
                    </a:cubicBezTo>
                    <a:cubicBezTo>
                      <a:pt x="910" y="150"/>
                      <a:pt x="927" y="149"/>
                      <a:pt x="938" y="143"/>
                    </a:cubicBezTo>
                    <a:cubicBezTo>
                      <a:pt x="949" y="136"/>
                      <a:pt x="941" y="145"/>
                      <a:pt x="935" y="150"/>
                    </a:cubicBezTo>
                    <a:cubicBezTo>
                      <a:pt x="930" y="155"/>
                      <a:pt x="948" y="159"/>
                      <a:pt x="948" y="165"/>
                    </a:cubicBezTo>
                    <a:cubicBezTo>
                      <a:pt x="948" y="171"/>
                      <a:pt x="935" y="169"/>
                      <a:pt x="933" y="163"/>
                    </a:cubicBezTo>
                    <a:cubicBezTo>
                      <a:pt x="932" y="158"/>
                      <a:pt x="927" y="152"/>
                      <a:pt x="914" y="153"/>
                    </a:cubicBezTo>
                    <a:cubicBezTo>
                      <a:pt x="901" y="154"/>
                      <a:pt x="904" y="163"/>
                      <a:pt x="912" y="164"/>
                    </a:cubicBezTo>
                    <a:cubicBezTo>
                      <a:pt x="920" y="165"/>
                      <a:pt x="921" y="171"/>
                      <a:pt x="912" y="171"/>
                    </a:cubicBezTo>
                    <a:cubicBezTo>
                      <a:pt x="903" y="171"/>
                      <a:pt x="883" y="177"/>
                      <a:pt x="889" y="183"/>
                    </a:cubicBezTo>
                    <a:cubicBezTo>
                      <a:pt x="896" y="189"/>
                      <a:pt x="921" y="183"/>
                      <a:pt x="926" y="187"/>
                    </a:cubicBezTo>
                    <a:cubicBezTo>
                      <a:pt x="930" y="191"/>
                      <a:pt x="943" y="192"/>
                      <a:pt x="946" y="188"/>
                    </a:cubicBezTo>
                    <a:cubicBezTo>
                      <a:pt x="949" y="183"/>
                      <a:pt x="959" y="185"/>
                      <a:pt x="969" y="185"/>
                    </a:cubicBezTo>
                    <a:cubicBezTo>
                      <a:pt x="979" y="185"/>
                      <a:pt x="981" y="187"/>
                      <a:pt x="986" y="191"/>
                    </a:cubicBezTo>
                    <a:cubicBezTo>
                      <a:pt x="990" y="195"/>
                      <a:pt x="998" y="193"/>
                      <a:pt x="1004" y="189"/>
                    </a:cubicBezTo>
                    <a:cubicBezTo>
                      <a:pt x="1009" y="185"/>
                      <a:pt x="1009" y="185"/>
                      <a:pt x="1016" y="185"/>
                    </a:cubicBezTo>
                    <a:cubicBezTo>
                      <a:pt x="1023" y="185"/>
                      <a:pt x="1025" y="181"/>
                      <a:pt x="1021" y="175"/>
                    </a:cubicBezTo>
                    <a:cubicBezTo>
                      <a:pt x="1018" y="170"/>
                      <a:pt x="1009" y="179"/>
                      <a:pt x="1008" y="175"/>
                    </a:cubicBezTo>
                    <a:cubicBezTo>
                      <a:pt x="1007" y="170"/>
                      <a:pt x="998" y="169"/>
                      <a:pt x="984" y="171"/>
                    </a:cubicBezTo>
                    <a:cubicBezTo>
                      <a:pt x="970" y="173"/>
                      <a:pt x="976" y="162"/>
                      <a:pt x="985" y="164"/>
                    </a:cubicBezTo>
                    <a:cubicBezTo>
                      <a:pt x="993" y="167"/>
                      <a:pt x="1005" y="166"/>
                      <a:pt x="1014" y="163"/>
                    </a:cubicBezTo>
                    <a:cubicBezTo>
                      <a:pt x="1024" y="161"/>
                      <a:pt x="1016" y="156"/>
                      <a:pt x="1016" y="152"/>
                    </a:cubicBezTo>
                    <a:cubicBezTo>
                      <a:pt x="1016" y="148"/>
                      <a:pt x="1028" y="151"/>
                      <a:pt x="1037" y="151"/>
                    </a:cubicBezTo>
                    <a:cubicBezTo>
                      <a:pt x="1046" y="151"/>
                      <a:pt x="1059" y="136"/>
                      <a:pt x="1060" y="128"/>
                    </a:cubicBezTo>
                    <a:cubicBezTo>
                      <a:pt x="1060" y="119"/>
                      <a:pt x="1040" y="121"/>
                      <a:pt x="1030" y="121"/>
                    </a:cubicBezTo>
                    <a:cubicBezTo>
                      <a:pt x="1020" y="121"/>
                      <a:pt x="1036" y="114"/>
                      <a:pt x="1055" y="115"/>
                    </a:cubicBezTo>
                    <a:cubicBezTo>
                      <a:pt x="1074" y="116"/>
                      <a:pt x="1066" y="107"/>
                      <a:pt x="1069" y="104"/>
                    </a:cubicBezTo>
                    <a:cubicBezTo>
                      <a:pt x="1073" y="101"/>
                      <a:pt x="1082" y="108"/>
                      <a:pt x="1091" y="106"/>
                    </a:cubicBezTo>
                    <a:cubicBezTo>
                      <a:pt x="1101" y="104"/>
                      <a:pt x="1094" y="96"/>
                      <a:pt x="1101" y="96"/>
                    </a:cubicBezTo>
                    <a:cubicBezTo>
                      <a:pt x="1105" y="96"/>
                      <a:pt x="1116" y="89"/>
                      <a:pt x="1136" y="77"/>
                    </a:cubicBezTo>
                    <a:cubicBezTo>
                      <a:pt x="1157" y="66"/>
                      <a:pt x="1173" y="68"/>
                      <a:pt x="1174" y="61"/>
                    </a:cubicBezTo>
                    <a:cubicBezTo>
                      <a:pt x="1175" y="55"/>
                      <a:pt x="1145" y="61"/>
                      <a:pt x="1140" y="59"/>
                    </a:cubicBezTo>
                    <a:cubicBezTo>
                      <a:pt x="1135" y="57"/>
                      <a:pt x="1161" y="52"/>
                      <a:pt x="1167" y="53"/>
                    </a:cubicBezTo>
                    <a:cubicBezTo>
                      <a:pt x="1173" y="55"/>
                      <a:pt x="1181" y="53"/>
                      <a:pt x="1201" y="43"/>
                    </a:cubicBezTo>
                    <a:cubicBezTo>
                      <a:pt x="1222" y="33"/>
                      <a:pt x="1213" y="31"/>
                      <a:pt x="1204" y="32"/>
                    </a:cubicBezTo>
                    <a:cubicBezTo>
                      <a:pt x="1196" y="34"/>
                      <a:pt x="1186" y="31"/>
                      <a:pt x="1187" y="25"/>
                    </a:cubicBezTo>
                    <a:cubicBezTo>
                      <a:pt x="1187" y="20"/>
                      <a:pt x="1174" y="25"/>
                      <a:pt x="1174" y="22"/>
                    </a:cubicBezTo>
                    <a:cubicBezTo>
                      <a:pt x="1173" y="19"/>
                      <a:pt x="1161" y="20"/>
                      <a:pt x="1148" y="25"/>
                    </a:cubicBezTo>
                    <a:cubicBezTo>
                      <a:pt x="1135" y="30"/>
                      <a:pt x="1147" y="20"/>
                      <a:pt x="1153" y="18"/>
                    </a:cubicBezTo>
                    <a:cubicBezTo>
                      <a:pt x="1158" y="16"/>
                      <a:pt x="1120" y="18"/>
                      <a:pt x="1113" y="14"/>
                    </a:cubicBezTo>
                    <a:cubicBezTo>
                      <a:pt x="1107" y="9"/>
                      <a:pt x="1099" y="21"/>
                      <a:pt x="1093" y="15"/>
                    </a:cubicBezTo>
                    <a:cubicBezTo>
                      <a:pt x="1087" y="9"/>
                      <a:pt x="1072" y="14"/>
                      <a:pt x="1074" y="19"/>
                    </a:cubicBezTo>
                    <a:cubicBezTo>
                      <a:pt x="1076" y="23"/>
                      <a:pt x="1071" y="23"/>
                      <a:pt x="1065" y="18"/>
                    </a:cubicBezTo>
                    <a:cubicBezTo>
                      <a:pt x="1059" y="13"/>
                      <a:pt x="1048" y="19"/>
                      <a:pt x="1037" y="17"/>
                    </a:cubicBezTo>
                    <a:cubicBezTo>
                      <a:pt x="1027" y="16"/>
                      <a:pt x="1031" y="26"/>
                      <a:pt x="1020" y="21"/>
                    </a:cubicBezTo>
                    <a:cubicBezTo>
                      <a:pt x="1008" y="16"/>
                      <a:pt x="996" y="18"/>
                      <a:pt x="999" y="20"/>
                    </a:cubicBezTo>
                    <a:cubicBezTo>
                      <a:pt x="1003" y="21"/>
                      <a:pt x="998" y="24"/>
                      <a:pt x="993" y="23"/>
                    </a:cubicBezTo>
                    <a:cubicBezTo>
                      <a:pt x="988" y="21"/>
                      <a:pt x="984" y="23"/>
                      <a:pt x="986" y="28"/>
                    </a:cubicBezTo>
                    <a:cubicBezTo>
                      <a:pt x="989" y="33"/>
                      <a:pt x="968" y="27"/>
                      <a:pt x="968" y="32"/>
                    </a:cubicBezTo>
                    <a:cubicBezTo>
                      <a:pt x="968" y="38"/>
                      <a:pt x="960" y="41"/>
                      <a:pt x="954" y="36"/>
                    </a:cubicBezTo>
                    <a:cubicBezTo>
                      <a:pt x="948" y="31"/>
                      <a:pt x="929" y="29"/>
                      <a:pt x="935" y="34"/>
                    </a:cubicBezTo>
                    <a:cubicBezTo>
                      <a:pt x="940" y="38"/>
                      <a:pt x="918" y="36"/>
                      <a:pt x="924" y="40"/>
                    </a:cubicBezTo>
                    <a:cubicBezTo>
                      <a:pt x="930" y="45"/>
                      <a:pt x="916" y="48"/>
                      <a:pt x="916" y="46"/>
                    </a:cubicBezTo>
                    <a:cubicBezTo>
                      <a:pt x="916" y="43"/>
                      <a:pt x="904" y="39"/>
                      <a:pt x="899" y="43"/>
                    </a:cubicBezTo>
                    <a:cubicBezTo>
                      <a:pt x="894" y="48"/>
                      <a:pt x="892" y="53"/>
                      <a:pt x="890" y="50"/>
                    </a:cubicBezTo>
                    <a:cubicBezTo>
                      <a:pt x="887" y="47"/>
                      <a:pt x="876" y="48"/>
                      <a:pt x="866" y="52"/>
                    </a:cubicBezTo>
                    <a:cubicBezTo>
                      <a:pt x="855" y="56"/>
                      <a:pt x="867" y="59"/>
                      <a:pt x="874" y="55"/>
                    </a:cubicBezTo>
                    <a:close/>
                    <a:moveTo>
                      <a:pt x="1000" y="486"/>
                    </a:moveTo>
                    <a:cubicBezTo>
                      <a:pt x="1004" y="486"/>
                      <a:pt x="1011" y="473"/>
                      <a:pt x="1002" y="474"/>
                    </a:cubicBezTo>
                    <a:cubicBezTo>
                      <a:pt x="993" y="474"/>
                      <a:pt x="995" y="487"/>
                      <a:pt x="1000" y="486"/>
                    </a:cubicBezTo>
                    <a:close/>
                    <a:moveTo>
                      <a:pt x="956" y="475"/>
                    </a:moveTo>
                    <a:cubicBezTo>
                      <a:pt x="964" y="480"/>
                      <a:pt x="976" y="467"/>
                      <a:pt x="975" y="463"/>
                    </a:cubicBezTo>
                    <a:cubicBezTo>
                      <a:pt x="974" y="459"/>
                      <a:pt x="947" y="469"/>
                      <a:pt x="956" y="475"/>
                    </a:cubicBezTo>
                    <a:close/>
                    <a:moveTo>
                      <a:pt x="992" y="448"/>
                    </a:moveTo>
                    <a:cubicBezTo>
                      <a:pt x="993" y="443"/>
                      <a:pt x="976" y="441"/>
                      <a:pt x="977" y="435"/>
                    </a:cubicBezTo>
                    <a:cubicBezTo>
                      <a:pt x="978" y="430"/>
                      <a:pt x="960" y="425"/>
                      <a:pt x="955" y="422"/>
                    </a:cubicBezTo>
                    <a:cubicBezTo>
                      <a:pt x="949" y="419"/>
                      <a:pt x="941" y="418"/>
                      <a:pt x="941" y="412"/>
                    </a:cubicBezTo>
                    <a:cubicBezTo>
                      <a:pt x="941" y="406"/>
                      <a:pt x="929" y="410"/>
                      <a:pt x="928" y="419"/>
                    </a:cubicBezTo>
                    <a:cubicBezTo>
                      <a:pt x="928" y="428"/>
                      <a:pt x="923" y="426"/>
                      <a:pt x="925" y="435"/>
                    </a:cubicBezTo>
                    <a:cubicBezTo>
                      <a:pt x="928" y="443"/>
                      <a:pt x="914" y="445"/>
                      <a:pt x="916" y="450"/>
                    </a:cubicBezTo>
                    <a:cubicBezTo>
                      <a:pt x="917" y="454"/>
                      <a:pt x="924" y="449"/>
                      <a:pt x="930" y="449"/>
                    </a:cubicBezTo>
                    <a:cubicBezTo>
                      <a:pt x="936" y="449"/>
                      <a:pt x="928" y="458"/>
                      <a:pt x="936" y="458"/>
                    </a:cubicBezTo>
                    <a:cubicBezTo>
                      <a:pt x="942" y="459"/>
                      <a:pt x="952" y="452"/>
                      <a:pt x="955" y="448"/>
                    </a:cubicBezTo>
                    <a:cubicBezTo>
                      <a:pt x="957" y="444"/>
                      <a:pt x="962" y="442"/>
                      <a:pt x="969" y="447"/>
                    </a:cubicBezTo>
                    <a:cubicBezTo>
                      <a:pt x="976" y="452"/>
                      <a:pt x="991" y="453"/>
                      <a:pt x="992" y="448"/>
                    </a:cubicBezTo>
                    <a:close/>
                    <a:moveTo>
                      <a:pt x="1086" y="308"/>
                    </a:moveTo>
                    <a:cubicBezTo>
                      <a:pt x="1091" y="308"/>
                      <a:pt x="1097" y="304"/>
                      <a:pt x="1095" y="299"/>
                    </a:cubicBezTo>
                    <a:cubicBezTo>
                      <a:pt x="1094" y="295"/>
                      <a:pt x="1081" y="294"/>
                      <a:pt x="1078" y="300"/>
                    </a:cubicBezTo>
                    <a:cubicBezTo>
                      <a:pt x="1076" y="305"/>
                      <a:pt x="1065" y="294"/>
                      <a:pt x="1065" y="289"/>
                    </a:cubicBezTo>
                    <a:cubicBezTo>
                      <a:pt x="1065" y="285"/>
                      <a:pt x="1049" y="289"/>
                      <a:pt x="1051" y="281"/>
                    </a:cubicBezTo>
                    <a:cubicBezTo>
                      <a:pt x="1053" y="274"/>
                      <a:pt x="1033" y="272"/>
                      <a:pt x="1027" y="272"/>
                    </a:cubicBezTo>
                    <a:cubicBezTo>
                      <a:pt x="1022" y="272"/>
                      <a:pt x="1014" y="276"/>
                      <a:pt x="1015" y="281"/>
                    </a:cubicBezTo>
                    <a:cubicBezTo>
                      <a:pt x="1016" y="286"/>
                      <a:pt x="1009" y="284"/>
                      <a:pt x="1008" y="279"/>
                    </a:cubicBezTo>
                    <a:cubicBezTo>
                      <a:pt x="1007" y="273"/>
                      <a:pt x="993" y="285"/>
                      <a:pt x="989" y="285"/>
                    </a:cubicBezTo>
                    <a:cubicBezTo>
                      <a:pt x="985" y="285"/>
                      <a:pt x="992" y="270"/>
                      <a:pt x="990" y="266"/>
                    </a:cubicBezTo>
                    <a:cubicBezTo>
                      <a:pt x="988" y="261"/>
                      <a:pt x="985" y="260"/>
                      <a:pt x="982" y="252"/>
                    </a:cubicBezTo>
                    <a:cubicBezTo>
                      <a:pt x="979" y="245"/>
                      <a:pt x="964" y="248"/>
                      <a:pt x="960" y="252"/>
                    </a:cubicBezTo>
                    <a:cubicBezTo>
                      <a:pt x="956" y="257"/>
                      <a:pt x="943" y="255"/>
                      <a:pt x="936" y="262"/>
                    </a:cubicBezTo>
                    <a:cubicBezTo>
                      <a:pt x="929" y="269"/>
                      <a:pt x="936" y="276"/>
                      <a:pt x="939" y="278"/>
                    </a:cubicBezTo>
                    <a:cubicBezTo>
                      <a:pt x="942" y="281"/>
                      <a:pt x="929" y="285"/>
                      <a:pt x="933" y="289"/>
                    </a:cubicBezTo>
                    <a:cubicBezTo>
                      <a:pt x="938" y="293"/>
                      <a:pt x="945" y="291"/>
                      <a:pt x="945" y="297"/>
                    </a:cubicBezTo>
                    <a:cubicBezTo>
                      <a:pt x="946" y="304"/>
                      <a:pt x="929" y="295"/>
                      <a:pt x="926" y="290"/>
                    </a:cubicBezTo>
                    <a:cubicBezTo>
                      <a:pt x="924" y="284"/>
                      <a:pt x="927" y="279"/>
                      <a:pt x="924" y="275"/>
                    </a:cubicBezTo>
                    <a:cubicBezTo>
                      <a:pt x="920" y="271"/>
                      <a:pt x="923" y="266"/>
                      <a:pt x="930" y="259"/>
                    </a:cubicBezTo>
                    <a:cubicBezTo>
                      <a:pt x="936" y="252"/>
                      <a:pt x="941" y="253"/>
                      <a:pt x="941" y="249"/>
                    </a:cubicBezTo>
                    <a:cubicBezTo>
                      <a:pt x="941" y="245"/>
                      <a:pt x="913" y="245"/>
                      <a:pt x="897" y="260"/>
                    </a:cubicBezTo>
                    <a:cubicBezTo>
                      <a:pt x="880" y="275"/>
                      <a:pt x="885" y="295"/>
                      <a:pt x="886" y="299"/>
                    </a:cubicBezTo>
                    <a:cubicBezTo>
                      <a:pt x="887" y="303"/>
                      <a:pt x="902" y="301"/>
                      <a:pt x="910" y="304"/>
                    </a:cubicBezTo>
                    <a:cubicBezTo>
                      <a:pt x="919" y="306"/>
                      <a:pt x="914" y="310"/>
                      <a:pt x="908" y="309"/>
                    </a:cubicBezTo>
                    <a:cubicBezTo>
                      <a:pt x="901" y="308"/>
                      <a:pt x="890" y="306"/>
                      <a:pt x="891" y="310"/>
                    </a:cubicBezTo>
                    <a:cubicBezTo>
                      <a:pt x="891" y="315"/>
                      <a:pt x="905" y="323"/>
                      <a:pt x="913" y="321"/>
                    </a:cubicBezTo>
                    <a:cubicBezTo>
                      <a:pt x="921" y="319"/>
                      <a:pt x="921" y="319"/>
                      <a:pt x="924" y="324"/>
                    </a:cubicBezTo>
                    <a:cubicBezTo>
                      <a:pt x="928" y="328"/>
                      <a:pt x="937" y="327"/>
                      <a:pt x="947" y="327"/>
                    </a:cubicBezTo>
                    <a:cubicBezTo>
                      <a:pt x="956" y="328"/>
                      <a:pt x="967" y="331"/>
                      <a:pt x="972" y="332"/>
                    </a:cubicBezTo>
                    <a:cubicBezTo>
                      <a:pt x="976" y="332"/>
                      <a:pt x="982" y="329"/>
                      <a:pt x="983" y="327"/>
                    </a:cubicBezTo>
                    <a:cubicBezTo>
                      <a:pt x="985" y="324"/>
                      <a:pt x="1003" y="331"/>
                      <a:pt x="1009" y="330"/>
                    </a:cubicBezTo>
                    <a:cubicBezTo>
                      <a:pt x="1014" y="330"/>
                      <a:pt x="1011" y="325"/>
                      <a:pt x="1007" y="323"/>
                    </a:cubicBezTo>
                    <a:cubicBezTo>
                      <a:pt x="1004" y="322"/>
                      <a:pt x="1005" y="315"/>
                      <a:pt x="1010" y="318"/>
                    </a:cubicBezTo>
                    <a:cubicBezTo>
                      <a:pt x="1014" y="320"/>
                      <a:pt x="1022" y="322"/>
                      <a:pt x="1023" y="326"/>
                    </a:cubicBezTo>
                    <a:cubicBezTo>
                      <a:pt x="1025" y="330"/>
                      <a:pt x="1029" y="328"/>
                      <a:pt x="1029" y="332"/>
                    </a:cubicBezTo>
                    <a:cubicBezTo>
                      <a:pt x="1030" y="335"/>
                      <a:pt x="1046" y="339"/>
                      <a:pt x="1046" y="343"/>
                    </a:cubicBezTo>
                    <a:cubicBezTo>
                      <a:pt x="1047" y="347"/>
                      <a:pt x="1031" y="349"/>
                      <a:pt x="1035" y="353"/>
                    </a:cubicBezTo>
                    <a:cubicBezTo>
                      <a:pt x="1040" y="356"/>
                      <a:pt x="1047" y="348"/>
                      <a:pt x="1053" y="348"/>
                    </a:cubicBezTo>
                    <a:cubicBezTo>
                      <a:pt x="1059" y="347"/>
                      <a:pt x="1059" y="361"/>
                      <a:pt x="1063" y="359"/>
                    </a:cubicBezTo>
                    <a:cubicBezTo>
                      <a:pt x="1069" y="356"/>
                      <a:pt x="1074" y="361"/>
                      <a:pt x="1080" y="370"/>
                    </a:cubicBezTo>
                    <a:cubicBezTo>
                      <a:pt x="1086" y="378"/>
                      <a:pt x="1080" y="386"/>
                      <a:pt x="1080" y="389"/>
                    </a:cubicBezTo>
                    <a:cubicBezTo>
                      <a:pt x="1081" y="392"/>
                      <a:pt x="1092" y="391"/>
                      <a:pt x="1099" y="388"/>
                    </a:cubicBezTo>
                    <a:cubicBezTo>
                      <a:pt x="1105" y="384"/>
                      <a:pt x="1111" y="392"/>
                      <a:pt x="1116" y="396"/>
                    </a:cubicBezTo>
                    <a:cubicBezTo>
                      <a:pt x="1121" y="401"/>
                      <a:pt x="1098" y="408"/>
                      <a:pt x="1100" y="404"/>
                    </a:cubicBezTo>
                    <a:cubicBezTo>
                      <a:pt x="1102" y="400"/>
                      <a:pt x="1086" y="388"/>
                      <a:pt x="1071" y="394"/>
                    </a:cubicBezTo>
                    <a:cubicBezTo>
                      <a:pt x="1057" y="399"/>
                      <a:pt x="1067" y="408"/>
                      <a:pt x="1068" y="413"/>
                    </a:cubicBezTo>
                    <a:cubicBezTo>
                      <a:pt x="1070" y="418"/>
                      <a:pt x="1055" y="423"/>
                      <a:pt x="1042" y="418"/>
                    </a:cubicBezTo>
                    <a:cubicBezTo>
                      <a:pt x="1028" y="414"/>
                      <a:pt x="1032" y="421"/>
                      <a:pt x="1027" y="421"/>
                    </a:cubicBezTo>
                    <a:cubicBezTo>
                      <a:pt x="1021" y="421"/>
                      <a:pt x="1015" y="430"/>
                      <a:pt x="1020" y="435"/>
                    </a:cubicBezTo>
                    <a:cubicBezTo>
                      <a:pt x="1025" y="441"/>
                      <a:pt x="1036" y="436"/>
                      <a:pt x="1045" y="436"/>
                    </a:cubicBezTo>
                    <a:cubicBezTo>
                      <a:pt x="1054" y="437"/>
                      <a:pt x="1055" y="439"/>
                      <a:pt x="1056" y="434"/>
                    </a:cubicBezTo>
                    <a:cubicBezTo>
                      <a:pt x="1057" y="429"/>
                      <a:pt x="1067" y="432"/>
                      <a:pt x="1073" y="433"/>
                    </a:cubicBezTo>
                    <a:cubicBezTo>
                      <a:pt x="1080" y="435"/>
                      <a:pt x="1078" y="444"/>
                      <a:pt x="1086" y="445"/>
                    </a:cubicBezTo>
                    <a:cubicBezTo>
                      <a:pt x="1094" y="446"/>
                      <a:pt x="1088" y="454"/>
                      <a:pt x="1093" y="459"/>
                    </a:cubicBezTo>
                    <a:cubicBezTo>
                      <a:pt x="1098" y="465"/>
                      <a:pt x="1114" y="462"/>
                      <a:pt x="1120" y="468"/>
                    </a:cubicBezTo>
                    <a:cubicBezTo>
                      <a:pt x="1126" y="474"/>
                      <a:pt x="1151" y="486"/>
                      <a:pt x="1155" y="481"/>
                    </a:cubicBezTo>
                    <a:cubicBezTo>
                      <a:pt x="1159" y="476"/>
                      <a:pt x="1133" y="453"/>
                      <a:pt x="1125" y="451"/>
                    </a:cubicBezTo>
                    <a:cubicBezTo>
                      <a:pt x="1118" y="449"/>
                      <a:pt x="1133" y="447"/>
                      <a:pt x="1142" y="454"/>
                    </a:cubicBezTo>
                    <a:cubicBezTo>
                      <a:pt x="1152" y="462"/>
                      <a:pt x="1166" y="465"/>
                      <a:pt x="1173" y="456"/>
                    </a:cubicBezTo>
                    <a:cubicBezTo>
                      <a:pt x="1180" y="447"/>
                      <a:pt x="1167" y="450"/>
                      <a:pt x="1167" y="443"/>
                    </a:cubicBezTo>
                    <a:cubicBezTo>
                      <a:pt x="1167" y="437"/>
                      <a:pt x="1162" y="428"/>
                      <a:pt x="1155" y="428"/>
                    </a:cubicBezTo>
                    <a:cubicBezTo>
                      <a:pt x="1148" y="428"/>
                      <a:pt x="1130" y="414"/>
                      <a:pt x="1137" y="411"/>
                    </a:cubicBezTo>
                    <a:cubicBezTo>
                      <a:pt x="1143" y="408"/>
                      <a:pt x="1135" y="404"/>
                      <a:pt x="1140" y="398"/>
                    </a:cubicBezTo>
                    <a:cubicBezTo>
                      <a:pt x="1145" y="393"/>
                      <a:pt x="1150" y="403"/>
                      <a:pt x="1156" y="404"/>
                    </a:cubicBezTo>
                    <a:cubicBezTo>
                      <a:pt x="1162" y="404"/>
                      <a:pt x="1163" y="412"/>
                      <a:pt x="1172" y="420"/>
                    </a:cubicBezTo>
                    <a:cubicBezTo>
                      <a:pt x="1182" y="428"/>
                      <a:pt x="1183" y="422"/>
                      <a:pt x="1184" y="417"/>
                    </a:cubicBezTo>
                    <a:cubicBezTo>
                      <a:pt x="1186" y="411"/>
                      <a:pt x="1196" y="416"/>
                      <a:pt x="1196" y="410"/>
                    </a:cubicBezTo>
                    <a:cubicBezTo>
                      <a:pt x="1195" y="405"/>
                      <a:pt x="1204" y="398"/>
                      <a:pt x="1210" y="396"/>
                    </a:cubicBezTo>
                    <a:cubicBezTo>
                      <a:pt x="1216" y="393"/>
                      <a:pt x="1205" y="387"/>
                      <a:pt x="1197" y="388"/>
                    </a:cubicBezTo>
                    <a:cubicBezTo>
                      <a:pt x="1189" y="388"/>
                      <a:pt x="1188" y="383"/>
                      <a:pt x="1188" y="379"/>
                    </a:cubicBezTo>
                    <a:cubicBezTo>
                      <a:pt x="1188" y="376"/>
                      <a:pt x="1173" y="367"/>
                      <a:pt x="1168" y="369"/>
                    </a:cubicBezTo>
                    <a:cubicBezTo>
                      <a:pt x="1163" y="370"/>
                      <a:pt x="1154" y="362"/>
                      <a:pt x="1148" y="362"/>
                    </a:cubicBezTo>
                    <a:cubicBezTo>
                      <a:pt x="1141" y="361"/>
                      <a:pt x="1132" y="356"/>
                      <a:pt x="1133" y="349"/>
                    </a:cubicBezTo>
                    <a:cubicBezTo>
                      <a:pt x="1134" y="342"/>
                      <a:pt x="1146" y="351"/>
                      <a:pt x="1148" y="346"/>
                    </a:cubicBezTo>
                    <a:cubicBezTo>
                      <a:pt x="1151" y="340"/>
                      <a:pt x="1136" y="343"/>
                      <a:pt x="1135" y="339"/>
                    </a:cubicBezTo>
                    <a:cubicBezTo>
                      <a:pt x="1135" y="335"/>
                      <a:pt x="1139" y="337"/>
                      <a:pt x="1142" y="334"/>
                    </a:cubicBezTo>
                    <a:cubicBezTo>
                      <a:pt x="1145" y="332"/>
                      <a:pt x="1139" y="327"/>
                      <a:pt x="1136" y="325"/>
                    </a:cubicBezTo>
                    <a:cubicBezTo>
                      <a:pt x="1132" y="323"/>
                      <a:pt x="1131" y="329"/>
                      <a:pt x="1128" y="329"/>
                    </a:cubicBezTo>
                    <a:cubicBezTo>
                      <a:pt x="1124" y="329"/>
                      <a:pt x="1127" y="323"/>
                      <a:pt x="1130" y="320"/>
                    </a:cubicBezTo>
                    <a:cubicBezTo>
                      <a:pt x="1132" y="316"/>
                      <a:pt x="1118" y="312"/>
                      <a:pt x="1112" y="314"/>
                    </a:cubicBezTo>
                    <a:cubicBezTo>
                      <a:pt x="1106" y="316"/>
                      <a:pt x="1104" y="313"/>
                      <a:pt x="1104" y="309"/>
                    </a:cubicBezTo>
                    <a:cubicBezTo>
                      <a:pt x="1104" y="305"/>
                      <a:pt x="1094" y="309"/>
                      <a:pt x="1090" y="312"/>
                    </a:cubicBezTo>
                    <a:cubicBezTo>
                      <a:pt x="1086" y="315"/>
                      <a:pt x="1081" y="309"/>
                      <a:pt x="1086" y="308"/>
                    </a:cubicBezTo>
                    <a:close/>
                    <a:moveTo>
                      <a:pt x="1050" y="380"/>
                    </a:moveTo>
                    <a:cubicBezTo>
                      <a:pt x="1056" y="379"/>
                      <a:pt x="1055" y="370"/>
                      <a:pt x="1052" y="365"/>
                    </a:cubicBezTo>
                    <a:cubicBezTo>
                      <a:pt x="1049" y="361"/>
                      <a:pt x="1043" y="361"/>
                      <a:pt x="1037" y="361"/>
                    </a:cubicBezTo>
                    <a:cubicBezTo>
                      <a:pt x="1032" y="362"/>
                      <a:pt x="1022" y="370"/>
                      <a:pt x="1027" y="379"/>
                    </a:cubicBezTo>
                    <a:cubicBezTo>
                      <a:pt x="1032" y="387"/>
                      <a:pt x="1044" y="381"/>
                      <a:pt x="1050" y="380"/>
                    </a:cubicBezTo>
                    <a:close/>
                    <a:moveTo>
                      <a:pt x="988" y="250"/>
                    </a:moveTo>
                    <a:cubicBezTo>
                      <a:pt x="985" y="256"/>
                      <a:pt x="994" y="256"/>
                      <a:pt x="995" y="264"/>
                    </a:cubicBezTo>
                    <a:cubicBezTo>
                      <a:pt x="995" y="271"/>
                      <a:pt x="1005" y="274"/>
                      <a:pt x="1012" y="269"/>
                    </a:cubicBezTo>
                    <a:cubicBezTo>
                      <a:pt x="1019" y="265"/>
                      <a:pt x="1039" y="271"/>
                      <a:pt x="1039" y="265"/>
                    </a:cubicBezTo>
                    <a:cubicBezTo>
                      <a:pt x="1039" y="259"/>
                      <a:pt x="1018" y="249"/>
                      <a:pt x="1010" y="251"/>
                    </a:cubicBezTo>
                    <a:cubicBezTo>
                      <a:pt x="1003" y="252"/>
                      <a:pt x="991" y="243"/>
                      <a:pt x="988" y="250"/>
                    </a:cubicBezTo>
                    <a:close/>
                    <a:moveTo>
                      <a:pt x="1175" y="675"/>
                    </a:moveTo>
                    <a:cubicBezTo>
                      <a:pt x="1176" y="679"/>
                      <a:pt x="1205" y="691"/>
                      <a:pt x="1206" y="686"/>
                    </a:cubicBezTo>
                    <a:cubicBezTo>
                      <a:pt x="1207" y="680"/>
                      <a:pt x="1174" y="672"/>
                      <a:pt x="1175" y="675"/>
                    </a:cubicBezTo>
                    <a:close/>
                    <a:moveTo>
                      <a:pt x="1062" y="1062"/>
                    </a:moveTo>
                    <a:cubicBezTo>
                      <a:pt x="1064" y="1059"/>
                      <a:pt x="1048" y="1049"/>
                      <a:pt x="1041" y="1049"/>
                    </a:cubicBezTo>
                    <a:cubicBezTo>
                      <a:pt x="1033" y="1049"/>
                      <a:pt x="1009" y="1032"/>
                      <a:pt x="986" y="1027"/>
                    </a:cubicBezTo>
                    <a:cubicBezTo>
                      <a:pt x="964" y="1022"/>
                      <a:pt x="944" y="1039"/>
                      <a:pt x="946" y="1041"/>
                    </a:cubicBezTo>
                    <a:cubicBezTo>
                      <a:pt x="949" y="1045"/>
                      <a:pt x="960" y="1036"/>
                      <a:pt x="966" y="1032"/>
                    </a:cubicBezTo>
                    <a:cubicBezTo>
                      <a:pt x="971" y="1028"/>
                      <a:pt x="976" y="1034"/>
                      <a:pt x="977" y="1037"/>
                    </a:cubicBezTo>
                    <a:cubicBezTo>
                      <a:pt x="977" y="1039"/>
                      <a:pt x="984" y="1041"/>
                      <a:pt x="996" y="1041"/>
                    </a:cubicBezTo>
                    <a:cubicBezTo>
                      <a:pt x="1007" y="1042"/>
                      <a:pt x="1009" y="1051"/>
                      <a:pt x="1020" y="1054"/>
                    </a:cubicBezTo>
                    <a:cubicBezTo>
                      <a:pt x="1031" y="1056"/>
                      <a:pt x="1020" y="1061"/>
                      <a:pt x="1025" y="1063"/>
                    </a:cubicBezTo>
                    <a:cubicBezTo>
                      <a:pt x="1031" y="1065"/>
                      <a:pt x="1060" y="1064"/>
                      <a:pt x="1062" y="1062"/>
                    </a:cubicBezTo>
                    <a:close/>
                    <a:moveTo>
                      <a:pt x="1015" y="1084"/>
                    </a:moveTo>
                    <a:cubicBezTo>
                      <a:pt x="1017" y="1087"/>
                      <a:pt x="1036" y="1092"/>
                      <a:pt x="1038" y="1088"/>
                    </a:cubicBezTo>
                    <a:cubicBezTo>
                      <a:pt x="1040" y="1083"/>
                      <a:pt x="1013" y="1080"/>
                      <a:pt x="1015" y="1084"/>
                    </a:cubicBezTo>
                    <a:close/>
                    <a:moveTo>
                      <a:pt x="1144" y="1085"/>
                    </a:moveTo>
                    <a:cubicBezTo>
                      <a:pt x="1148" y="1092"/>
                      <a:pt x="1161" y="1088"/>
                      <a:pt x="1162" y="1085"/>
                    </a:cubicBezTo>
                    <a:cubicBezTo>
                      <a:pt x="1164" y="1080"/>
                      <a:pt x="1139" y="1078"/>
                      <a:pt x="1144" y="1085"/>
                    </a:cubicBezTo>
                    <a:close/>
                    <a:moveTo>
                      <a:pt x="1074" y="1086"/>
                    </a:moveTo>
                    <a:cubicBezTo>
                      <a:pt x="1082" y="1084"/>
                      <a:pt x="1087" y="1087"/>
                      <a:pt x="1091" y="1089"/>
                    </a:cubicBezTo>
                    <a:cubicBezTo>
                      <a:pt x="1095" y="1091"/>
                      <a:pt x="1096" y="1087"/>
                      <a:pt x="1105" y="1084"/>
                    </a:cubicBezTo>
                    <a:cubicBezTo>
                      <a:pt x="1114" y="1081"/>
                      <a:pt x="1128" y="1086"/>
                      <a:pt x="1128" y="1079"/>
                    </a:cubicBezTo>
                    <a:cubicBezTo>
                      <a:pt x="1128" y="1072"/>
                      <a:pt x="1104" y="1065"/>
                      <a:pt x="1098" y="1067"/>
                    </a:cubicBezTo>
                    <a:cubicBezTo>
                      <a:pt x="1092" y="1069"/>
                      <a:pt x="1079" y="1060"/>
                      <a:pt x="1074" y="1063"/>
                    </a:cubicBezTo>
                    <a:cubicBezTo>
                      <a:pt x="1069" y="1067"/>
                      <a:pt x="1082" y="1074"/>
                      <a:pt x="1082" y="1079"/>
                    </a:cubicBezTo>
                    <a:cubicBezTo>
                      <a:pt x="1082" y="1083"/>
                      <a:pt x="1062" y="1078"/>
                      <a:pt x="1060" y="1083"/>
                    </a:cubicBezTo>
                    <a:cubicBezTo>
                      <a:pt x="1059" y="1085"/>
                      <a:pt x="1067" y="1089"/>
                      <a:pt x="1074" y="1086"/>
                    </a:cubicBezTo>
                    <a:close/>
                    <a:moveTo>
                      <a:pt x="1230" y="1948"/>
                    </a:moveTo>
                    <a:cubicBezTo>
                      <a:pt x="1234" y="1950"/>
                      <a:pt x="1251" y="1944"/>
                      <a:pt x="1249" y="1940"/>
                    </a:cubicBezTo>
                    <a:cubicBezTo>
                      <a:pt x="1245" y="1932"/>
                      <a:pt x="1226" y="1946"/>
                      <a:pt x="1230" y="1948"/>
                    </a:cubicBezTo>
                    <a:close/>
                    <a:moveTo>
                      <a:pt x="1228" y="1934"/>
                    </a:moveTo>
                    <a:cubicBezTo>
                      <a:pt x="1223" y="1933"/>
                      <a:pt x="1210" y="1945"/>
                      <a:pt x="1215" y="1947"/>
                    </a:cubicBezTo>
                    <a:cubicBezTo>
                      <a:pt x="1221" y="1950"/>
                      <a:pt x="1234" y="1935"/>
                      <a:pt x="1228" y="1934"/>
                    </a:cubicBezTo>
                    <a:close/>
                    <a:moveTo>
                      <a:pt x="868" y="1293"/>
                    </a:moveTo>
                    <a:cubicBezTo>
                      <a:pt x="863" y="1301"/>
                      <a:pt x="873" y="1308"/>
                      <a:pt x="875" y="1305"/>
                    </a:cubicBezTo>
                    <a:cubicBezTo>
                      <a:pt x="878" y="1301"/>
                      <a:pt x="873" y="1286"/>
                      <a:pt x="868" y="1293"/>
                    </a:cubicBezTo>
                    <a:close/>
                    <a:moveTo>
                      <a:pt x="1657" y="326"/>
                    </a:moveTo>
                    <a:cubicBezTo>
                      <a:pt x="1653" y="328"/>
                      <a:pt x="1644" y="328"/>
                      <a:pt x="1637" y="327"/>
                    </a:cubicBezTo>
                    <a:cubicBezTo>
                      <a:pt x="1630" y="325"/>
                      <a:pt x="1620" y="319"/>
                      <a:pt x="1612" y="324"/>
                    </a:cubicBezTo>
                    <a:cubicBezTo>
                      <a:pt x="1604" y="328"/>
                      <a:pt x="1609" y="317"/>
                      <a:pt x="1615" y="316"/>
                    </a:cubicBezTo>
                    <a:cubicBezTo>
                      <a:pt x="1622" y="315"/>
                      <a:pt x="1619" y="312"/>
                      <a:pt x="1617" y="306"/>
                    </a:cubicBezTo>
                    <a:cubicBezTo>
                      <a:pt x="1616" y="299"/>
                      <a:pt x="1628" y="303"/>
                      <a:pt x="1633" y="311"/>
                    </a:cubicBezTo>
                    <a:cubicBezTo>
                      <a:pt x="1639" y="319"/>
                      <a:pt x="1649" y="322"/>
                      <a:pt x="1658" y="319"/>
                    </a:cubicBezTo>
                    <a:cubicBezTo>
                      <a:pt x="1667" y="317"/>
                      <a:pt x="1658" y="309"/>
                      <a:pt x="1662" y="304"/>
                    </a:cubicBezTo>
                    <a:cubicBezTo>
                      <a:pt x="1666" y="299"/>
                      <a:pt x="1634" y="284"/>
                      <a:pt x="1633" y="278"/>
                    </a:cubicBezTo>
                    <a:cubicBezTo>
                      <a:pt x="1631" y="273"/>
                      <a:pt x="1641" y="277"/>
                      <a:pt x="1649" y="280"/>
                    </a:cubicBezTo>
                    <a:cubicBezTo>
                      <a:pt x="1658" y="284"/>
                      <a:pt x="1660" y="273"/>
                      <a:pt x="1660" y="269"/>
                    </a:cubicBezTo>
                    <a:cubicBezTo>
                      <a:pt x="1660" y="264"/>
                      <a:pt x="1641" y="264"/>
                      <a:pt x="1633" y="268"/>
                    </a:cubicBezTo>
                    <a:cubicBezTo>
                      <a:pt x="1625" y="273"/>
                      <a:pt x="1617" y="262"/>
                      <a:pt x="1628" y="261"/>
                    </a:cubicBezTo>
                    <a:cubicBezTo>
                      <a:pt x="1639" y="260"/>
                      <a:pt x="1629" y="255"/>
                      <a:pt x="1632" y="252"/>
                    </a:cubicBezTo>
                    <a:cubicBezTo>
                      <a:pt x="1636" y="248"/>
                      <a:pt x="1650" y="261"/>
                      <a:pt x="1657" y="259"/>
                    </a:cubicBezTo>
                    <a:cubicBezTo>
                      <a:pt x="1665" y="257"/>
                      <a:pt x="1670" y="259"/>
                      <a:pt x="1676" y="254"/>
                    </a:cubicBezTo>
                    <a:cubicBezTo>
                      <a:pt x="1683" y="249"/>
                      <a:pt x="1665" y="245"/>
                      <a:pt x="1661" y="240"/>
                    </a:cubicBezTo>
                    <a:cubicBezTo>
                      <a:pt x="1658" y="236"/>
                      <a:pt x="1680" y="238"/>
                      <a:pt x="1686" y="238"/>
                    </a:cubicBezTo>
                    <a:cubicBezTo>
                      <a:pt x="1693" y="238"/>
                      <a:pt x="1695" y="228"/>
                      <a:pt x="1689" y="230"/>
                    </a:cubicBezTo>
                    <a:cubicBezTo>
                      <a:pt x="1684" y="232"/>
                      <a:pt x="1665" y="224"/>
                      <a:pt x="1669" y="218"/>
                    </a:cubicBezTo>
                    <a:cubicBezTo>
                      <a:pt x="1673" y="212"/>
                      <a:pt x="1680" y="219"/>
                      <a:pt x="1689" y="214"/>
                    </a:cubicBezTo>
                    <a:cubicBezTo>
                      <a:pt x="1697" y="210"/>
                      <a:pt x="1689" y="194"/>
                      <a:pt x="1683" y="194"/>
                    </a:cubicBezTo>
                    <a:cubicBezTo>
                      <a:pt x="1677" y="194"/>
                      <a:pt x="1663" y="192"/>
                      <a:pt x="1663" y="189"/>
                    </a:cubicBezTo>
                    <a:cubicBezTo>
                      <a:pt x="1663" y="186"/>
                      <a:pt x="1652" y="183"/>
                      <a:pt x="1655" y="180"/>
                    </a:cubicBezTo>
                    <a:cubicBezTo>
                      <a:pt x="1658" y="177"/>
                      <a:pt x="1663" y="184"/>
                      <a:pt x="1670" y="178"/>
                    </a:cubicBezTo>
                    <a:cubicBezTo>
                      <a:pt x="1678" y="172"/>
                      <a:pt x="1694" y="179"/>
                      <a:pt x="1701" y="178"/>
                    </a:cubicBezTo>
                    <a:cubicBezTo>
                      <a:pt x="1708" y="177"/>
                      <a:pt x="1698" y="164"/>
                      <a:pt x="1694" y="166"/>
                    </a:cubicBezTo>
                    <a:cubicBezTo>
                      <a:pt x="1690" y="168"/>
                      <a:pt x="1676" y="169"/>
                      <a:pt x="1675" y="162"/>
                    </a:cubicBezTo>
                    <a:cubicBezTo>
                      <a:pt x="1674" y="155"/>
                      <a:pt x="1688" y="162"/>
                      <a:pt x="1691" y="159"/>
                    </a:cubicBezTo>
                    <a:cubicBezTo>
                      <a:pt x="1693" y="155"/>
                      <a:pt x="1671" y="147"/>
                      <a:pt x="1668" y="154"/>
                    </a:cubicBezTo>
                    <a:cubicBezTo>
                      <a:pt x="1665" y="161"/>
                      <a:pt x="1653" y="158"/>
                      <a:pt x="1659" y="154"/>
                    </a:cubicBezTo>
                    <a:cubicBezTo>
                      <a:pt x="1665" y="150"/>
                      <a:pt x="1667" y="139"/>
                      <a:pt x="1666" y="133"/>
                    </a:cubicBezTo>
                    <a:cubicBezTo>
                      <a:pt x="1665" y="128"/>
                      <a:pt x="1689" y="127"/>
                      <a:pt x="1686" y="118"/>
                    </a:cubicBezTo>
                    <a:cubicBezTo>
                      <a:pt x="1683" y="109"/>
                      <a:pt x="1697" y="107"/>
                      <a:pt x="1705" y="107"/>
                    </a:cubicBezTo>
                    <a:cubicBezTo>
                      <a:pt x="1712" y="107"/>
                      <a:pt x="1704" y="97"/>
                      <a:pt x="1697" y="98"/>
                    </a:cubicBezTo>
                    <a:cubicBezTo>
                      <a:pt x="1690" y="99"/>
                      <a:pt x="1682" y="107"/>
                      <a:pt x="1678" y="104"/>
                    </a:cubicBezTo>
                    <a:cubicBezTo>
                      <a:pt x="1675" y="100"/>
                      <a:pt x="1687" y="94"/>
                      <a:pt x="1694" y="94"/>
                    </a:cubicBezTo>
                    <a:cubicBezTo>
                      <a:pt x="1700" y="94"/>
                      <a:pt x="1716" y="94"/>
                      <a:pt x="1722" y="90"/>
                    </a:cubicBezTo>
                    <a:cubicBezTo>
                      <a:pt x="1728" y="87"/>
                      <a:pt x="1712" y="84"/>
                      <a:pt x="1701" y="85"/>
                    </a:cubicBezTo>
                    <a:cubicBezTo>
                      <a:pt x="1691" y="87"/>
                      <a:pt x="1691" y="82"/>
                      <a:pt x="1707" y="82"/>
                    </a:cubicBezTo>
                    <a:cubicBezTo>
                      <a:pt x="1723" y="81"/>
                      <a:pt x="1720" y="78"/>
                      <a:pt x="1731" y="77"/>
                    </a:cubicBezTo>
                    <a:cubicBezTo>
                      <a:pt x="1743" y="75"/>
                      <a:pt x="1739" y="71"/>
                      <a:pt x="1746" y="70"/>
                    </a:cubicBezTo>
                    <a:cubicBezTo>
                      <a:pt x="1753" y="70"/>
                      <a:pt x="1771" y="62"/>
                      <a:pt x="1771" y="59"/>
                    </a:cubicBezTo>
                    <a:cubicBezTo>
                      <a:pt x="1771" y="55"/>
                      <a:pt x="1745" y="48"/>
                      <a:pt x="1733" y="48"/>
                    </a:cubicBezTo>
                    <a:cubicBezTo>
                      <a:pt x="1720" y="48"/>
                      <a:pt x="1710" y="50"/>
                      <a:pt x="1710" y="58"/>
                    </a:cubicBezTo>
                    <a:cubicBezTo>
                      <a:pt x="1709" y="67"/>
                      <a:pt x="1693" y="57"/>
                      <a:pt x="1687" y="60"/>
                    </a:cubicBezTo>
                    <a:cubicBezTo>
                      <a:pt x="1680" y="63"/>
                      <a:pt x="1683" y="53"/>
                      <a:pt x="1677" y="56"/>
                    </a:cubicBezTo>
                    <a:cubicBezTo>
                      <a:pt x="1670" y="59"/>
                      <a:pt x="1663" y="67"/>
                      <a:pt x="1655" y="71"/>
                    </a:cubicBezTo>
                    <a:cubicBezTo>
                      <a:pt x="1647" y="74"/>
                      <a:pt x="1641" y="82"/>
                      <a:pt x="1636" y="83"/>
                    </a:cubicBezTo>
                    <a:cubicBezTo>
                      <a:pt x="1631" y="84"/>
                      <a:pt x="1646" y="68"/>
                      <a:pt x="1654" y="60"/>
                    </a:cubicBezTo>
                    <a:cubicBezTo>
                      <a:pt x="1662" y="52"/>
                      <a:pt x="1658" y="42"/>
                      <a:pt x="1647" y="43"/>
                    </a:cubicBezTo>
                    <a:cubicBezTo>
                      <a:pt x="1637" y="44"/>
                      <a:pt x="1639" y="51"/>
                      <a:pt x="1633" y="52"/>
                    </a:cubicBezTo>
                    <a:cubicBezTo>
                      <a:pt x="1627" y="54"/>
                      <a:pt x="1598" y="68"/>
                      <a:pt x="1597" y="64"/>
                    </a:cubicBezTo>
                    <a:cubicBezTo>
                      <a:pt x="1596" y="59"/>
                      <a:pt x="1621" y="52"/>
                      <a:pt x="1620" y="49"/>
                    </a:cubicBezTo>
                    <a:cubicBezTo>
                      <a:pt x="1620" y="46"/>
                      <a:pt x="1589" y="46"/>
                      <a:pt x="1575" y="48"/>
                    </a:cubicBezTo>
                    <a:cubicBezTo>
                      <a:pt x="1561" y="50"/>
                      <a:pt x="1536" y="58"/>
                      <a:pt x="1536" y="54"/>
                    </a:cubicBezTo>
                    <a:cubicBezTo>
                      <a:pt x="1535" y="50"/>
                      <a:pt x="1564" y="44"/>
                      <a:pt x="1579" y="42"/>
                    </a:cubicBezTo>
                    <a:cubicBezTo>
                      <a:pt x="1594" y="41"/>
                      <a:pt x="1621" y="43"/>
                      <a:pt x="1632" y="39"/>
                    </a:cubicBezTo>
                    <a:cubicBezTo>
                      <a:pt x="1643" y="34"/>
                      <a:pt x="1660" y="34"/>
                      <a:pt x="1663" y="30"/>
                    </a:cubicBezTo>
                    <a:cubicBezTo>
                      <a:pt x="1666" y="26"/>
                      <a:pt x="1650" y="21"/>
                      <a:pt x="1642" y="22"/>
                    </a:cubicBezTo>
                    <a:cubicBezTo>
                      <a:pt x="1634" y="22"/>
                      <a:pt x="1626" y="21"/>
                      <a:pt x="1627" y="17"/>
                    </a:cubicBezTo>
                    <a:cubicBezTo>
                      <a:pt x="1628" y="13"/>
                      <a:pt x="1615" y="12"/>
                      <a:pt x="1613" y="9"/>
                    </a:cubicBezTo>
                    <a:cubicBezTo>
                      <a:pt x="1612" y="6"/>
                      <a:pt x="1587" y="8"/>
                      <a:pt x="1582" y="5"/>
                    </a:cubicBezTo>
                    <a:cubicBezTo>
                      <a:pt x="1576" y="2"/>
                      <a:pt x="1561" y="0"/>
                      <a:pt x="1547" y="1"/>
                    </a:cubicBezTo>
                    <a:cubicBezTo>
                      <a:pt x="1534" y="2"/>
                      <a:pt x="1507" y="2"/>
                      <a:pt x="1500" y="2"/>
                    </a:cubicBezTo>
                    <a:cubicBezTo>
                      <a:pt x="1494" y="3"/>
                      <a:pt x="1490" y="5"/>
                      <a:pt x="1484" y="5"/>
                    </a:cubicBezTo>
                    <a:cubicBezTo>
                      <a:pt x="1479" y="5"/>
                      <a:pt x="1470" y="7"/>
                      <a:pt x="1473" y="10"/>
                    </a:cubicBezTo>
                    <a:cubicBezTo>
                      <a:pt x="1479" y="17"/>
                      <a:pt x="1464" y="20"/>
                      <a:pt x="1465" y="15"/>
                    </a:cubicBezTo>
                    <a:cubicBezTo>
                      <a:pt x="1466" y="10"/>
                      <a:pt x="1452" y="7"/>
                      <a:pt x="1448" y="11"/>
                    </a:cubicBezTo>
                    <a:cubicBezTo>
                      <a:pt x="1443" y="15"/>
                      <a:pt x="1421" y="7"/>
                      <a:pt x="1417" y="11"/>
                    </a:cubicBezTo>
                    <a:cubicBezTo>
                      <a:pt x="1414" y="15"/>
                      <a:pt x="1388" y="14"/>
                      <a:pt x="1380" y="15"/>
                    </a:cubicBezTo>
                    <a:cubicBezTo>
                      <a:pt x="1372" y="17"/>
                      <a:pt x="1392" y="22"/>
                      <a:pt x="1391" y="26"/>
                    </a:cubicBezTo>
                    <a:cubicBezTo>
                      <a:pt x="1391" y="29"/>
                      <a:pt x="1366" y="26"/>
                      <a:pt x="1371" y="32"/>
                    </a:cubicBezTo>
                    <a:cubicBezTo>
                      <a:pt x="1376" y="38"/>
                      <a:pt x="1392" y="42"/>
                      <a:pt x="1400" y="50"/>
                    </a:cubicBezTo>
                    <a:cubicBezTo>
                      <a:pt x="1408" y="57"/>
                      <a:pt x="1394" y="53"/>
                      <a:pt x="1385" y="47"/>
                    </a:cubicBezTo>
                    <a:cubicBezTo>
                      <a:pt x="1377" y="41"/>
                      <a:pt x="1366" y="43"/>
                      <a:pt x="1360" y="38"/>
                    </a:cubicBezTo>
                    <a:cubicBezTo>
                      <a:pt x="1355" y="32"/>
                      <a:pt x="1335" y="28"/>
                      <a:pt x="1330" y="31"/>
                    </a:cubicBezTo>
                    <a:cubicBezTo>
                      <a:pt x="1324" y="35"/>
                      <a:pt x="1344" y="42"/>
                      <a:pt x="1344" y="47"/>
                    </a:cubicBezTo>
                    <a:cubicBezTo>
                      <a:pt x="1344" y="51"/>
                      <a:pt x="1330" y="46"/>
                      <a:pt x="1328" y="47"/>
                    </a:cubicBezTo>
                    <a:cubicBezTo>
                      <a:pt x="1326" y="49"/>
                      <a:pt x="1314" y="36"/>
                      <a:pt x="1307" y="36"/>
                    </a:cubicBezTo>
                    <a:cubicBezTo>
                      <a:pt x="1301" y="36"/>
                      <a:pt x="1306" y="42"/>
                      <a:pt x="1306" y="50"/>
                    </a:cubicBezTo>
                    <a:cubicBezTo>
                      <a:pt x="1306" y="59"/>
                      <a:pt x="1293" y="64"/>
                      <a:pt x="1297" y="58"/>
                    </a:cubicBezTo>
                    <a:cubicBezTo>
                      <a:pt x="1301" y="52"/>
                      <a:pt x="1298" y="38"/>
                      <a:pt x="1291" y="35"/>
                    </a:cubicBezTo>
                    <a:cubicBezTo>
                      <a:pt x="1284" y="32"/>
                      <a:pt x="1266" y="41"/>
                      <a:pt x="1257" y="40"/>
                    </a:cubicBezTo>
                    <a:cubicBezTo>
                      <a:pt x="1247" y="40"/>
                      <a:pt x="1235" y="43"/>
                      <a:pt x="1243" y="48"/>
                    </a:cubicBezTo>
                    <a:cubicBezTo>
                      <a:pt x="1251" y="52"/>
                      <a:pt x="1243" y="55"/>
                      <a:pt x="1236" y="50"/>
                    </a:cubicBezTo>
                    <a:cubicBezTo>
                      <a:pt x="1229" y="45"/>
                      <a:pt x="1206" y="50"/>
                      <a:pt x="1210" y="53"/>
                    </a:cubicBezTo>
                    <a:cubicBezTo>
                      <a:pt x="1215" y="57"/>
                      <a:pt x="1217" y="66"/>
                      <a:pt x="1214" y="70"/>
                    </a:cubicBezTo>
                    <a:cubicBezTo>
                      <a:pt x="1211" y="74"/>
                      <a:pt x="1201" y="66"/>
                      <a:pt x="1192" y="67"/>
                    </a:cubicBezTo>
                    <a:cubicBezTo>
                      <a:pt x="1183" y="68"/>
                      <a:pt x="1138" y="89"/>
                      <a:pt x="1141" y="95"/>
                    </a:cubicBezTo>
                    <a:cubicBezTo>
                      <a:pt x="1144" y="100"/>
                      <a:pt x="1163" y="96"/>
                      <a:pt x="1169" y="99"/>
                    </a:cubicBezTo>
                    <a:cubicBezTo>
                      <a:pt x="1175" y="102"/>
                      <a:pt x="1167" y="115"/>
                      <a:pt x="1159" y="120"/>
                    </a:cubicBezTo>
                    <a:cubicBezTo>
                      <a:pt x="1152" y="125"/>
                      <a:pt x="1125" y="120"/>
                      <a:pt x="1124" y="126"/>
                    </a:cubicBezTo>
                    <a:cubicBezTo>
                      <a:pt x="1123" y="132"/>
                      <a:pt x="1081" y="133"/>
                      <a:pt x="1081" y="143"/>
                    </a:cubicBezTo>
                    <a:cubicBezTo>
                      <a:pt x="1081" y="146"/>
                      <a:pt x="1083" y="150"/>
                      <a:pt x="1088" y="151"/>
                    </a:cubicBezTo>
                    <a:cubicBezTo>
                      <a:pt x="1094" y="152"/>
                      <a:pt x="1101" y="150"/>
                      <a:pt x="1106" y="156"/>
                    </a:cubicBezTo>
                    <a:cubicBezTo>
                      <a:pt x="1112" y="162"/>
                      <a:pt x="1127" y="163"/>
                      <a:pt x="1137" y="159"/>
                    </a:cubicBezTo>
                    <a:cubicBezTo>
                      <a:pt x="1147" y="155"/>
                      <a:pt x="1155" y="159"/>
                      <a:pt x="1155" y="165"/>
                    </a:cubicBezTo>
                    <a:cubicBezTo>
                      <a:pt x="1154" y="171"/>
                      <a:pt x="1131" y="163"/>
                      <a:pt x="1124" y="167"/>
                    </a:cubicBezTo>
                    <a:cubicBezTo>
                      <a:pt x="1117" y="172"/>
                      <a:pt x="1096" y="168"/>
                      <a:pt x="1097" y="173"/>
                    </a:cubicBezTo>
                    <a:cubicBezTo>
                      <a:pt x="1098" y="177"/>
                      <a:pt x="1108" y="176"/>
                      <a:pt x="1117" y="178"/>
                    </a:cubicBezTo>
                    <a:cubicBezTo>
                      <a:pt x="1126" y="180"/>
                      <a:pt x="1118" y="183"/>
                      <a:pt x="1117" y="187"/>
                    </a:cubicBezTo>
                    <a:cubicBezTo>
                      <a:pt x="1117" y="191"/>
                      <a:pt x="1122" y="190"/>
                      <a:pt x="1131" y="194"/>
                    </a:cubicBezTo>
                    <a:cubicBezTo>
                      <a:pt x="1139" y="199"/>
                      <a:pt x="1154" y="201"/>
                      <a:pt x="1149" y="196"/>
                    </a:cubicBezTo>
                    <a:cubicBezTo>
                      <a:pt x="1144" y="191"/>
                      <a:pt x="1158" y="192"/>
                      <a:pt x="1160" y="195"/>
                    </a:cubicBezTo>
                    <a:cubicBezTo>
                      <a:pt x="1163" y="198"/>
                      <a:pt x="1169" y="191"/>
                      <a:pt x="1175" y="192"/>
                    </a:cubicBezTo>
                    <a:cubicBezTo>
                      <a:pt x="1182" y="194"/>
                      <a:pt x="1184" y="186"/>
                      <a:pt x="1189" y="190"/>
                    </a:cubicBezTo>
                    <a:cubicBezTo>
                      <a:pt x="1194" y="193"/>
                      <a:pt x="1217" y="195"/>
                      <a:pt x="1225" y="199"/>
                    </a:cubicBezTo>
                    <a:cubicBezTo>
                      <a:pt x="1233" y="204"/>
                      <a:pt x="1244" y="205"/>
                      <a:pt x="1243" y="211"/>
                    </a:cubicBezTo>
                    <a:cubicBezTo>
                      <a:pt x="1242" y="217"/>
                      <a:pt x="1250" y="222"/>
                      <a:pt x="1259" y="226"/>
                    </a:cubicBezTo>
                    <a:cubicBezTo>
                      <a:pt x="1268" y="230"/>
                      <a:pt x="1270" y="239"/>
                      <a:pt x="1269" y="244"/>
                    </a:cubicBezTo>
                    <a:cubicBezTo>
                      <a:pt x="1269" y="250"/>
                      <a:pt x="1279" y="254"/>
                      <a:pt x="1277" y="257"/>
                    </a:cubicBezTo>
                    <a:cubicBezTo>
                      <a:pt x="1276" y="259"/>
                      <a:pt x="1277" y="263"/>
                      <a:pt x="1283" y="268"/>
                    </a:cubicBezTo>
                    <a:cubicBezTo>
                      <a:pt x="1289" y="274"/>
                      <a:pt x="1274" y="278"/>
                      <a:pt x="1277" y="282"/>
                    </a:cubicBezTo>
                    <a:cubicBezTo>
                      <a:pt x="1281" y="287"/>
                      <a:pt x="1272" y="296"/>
                      <a:pt x="1283" y="298"/>
                    </a:cubicBezTo>
                    <a:cubicBezTo>
                      <a:pt x="1293" y="299"/>
                      <a:pt x="1292" y="290"/>
                      <a:pt x="1300" y="290"/>
                    </a:cubicBezTo>
                    <a:cubicBezTo>
                      <a:pt x="1308" y="290"/>
                      <a:pt x="1299" y="297"/>
                      <a:pt x="1304" y="302"/>
                    </a:cubicBezTo>
                    <a:cubicBezTo>
                      <a:pt x="1308" y="306"/>
                      <a:pt x="1317" y="305"/>
                      <a:pt x="1325" y="312"/>
                    </a:cubicBezTo>
                    <a:cubicBezTo>
                      <a:pt x="1334" y="319"/>
                      <a:pt x="1328" y="322"/>
                      <a:pt x="1321" y="317"/>
                    </a:cubicBezTo>
                    <a:cubicBezTo>
                      <a:pt x="1313" y="311"/>
                      <a:pt x="1291" y="312"/>
                      <a:pt x="1291" y="314"/>
                    </a:cubicBezTo>
                    <a:cubicBezTo>
                      <a:pt x="1291" y="316"/>
                      <a:pt x="1315" y="330"/>
                      <a:pt x="1321" y="328"/>
                    </a:cubicBezTo>
                    <a:cubicBezTo>
                      <a:pt x="1327" y="326"/>
                      <a:pt x="1334" y="337"/>
                      <a:pt x="1331" y="340"/>
                    </a:cubicBezTo>
                    <a:cubicBezTo>
                      <a:pt x="1328" y="343"/>
                      <a:pt x="1329" y="352"/>
                      <a:pt x="1329" y="356"/>
                    </a:cubicBezTo>
                    <a:cubicBezTo>
                      <a:pt x="1328" y="360"/>
                      <a:pt x="1320" y="356"/>
                      <a:pt x="1314" y="356"/>
                    </a:cubicBezTo>
                    <a:cubicBezTo>
                      <a:pt x="1309" y="357"/>
                      <a:pt x="1305" y="359"/>
                      <a:pt x="1305" y="364"/>
                    </a:cubicBezTo>
                    <a:cubicBezTo>
                      <a:pt x="1305" y="370"/>
                      <a:pt x="1297" y="374"/>
                      <a:pt x="1296" y="381"/>
                    </a:cubicBezTo>
                    <a:cubicBezTo>
                      <a:pt x="1295" y="388"/>
                      <a:pt x="1303" y="388"/>
                      <a:pt x="1307" y="391"/>
                    </a:cubicBezTo>
                    <a:cubicBezTo>
                      <a:pt x="1311" y="394"/>
                      <a:pt x="1299" y="396"/>
                      <a:pt x="1298" y="401"/>
                    </a:cubicBezTo>
                    <a:cubicBezTo>
                      <a:pt x="1298" y="406"/>
                      <a:pt x="1310" y="415"/>
                      <a:pt x="1314" y="417"/>
                    </a:cubicBezTo>
                    <a:cubicBezTo>
                      <a:pt x="1318" y="419"/>
                      <a:pt x="1314" y="431"/>
                      <a:pt x="1316" y="436"/>
                    </a:cubicBezTo>
                    <a:cubicBezTo>
                      <a:pt x="1318" y="442"/>
                      <a:pt x="1323" y="435"/>
                      <a:pt x="1323" y="442"/>
                    </a:cubicBezTo>
                    <a:cubicBezTo>
                      <a:pt x="1322" y="450"/>
                      <a:pt x="1328" y="449"/>
                      <a:pt x="1328" y="454"/>
                    </a:cubicBezTo>
                    <a:cubicBezTo>
                      <a:pt x="1329" y="458"/>
                      <a:pt x="1339" y="457"/>
                      <a:pt x="1337" y="463"/>
                    </a:cubicBezTo>
                    <a:cubicBezTo>
                      <a:pt x="1335" y="469"/>
                      <a:pt x="1340" y="474"/>
                      <a:pt x="1342" y="477"/>
                    </a:cubicBezTo>
                    <a:cubicBezTo>
                      <a:pt x="1345" y="480"/>
                      <a:pt x="1353" y="486"/>
                      <a:pt x="1355" y="490"/>
                    </a:cubicBezTo>
                    <a:cubicBezTo>
                      <a:pt x="1357" y="495"/>
                      <a:pt x="1362" y="500"/>
                      <a:pt x="1368" y="499"/>
                    </a:cubicBezTo>
                    <a:cubicBezTo>
                      <a:pt x="1374" y="497"/>
                      <a:pt x="1374" y="503"/>
                      <a:pt x="1379" y="502"/>
                    </a:cubicBezTo>
                    <a:cubicBezTo>
                      <a:pt x="1383" y="501"/>
                      <a:pt x="1391" y="504"/>
                      <a:pt x="1392" y="508"/>
                    </a:cubicBezTo>
                    <a:cubicBezTo>
                      <a:pt x="1393" y="511"/>
                      <a:pt x="1408" y="515"/>
                      <a:pt x="1412" y="515"/>
                    </a:cubicBezTo>
                    <a:cubicBezTo>
                      <a:pt x="1416" y="516"/>
                      <a:pt x="1416" y="509"/>
                      <a:pt x="1420" y="507"/>
                    </a:cubicBezTo>
                    <a:cubicBezTo>
                      <a:pt x="1424" y="505"/>
                      <a:pt x="1422" y="490"/>
                      <a:pt x="1426" y="489"/>
                    </a:cubicBezTo>
                    <a:cubicBezTo>
                      <a:pt x="1429" y="488"/>
                      <a:pt x="1428" y="473"/>
                      <a:pt x="1425" y="471"/>
                    </a:cubicBezTo>
                    <a:cubicBezTo>
                      <a:pt x="1421" y="470"/>
                      <a:pt x="1423" y="465"/>
                      <a:pt x="1430" y="466"/>
                    </a:cubicBezTo>
                    <a:cubicBezTo>
                      <a:pt x="1438" y="467"/>
                      <a:pt x="1435" y="459"/>
                      <a:pt x="1439" y="458"/>
                    </a:cubicBezTo>
                    <a:cubicBezTo>
                      <a:pt x="1443" y="457"/>
                      <a:pt x="1441" y="450"/>
                      <a:pt x="1444" y="449"/>
                    </a:cubicBezTo>
                    <a:cubicBezTo>
                      <a:pt x="1446" y="449"/>
                      <a:pt x="1446" y="444"/>
                      <a:pt x="1444" y="441"/>
                    </a:cubicBezTo>
                    <a:cubicBezTo>
                      <a:pt x="1442" y="439"/>
                      <a:pt x="1444" y="437"/>
                      <a:pt x="1448" y="436"/>
                    </a:cubicBezTo>
                    <a:cubicBezTo>
                      <a:pt x="1452" y="435"/>
                      <a:pt x="1451" y="430"/>
                      <a:pt x="1446" y="428"/>
                    </a:cubicBezTo>
                    <a:cubicBezTo>
                      <a:pt x="1441" y="426"/>
                      <a:pt x="1442" y="420"/>
                      <a:pt x="1448" y="423"/>
                    </a:cubicBezTo>
                    <a:cubicBezTo>
                      <a:pt x="1453" y="427"/>
                      <a:pt x="1457" y="424"/>
                      <a:pt x="1454" y="420"/>
                    </a:cubicBezTo>
                    <a:cubicBezTo>
                      <a:pt x="1451" y="416"/>
                      <a:pt x="1458" y="414"/>
                      <a:pt x="1465" y="414"/>
                    </a:cubicBezTo>
                    <a:cubicBezTo>
                      <a:pt x="1472" y="413"/>
                      <a:pt x="1475" y="409"/>
                      <a:pt x="1474" y="404"/>
                    </a:cubicBezTo>
                    <a:cubicBezTo>
                      <a:pt x="1473" y="399"/>
                      <a:pt x="1482" y="399"/>
                      <a:pt x="1480" y="404"/>
                    </a:cubicBezTo>
                    <a:cubicBezTo>
                      <a:pt x="1477" y="408"/>
                      <a:pt x="1479" y="413"/>
                      <a:pt x="1482" y="410"/>
                    </a:cubicBezTo>
                    <a:cubicBezTo>
                      <a:pt x="1485" y="406"/>
                      <a:pt x="1492" y="409"/>
                      <a:pt x="1503" y="405"/>
                    </a:cubicBezTo>
                    <a:cubicBezTo>
                      <a:pt x="1514" y="402"/>
                      <a:pt x="1525" y="393"/>
                      <a:pt x="1528" y="384"/>
                    </a:cubicBezTo>
                    <a:cubicBezTo>
                      <a:pt x="1531" y="375"/>
                      <a:pt x="1544" y="376"/>
                      <a:pt x="1542" y="370"/>
                    </a:cubicBezTo>
                    <a:cubicBezTo>
                      <a:pt x="1540" y="364"/>
                      <a:pt x="1544" y="361"/>
                      <a:pt x="1553" y="365"/>
                    </a:cubicBezTo>
                    <a:cubicBezTo>
                      <a:pt x="1561" y="369"/>
                      <a:pt x="1554" y="363"/>
                      <a:pt x="1564" y="363"/>
                    </a:cubicBezTo>
                    <a:cubicBezTo>
                      <a:pt x="1573" y="363"/>
                      <a:pt x="1571" y="359"/>
                      <a:pt x="1580" y="359"/>
                    </a:cubicBezTo>
                    <a:cubicBezTo>
                      <a:pt x="1589" y="359"/>
                      <a:pt x="1613" y="355"/>
                      <a:pt x="1621" y="348"/>
                    </a:cubicBezTo>
                    <a:cubicBezTo>
                      <a:pt x="1629" y="341"/>
                      <a:pt x="1646" y="336"/>
                      <a:pt x="1653" y="331"/>
                    </a:cubicBezTo>
                    <a:cubicBezTo>
                      <a:pt x="1660" y="327"/>
                      <a:pt x="1661" y="323"/>
                      <a:pt x="1657" y="326"/>
                    </a:cubicBezTo>
                    <a:close/>
                    <a:moveTo>
                      <a:pt x="1317" y="338"/>
                    </a:moveTo>
                    <a:cubicBezTo>
                      <a:pt x="1318" y="333"/>
                      <a:pt x="1312" y="336"/>
                      <a:pt x="1308" y="330"/>
                    </a:cubicBezTo>
                    <a:cubicBezTo>
                      <a:pt x="1305" y="323"/>
                      <a:pt x="1288" y="321"/>
                      <a:pt x="1286" y="326"/>
                    </a:cubicBezTo>
                    <a:cubicBezTo>
                      <a:pt x="1286" y="328"/>
                      <a:pt x="1280" y="331"/>
                      <a:pt x="1285" y="335"/>
                    </a:cubicBezTo>
                    <a:cubicBezTo>
                      <a:pt x="1289" y="340"/>
                      <a:pt x="1292" y="338"/>
                      <a:pt x="1297" y="343"/>
                    </a:cubicBezTo>
                    <a:cubicBezTo>
                      <a:pt x="1302" y="347"/>
                      <a:pt x="1317" y="343"/>
                      <a:pt x="1317" y="338"/>
                    </a:cubicBezTo>
                    <a:close/>
                    <a:moveTo>
                      <a:pt x="1946" y="817"/>
                    </a:moveTo>
                    <a:cubicBezTo>
                      <a:pt x="1945" y="811"/>
                      <a:pt x="1933" y="819"/>
                      <a:pt x="1936" y="820"/>
                    </a:cubicBezTo>
                    <a:cubicBezTo>
                      <a:pt x="1941" y="824"/>
                      <a:pt x="1947" y="823"/>
                      <a:pt x="1946" y="817"/>
                    </a:cubicBezTo>
                    <a:close/>
                    <a:moveTo>
                      <a:pt x="2012" y="793"/>
                    </a:moveTo>
                    <a:cubicBezTo>
                      <a:pt x="2017" y="793"/>
                      <a:pt x="2017" y="772"/>
                      <a:pt x="2015" y="772"/>
                    </a:cubicBezTo>
                    <a:cubicBezTo>
                      <a:pt x="2013" y="772"/>
                      <a:pt x="2012" y="775"/>
                      <a:pt x="2008" y="778"/>
                    </a:cubicBezTo>
                    <a:cubicBezTo>
                      <a:pt x="2003" y="781"/>
                      <a:pt x="2008" y="794"/>
                      <a:pt x="2012" y="793"/>
                    </a:cubicBezTo>
                    <a:close/>
                    <a:moveTo>
                      <a:pt x="2000" y="802"/>
                    </a:moveTo>
                    <a:cubicBezTo>
                      <a:pt x="1998" y="805"/>
                      <a:pt x="2006" y="810"/>
                      <a:pt x="2004" y="816"/>
                    </a:cubicBezTo>
                    <a:cubicBezTo>
                      <a:pt x="2003" y="823"/>
                      <a:pt x="2005" y="831"/>
                      <a:pt x="2009" y="827"/>
                    </a:cubicBezTo>
                    <a:cubicBezTo>
                      <a:pt x="2013" y="823"/>
                      <a:pt x="2015" y="825"/>
                      <a:pt x="2017" y="822"/>
                    </a:cubicBezTo>
                    <a:cubicBezTo>
                      <a:pt x="2019" y="820"/>
                      <a:pt x="2017" y="809"/>
                      <a:pt x="2019" y="804"/>
                    </a:cubicBezTo>
                    <a:cubicBezTo>
                      <a:pt x="2020" y="799"/>
                      <a:pt x="2012" y="797"/>
                      <a:pt x="2008" y="800"/>
                    </a:cubicBezTo>
                    <a:cubicBezTo>
                      <a:pt x="2005" y="803"/>
                      <a:pt x="2002" y="799"/>
                      <a:pt x="2000" y="802"/>
                    </a:cubicBezTo>
                    <a:close/>
                    <a:moveTo>
                      <a:pt x="2073" y="838"/>
                    </a:moveTo>
                    <a:cubicBezTo>
                      <a:pt x="2066" y="839"/>
                      <a:pt x="2063" y="840"/>
                      <a:pt x="2059" y="838"/>
                    </a:cubicBezTo>
                    <a:cubicBezTo>
                      <a:pt x="2055" y="836"/>
                      <a:pt x="2049" y="840"/>
                      <a:pt x="2050" y="842"/>
                    </a:cubicBezTo>
                    <a:cubicBezTo>
                      <a:pt x="2050" y="844"/>
                      <a:pt x="2053" y="846"/>
                      <a:pt x="2061" y="849"/>
                    </a:cubicBezTo>
                    <a:cubicBezTo>
                      <a:pt x="2070" y="851"/>
                      <a:pt x="2071" y="856"/>
                      <a:pt x="2074" y="857"/>
                    </a:cubicBezTo>
                    <a:cubicBezTo>
                      <a:pt x="2078" y="857"/>
                      <a:pt x="2078" y="853"/>
                      <a:pt x="2077" y="849"/>
                    </a:cubicBezTo>
                    <a:cubicBezTo>
                      <a:pt x="2076" y="844"/>
                      <a:pt x="2081" y="839"/>
                      <a:pt x="2082" y="838"/>
                    </a:cubicBezTo>
                    <a:cubicBezTo>
                      <a:pt x="2082" y="838"/>
                      <a:pt x="2080" y="836"/>
                      <a:pt x="2073" y="838"/>
                    </a:cubicBezTo>
                    <a:close/>
                    <a:moveTo>
                      <a:pt x="2200" y="874"/>
                    </a:moveTo>
                    <a:cubicBezTo>
                      <a:pt x="2199" y="872"/>
                      <a:pt x="2195" y="875"/>
                      <a:pt x="2193" y="873"/>
                    </a:cubicBezTo>
                    <a:cubicBezTo>
                      <a:pt x="2190" y="872"/>
                      <a:pt x="2178" y="874"/>
                      <a:pt x="2175" y="871"/>
                    </a:cubicBezTo>
                    <a:cubicBezTo>
                      <a:pt x="2172" y="868"/>
                      <a:pt x="2165" y="873"/>
                      <a:pt x="2168" y="874"/>
                    </a:cubicBezTo>
                    <a:cubicBezTo>
                      <a:pt x="2172" y="875"/>
                      <a:pt x="2178" y="878"/>
                      <a:pt x="2184" y="878"/>
                    </a:cubicBezTo>
                    <a:cubicBezTo>
                      <a:pt x="2191" y="878"/>
                      <a:pt x="2200" y="875"/>
                      <a:pt x="2200" y="874"/>
                    </a:cubicBezTo>
                    <a:close/>
                    <a:moveTo>
                      <a:pt x="2284" y="878"/>
                    </a:moveTo>
                    <a:cubicBezTo>
                      <a:pt x="2284" y="876"/>
                      <a:pt x="2286" y="872"/>
                      <a:pt x="2290" y="871"/>
                    </a:cubicBezTo>
                    <a:cubicBezTo>
                      <a:pt x="2294" y="869"/>
                      <a:pt x="2292" y="866"/>
                      <a:pt x="2290" y="868"/>
                    </a:cubicBezTo>
                    <a:cubicBezTo>
                      <a:pt x="2287" y="871"/>
                      <a:pt x="2281" y="873"/>
                      <a:pt x="2274" y="873"/>
                    </a:cubicBezTo>
                    <a:cubicBezTo>
                      <a:pt x="2266" y="874"/>
                      <a:pt x="2264" y="879"/>
                      <a:pt x="2269" y="881"/>
                    </a:cubicBezTo>
                    <a:cubicBezTo>
                      <a:pt x="2275" y="885"/>
                      <a:pt x="2284" y="880"/>
                      <a:pt x="2284" y="878"/>
                    </a:cubicBezTo>
                    <a:close/>
                    <a:moveTo>
                      <a:pt x="1736" y="439"/>
                    </a:moveTo>
                    <a:cubicBezTo>
                      <a:pt x="1742" y="439"/>
                      <a:pt x="1742" y="431"/>
                      <a:pt x="1745" y="432"/>
                    </a:cubicBezTo>
                    <a:cubicBezTo>
                      <a:pt x="1747" y="432"/>
                      <a:pt x="1752" y="427"/>
                      <a:pt x="1753" y="423"/>
                    </a:cubicBezTo>
                    <a:cubicBezTo>
                      <a:pt x="1755" y="420"/>
                      <a:pt x="1751" y="414"/>
                      <a:pt x="1747" y="414"/>
                    </a:cubicBezTo>
                    <a:cubicBezTo>
                      <a:pt x="1743" y="414"/>
                      <a:pt x="1740" y="411"/>
                      <a:pt x="1741" y="409"/>
                    </a:cubicBezTo>
                    <a:cubicBezTo>
                      <a:pt x="1742" y="406"/>
                      <a:pt x="1739" y="403"/>
                      <a:pt x="1739" y="402"/>
                    </a:cubicBezTo>
                    <a:cubicBezTo>
                      <a:pt x="1739" y="400"/>
                      <a:pt x="1734" y="401"/>
                      <a:pt x="1732" y="402"/>
                    </a:cubicBezTo>
                    <a:cubicBezTo>
                      <a:pt x="1729" y="403"/>
                      <a:pt x="1723" y="396"/>
                      <a:pt x="1721" y="397"/>
                    </a:cubicBezTo>
                    <a:cubicBezTo>
                      <a:pt x="1718" y="398"/>
                      <a:pt x="1720" y="402"/>
                      <a:pt x="1719" y="404"/>
                    </a:cubicBezTo>
                    <a:cubicBezTo>
                      <a:pt x="1719" y="406"/>
                      <a:pt x="1713" y="402"/>
                      <a:pt x="1713" y="404"/>
                    </a:cubicBezTo>
                    <a:cubicBezTo>
                      <a:pt x="1713" y="407"/>
                      <a:pt x="1710" y="407"/>
                      <a:pt x="1708" y="404"/>
                    </a:cubicBezTo>
                    <a:cubicBezTo>
                      <a:pt x="1706" y="402"/>
                      <a:pt x="1702" y="403"/>
                      <a:pt x="1702" y="405"/>
                    </a:cubicBezTo>
                    <a:cubicBezTo>
                      <a:pt x="1702" y="407"/>
                      <a:pt x="1700" y="406"/>
                      <a:pt x="1696" y="403"/>
                    </a:cubicBezTo>
                    <a:cubicBezTo>
                      <a:pt x="1692" y="401"/>
                      <a:pt x="1688" y="406"/>
                      <a:pt x="1688" y="409"/>
                    </a:cubicBezTo>
                    <a:cubicBezTo>
                      <a:pt x="1689" y="411"/>
                      <a:pt x="1687" y="412"/>
                      <a:pt x="1684" y="406"/>
                    </a:cubicBezTo>
                    <a:cubicBezTo>
                      <a:pt x="1681" y="401"/>
                      <a:pt x="1677" y="407"/>
                      <a:pt x="1679" y="410"/>
                    </a:cubicBezTo>
                    <a:cubicBezTo>
                      <a:pt x="1680" y="413"/>
                      <a:pt x="1680" y="416"/>
                      <a:pt x="1677" y="415"/>
                    </a:cubicBezTo>
                    <a:cubicBezTo>
                      <a:pt x="1675" y="413"/>
                      <a:pt x="1671" y="416"/>
                      <a:pt x="1670" y="418"/>
                    </a:cubicBezTo>
                    <a:cubicBezTo>
                      <a:pt x="1668" y="421"/>
                      <a:pt x="1663" y="411"/>
                      <a:pt x="1667" y="409"/>
                    </a:cubicBezTo>
                    <a:cubicBezTo>
                      <a:pt x="1671" y="407"/>
                      <a:pt x="1655" y="398"/>
                      <a:pt x="1650" y="398"/>
                    </a:cubicBezTo>
                    <a:cubicBezTo>
                      <a:pt x="1645" y="398"/>
                      <a:pt x="1648" y="402"/>
                      <a:pt x="1651" y="404"/>
                    </a:cubicBezTo>
                    <a:cubicBezTo>
                      <a:pt x="1655" y="407"/>
                      <a:pt x="1649" y="406"/>
                      <a:pt x="1647" y="404"/>
                    </a:cubicBezTo>
                    <a:cubicBezTo>
                      <a:pt x="1645" y="402"/>
                      <a:pt x="1642" y="403"/>
                      <a:pt x="1640" y="407"/>
                    </a:cubicBezTo>
                    <a:cubicBezTo>
                      <a:pt x="1638" y="410"/>
                      <a:pt x="1635" y="412"/>
                      <a:pt x="1634" y="414"/>
                    </a:cubicBezTo>
                    <a:cubicBezTo>
                      <a:pt x="1634" y="417"/>
                      <a:pt x="1640" y="419"/>
                      <a:pt x="1645" y="417"/>
                    </a:cubicBezTo>
                    <a:cubicBezTo>
                      <a:pt x="1650" y="415"/>
                      <a:pt x="1656" y="414"/>
                      <a:pt x="1659" y="417"/>
                    </a:cubicBezTo>
                    <a:cubicBezTo>
                      <a:pt x="1661" y="419"/>
                      <a:pt x="1654" y="420"/>
                      <a:pt x="1657" y="422"/>
                    </a:cubicBezTo>
                    <a:cubicBezTo>
                      <a:pt x="1659" y="424"/>
                      <a:pt x="1657" y="426"/>
                      <a:pt x="1651" y="426"/>
                    </a:cubicBezTo>
                    <a:cubicBezTo>
                      <a:pt x="1644" y="425"/>
                      <a:pt x="1637" y="427"/>
                      <a:pt x="1638" y="429"/>
                    </a:cubicBezTo>
                    <a:cubicBezTo>
                      <a:pt x="1639" y="431"/>
                      <a:pt x="1654" y="427"/>
                      <a:pt x="1654" y="429"/>
                    </a:cubicBezTo>
                    <a:cubicBezTo>
                      <a:pt x="1654" y="432"/>
                      <a:pt x="1654" y="435"/>
                      <a:pt x="1658" y="434"/>
                    </a:cubicBezTo>
                    <a:cubicBezTo>
                      <a:pt x="1662" y="432"/>
                      <a:pt x="1660" y="437"/>
                      <a:pt x="1662" y="437"/>
                    </a:cubicBezTo>
                    <a:cubicBezTo>
                      <a:pt x="1664" y="438"/>
                      <a:pt x="1663" y="442"/>
                      <a:pt x="1658" y="443"/>
                    </a:cubicBezTo>
                    <a:cubicBezTo>
                      <a:pt x="1652" y="443"/>
                      <a:pt x="1650" y="444"/>
                      <a:pt x="1652" y="446"/>
                    </a:cubicBezTo>
                    <a:cubicBezTo>
                      <a:pt x="1655" y="449"/>
                      <a:pt x="1661" y="447"/>
                      <a:pt x="1666" y="446"/>
                    </a:cubicBezTo>
                    <a:cubicBezTo>
                      <a:pt x="1672" y="444"/>
                      <a:pt x="1680" y="451"/>
                      <a:pt x="1687" y="454"/>
                    </a:cubicBezTo>
                    <a:cubicBezTo>
                      <a:pt x="1694" y="457"/>
                      <a:pt x="1705" y="453"/>
                      <a:pt x="1706" y="449"/>
                    </a:cubicBezTo>
                    <a:cubicBezTo>
                      <a:pt x="1708" y="446"/>
                      <a:pt x="1717" y="447"/>
                      <a:pt x="1720" y="445"/>
                    </a:cubicBezTo>
                    <a:cubicBezTo>
                      <a:pt x="1724" y="442"/>
                      <a:pt x="1729" y="439"/>
                      <a:pt x="1736" y="439"/>
                    </a:cubicBezTo>
                    <a:close/>
                    <a:moveTo>
                      <a:pt x="1802" y="650"/>
                    </a:moveTo>
                    <a:cubicBezTo>
                      <a:pt x="1806" y="650"/>
                      <a:pt x="1816" y="647"/>
                      <a:pt x="1821" y="642"/>
                    </a:cubicBezTo>
                    <a:cubicBezTo>
                      <a:pt x="1827" y="636"/>
                      <a:pt x="1830" y="641"/>
                      <a:pt x="1835" y="639"/>
                    </a:cubicBezTo>
                    <a:cubicBezTo>
                      <a:pt x="1840" y="636"/>
                      <a:pt x="1837" y="617"/>
                      <a:pt x="1835" y="613"/>
                    </a:cubicBezTo>
                    <a:cubicBezTo>
                      <a:pt x="1833" y="609"/>
                      <a:pt x="1840" y="609"/>
                      <a:pt x="1844" y="605"/>
                    </a:cubicBezTo>
                    <a:cubicBezTo>
                      <a:pt x="1847" y="602"/>
                      <a:pt x="1842" y="597"/>
                      <a:pt x="1837" y="593"/>
                    </a:cubicBezTo>
                    <a:cubicBezTo>
                      <a:pt x="1833" y="588"/>
                      <a:pt x="1826" y="597"/>
                      <a:pt x="1822" y="595"/>
                    </a:cubicBezTo>
                    <a:cubicBezTo>
                      <a:pt x="1817" y="593"/>
                      <a:pt x="1811" y="593"/>
                      <a:pt x="1810" y="597"/>
                    </a:cubicBezTo>
                    <a:cubicBezTo>
                      <a:pt x="1810" y="601"/>
                      <a:pt x="1816" y="600"/>
                      <a:pt x="1816" y="602"/>
                    </a:cubicBezTo>
                    <a:cubicBezTo>
                      <a:pt x="1816" y="605"/>
                      <a:pt x="1810" y="604"/>
                      <a:pt x="1807" y="607"/>
                    </a:cubicBezTo>
                    <a:cubicBezTo>
                      <a:pt x="1803" y="610"/>
                      <a:pt x="1799" y="605"/>
                      <a:pt x="1795" y="607"/>
                    </a:cubicBezTo>
                    <a:cubicBezTo>
                      <a:pt x="1791" y="609"/>
                      <a:pt x="1799" y="612"/>
                      <a:pt x="1796" y="616"/>
                    </a:cubicBezTo>
                    <a:cubicBezTo>
                      <a:pt x="1793" y="620"/>
                      <a:pt x="1796" y="620"/>
                      <a:pt x="1801" y="624"/>
                    </a:cubicBezTo>
                    <a:cubicBezTo>
                      <a:pt x="1806" y="628"/>
                      <a:pt x="1798" y="629"/>
                      <a:pt x="1798" y="633"/>
                    </a:cubicBezTo>
                    <a:cubicBezTo>
                      <a:pt x="1798" y="638"/>
                      <a:pt x="1792" y="638"/>
                      <a:pt x="1791" y="641"/>
                    </a:cubicBezTo>
                    <a:cubicBezTo>
                      <a:pt x="1789" y="644"/>
                      <a:pt x="1796" y="650"/>
                      <a:pt x="1802" y="650"/>
                    </a:cubicBezTo>
                    <a:close/>
                    <a:moveTo>
                      <a:pt x="1833" y="555"/>
                    </a:moveTo>
                    <a:cubicBezTo>
                      <a:pt x="1830" y="558"/>
                      <a:pt x="1837" y="562"/>
                      <a:pt x="1841" y="562"/>
                    </a:cubicBezTo>
                    <a:cubicBezTo>
                      <a:pt x="1845" y="563"/>
                      <a:pt x="1838" y="566"/>
                      <a:pt x="1837" y="570"/>
                    </a:cubicBezTo>
                    <a:cubicBezTo>
                      <a:pt x="1836" y="575"/>
                      <a:pt x="1843" y="573"/>
                      <a:pt x="1843" y="576"/>
                    </a:cubicBezTo>
                    <a:cubicBezTo>
                      <a:pt x="1843" y="580"/>
                      <a:pt x="1834" y="580"/>
                      <a:pt x="1834" y="583"/>
                    </a:cubicBezTo>
                    <a:cubicBezTo>
                      <a:pt x="1834" y="587"/>
                      <a:pt x="1839" y="582"/>
                      <a:pt x="1842" y="581"/>
                    </a:cubicBezTo>
                    <a:cubicBezTo>
                      <a:pt x="1844" y="579"/>
                      <a:pt x="1840" y="588"/>
                      <a:pt x="1846" y="587"/>
                    </a:cubicBezTo>
                    <a:cubicBezTo>
                      <a:pt x="1852" y="586"/>
                      <a:pt x="1851" y="578"/>
                      <a:pt x="1853" y="579"/>
                    </a:cubicBezTo>
                    <a:cubicBezTo>
                      <a:pt x="1855" y="579"/>
                      <a:pt x="1852" y="583"/>
                      <a:pt x="1854" y="586"/>
                    </a:cubicBezTo>
                    <a:cubicBezTo>
                      <a:pt x="1855" y="590"/>
                      <a:pt x="1849" y="595"/>
                      <a:pt x="1850" y="598"/>
                    </a:cubicBezTo>
                    <a:cubicBezTo>
                      <a:pt x="1850" y="600"/>
                      <a:pt x="1862" y="600"/>
                      <a:pt x="1866" y="596"/>
                    </a:cubicBezTo>
                    <a:cubicBezTo>
                      <a:pt x="1870" y="592"/>
                      <a:pt x="1871" y="597"/>
                      <a:pt x="1869" y="600"/>
                    </a:cubicBezTo>
                    <a:cubicBezTo>
                      <a:pt x="1866" y="603"/>
                      <a:pt x="1867" y="605"/>
                      <a:pt x="1871" y="607"/>
                    </a:cubicBezTo>
                    <a:cubicBezTo>
                      <a:pt x="1874" y="608"/>
                      <a:pt x="1875" y="608"/>
                      <a:pt x="1874" y="611"/>
                    </a:cubicBezTo>
                    <a:cubicBezTo>
                      <a:pt x="1872" y="613"/>
                      <a:pt x="1873" y="618"/>
                      <a:pt x="1873" y="621"/>
                    </a:cubicBezTo>
                    <a:cubicBezTo>
                      <a:pt x="1872" y="623"/>
                      <a:pt x="1861" y="623"/>
                      <a:pt x="1861" y="621"/>
                    </a:cubicBezTo>
                    <a:cubicBezTo>
                      <a:pt x="1861" y="620"/>
                      <a:pt x="1856" y="621"/>
                      <a:pt x="1858" y="623"/>
                    </a:cubicBezTo>
                    <a:cubicBezTo>
                      <a:pt x="1859" y="626"/>
                      <a:pt x="1854" y="628"/>
                      <a:pt x="1854" y="630"/>
                    </a:cubicBezTo>
                    <a:cubicBezTo>
                      <a:pt x="1855" y="632"/>
                      <a:pt x="1861" y="632"/>
                      <a:pt x="1861" y="635"/>
                    </a:cubicBezTo>
                    <a:cubicBezTo>
                      <a:pt x="1861" y="637"/>
                      <a:pt x="1856" y="640"/>
                      <a:pt x="1850" y="642"/>
                    </a:cubicBezTo>
                    <a:cubicBezTo>
                      <a:pt x="1844" y="644"/>
                      <a:pt x="1851" y="649"/>
                      <a:pt x="1854" y="647"/>
                    </a:cubicBezTo>
                    <a:cubicBezTo>
                      <a:pt x="1857" y="645"/>
                      <a:pt x="1857" y="648"/>
                      <a:pt x="1861" y="648"/>
                    </a:cubicBezTo>
                    <a:cubicBezTo>
                      <a:pt x="1865" y="648"/>
                      <a:pt x="1868" y="652"/>
                      <a:pt x="1873" y="650"/>
                    </a:cubicBezTo>
                    <a:cubicBezTo>
                      <a:pt x="1878" y="648"/>
                      <a:pt x="1878" y="650"/>
                      <a:pt x="1874" y="653"/>
                    </a:cubicBezTo>
                    <a:cubicBezTo>
                      <a:pt x="1870" y="656"/>
                      <a:pt x="1865" y="653"/>
                      <a:pt x="1861" y="655"/>
                    </a:cubicBezTo>
                    <a:cubicBezTo>
                      <a:pt x="1858" y="656"/>
                      <a:pt x="1844" y="669"/>
                      <a:pt x="1847" y="672"/>
                    </a:cubicBezTo>
                    <a:cubicBezTo>
                      <a:pt x="1849" y="674"/>
                      <a:pt x="1851" y="670"/>
                      <a:pt x="1855" y="668"/>
                    </a:cubicBezTo>
                    <a:cubicBezTo>
                      <a:pt x="1860" y="666"/>
                      <a:pt x="1861" y="669"/>
                      <a:pt x="1864" y="669"/>
                    </a:cubicBezTo>
                    <a:cubicBezTo>
                      <a:pt x="1866" y="670"/>
                      <a:pt x="1867" y="664"/>
                      <a:pt x="1869" y="664"/>
                    </a:cubicBezTo>
                    <a:cubicBezTo>
                      <a:pt x="1871" y="665"/>
                      <a:pt x="1873" y="662"/>
                      <a:pt x="1877" y="663"/>
                    </a:cubicBezTo>
                    <a:cubicBezTo>
                      <a:pt x="1881" y="664"/>
                      <a:pt x="1884" y="662"/>
                      <a:pt x="1886" y="661"/>
                    </a:cubicBezTo>
                    <a:cubicBezTo>
                      <a:pt x="1888" y="659"/>
                      <a:pt x="1893" y="664"/>
                      <a:pt x="1895" y="663"/>
                    </a:cubicBezTo>
                    <a:cubicBezTo>
                      <a:pt x="1896" y="662"/>
                      <a:pt x="1904" y="660"/>
                      <a:pt x="1907" y="660"/>
                    </a:cubicBezTo>
                    <a:cubicBezTo>
                      <a:pt x="1911" y="661"/>
                      <a:pt x="1921" y="656"/>
                      <a:pt x="1923" y="654"/>
                    </a:cubicBezTo>
                    <a:cubicBezTo>
                      <a:pt x="1926" y="652"/>
                      <a:pt x="1922" y="651"/>
                      <a:pt x="1918" y="652"/>
                    </a:cubicBezTo>
                    <a:cubicBezTo>
                      <a:pt x="1915" y="652"/>
                      <a:pt x="1916" y="648"/>
                      <a:pt x="1919" y="645"/>
                    </a:cubicBezTo>
                    <a:cubicBezTo>
                      <a:pt x="1923" y="642"/>
                      <a:pt x="1928" y="639"/>
                      <a:pt x="1928" y="634"/>
                    </a:cubicBezTo>
                    <a:cubicBezTo>
                      <a:pt x="1929" y="629"/>
                      <a:pt x="1918" y="626"/>
                      <a:pt x="1917" y="628"/>
                    </a:cubicBezTo>
                    <a:cubicBezTo>
                      <a:pt x="1915" y="631"/>
                      <a:pt x="1913" y="631"/>
                      <a:pt x="1911" y="628"/>
                    </a:cubicBezTo>
                    <a:cubicBezTo>
                      <a:pt x="1909" y="625"/>
                      <a:pt x="1913" y="622"/>
                      <a:pt x="1911" y="621"/>
                    </a:cubicBezTo>
                    <a:cubicBezTo>
                      <a:pt x="1909" y="621"/>
                      <a:pt x="1907" y="617"/>
                      <a:pt x="1907" y="615"/>
                    </a:cubicBezTo>
                    <a:cubicBezTo>
                      <a:pt x="1908" y="614"/>
                      <a:pt x="1904" y="603"/>
                      <a:pt x="1899" y="602"/>
                    </a:cubicBezTo>
                    <a:cubicBezTo>
                      <a:pt x="1893" y="600"/>
                      <a:pt x="1892" y="592"/>
                      <a:pt x="1891" y="588"/>
                    </a:cubicBezTo>
                    <a:cubicBezTo>
                      <a:pt x="1890" y="584"/>
                      <a:pt x="1887" y="586"/>
                      <a:pt x="1884" y="582"/>
                    </a:cubicBezTo>
                    <a:cubicBezTo>
                      <a:pt x="1881" y="579"/>
                      <a:pt x="1876" y="580"/>
                      <a:pt x="1874" y="581"/>
                    </a:cubicBezTo>
                    <a:cubicBezTo>
                      <a:pt x="1871" y="581"/>
                      <a:pt x="1874" y="576"/>
                      <a:pt x="1878" y="573"/>
                    </a:cubicBezTo>
                    <a:cubicBezTo>
                      <a:pt x="1882" y="571"/>
                      <a:pt x="1886" y="556"/>
                      <a:pt x="1886" y="554"/>
                    </a:cubicBezTo>
                    <a:cubicBezTo>
                      <a:pt x="1886" y="551"/>
                      <a:pt x="1869" y="551"/>
                      <a:pt x="1865" y="553"/>
                    </a:cubicBezTo>
                    <a:cubicBezTo>
                      <a:pt x="1862" y="554"/>
                      <a:pt x="1859" y="550"/>
                      <a:pt x="1862" y="549"/>
                    </a:cubicBezTo>
                    <a:cubicBezTo>
                      <a:pt x="1864" y="548"/>
                      <a:pt x="1870" y="542"/>
                      <a:pt x="1870" y="540"/>
                    </a:cubicBezTo>
                    <a:cubicBezTo>
                      <a:pt x="1870" y="537"/>
                      <a:pt x="1874" y="535"/>
                      <a:pt x="1872" y="533"/>
                    </a:cubicBezTo>
                    <a:cubicBezTo>
                      <a:pt x="1869" y="531"/>
                      <a:pt x="1869" y="536"/>
                      <a:pt x="1867" y="537"/>
                    </a:cubicBezTo>
                    <a:cubicBezTo>
                      <a:pt x="1865" y="539"/>
                      <a:pt x="1860" y="539"/>
                      <a:pt x="1855" y="538"/>
                    </a:cubicBezTo>
                    <a:cubicBezTo>
                      <a:pt x="1849" y="537"/>
                      <a:pt x="1847" y="544"/>
                      <a:pt x="1848" y="547"/>
                    </a:cubicBezTo>
                    <a:cubicBezTo>
                      <a:pt x="1848" y="550"/>
                      <a:pt x="1842" y="552"/>
                      <a:pt x="1843" y="555"/>
                    </a:cubicBezTo>
                    <a:cubicBezTo>
                      <a:pt x="1844" y="557"/>
                      <a:pt x="1841" y="559"/>
                      <a:pt x="1840" y="558"/>
                    </a:cubicBezTo>
                    <a:cubicBezTo>
                      <a:pt x="1838" y="556"/>
                      <a:pt x="1836" y="553"/>
                      <a:pt x="1833" y="555"/>
                    </a:cubicBezTo>
                    <a:close/>
                    <a:moveTo>
                      <a:pt x="1828" y="550"/>
                    </a:moveTo>
                    <a:cubicBezTo>
                      <a:pt x="1833" y="550"/>
                      <a:pt x="1838" y="543"/>
                      <a:pt x="1836" y="540"/>
                    </a:cubicBezTo>
                    <a:cubicBezTo>
                      <a:pt x="1834" y="538"/>
                      <a:pt x="1825" y="551"/>
                      <a:pt x="1828" y="550"/>
                    </a:cubicBezTo>
                    <a:close/>
                    <a:moveTo>
                      <a:pt x="1893" y="514"/>
                    </a:moveTo>
                    <a:cubicBezTo>
                      <a:pt x="1896" y="511"/>
                      <a:pt x="1899" y="501"/>
                      <a:pt x="1895" y="502"/>
                    </a:cubicBezTo>
                    <a:cubicBezTo>
                      <a:pt x="1890" y="503"/>
                      <a:pt x="1891" y="515"/>
                      <a:pt x="1893" y="514"/>
                    </a:cubicBezTo>
                    <a:close/>
                    <a:moveTo>
                      <a:pt x="2037" y="597"/>
                    </a:moveTo>
                    <a:cubicBezTo>
                      <a:pt x="2034" y="596"/>
                      <a:pt x="2036" y="601"/>
                      <a:pt x="2040" y="602"/>
                    </a:cubicBezTo>
                    <a:cubicBezTo>
                      <a:pt x="2044" y="602"/>
                      <a:pt x="2049" y="594"/>
                      <a:pt x="2048" y="592"/>
                    </a:cubicBezTo>
                    <a:cubicBezTo>
                      <a:pt x="2048" y="590"/>
                      <a:pt x="2053" y="581"/>
                      <a:pt x="2051" y="580"/>
                    </a:cubicBezTo>
                    <a:cubicBezTo>
                      <a:pt x="2050" y="579"/>
                      <a:pt x="2049" y="582"/>
                      <a:pt x="2047" y="583"/>
                    </a:cubicBezTo>
                    <a:cubicBezTo>
                      <a:pt x="2046" y="583"/>
                      <a:pt x="2044" y="576"/>
                      <a:pt x="2043" y="580"/>
                    </a:cubicBezTo>
                    <a:cubicBezTo>
                      <a:pt x="2043" y="584"/>
                      <a:pt x="2039" y="579"/>
                      <a:pt x="2036" y="583"/>
                    </a:cubicBezTo>
                    <a:cubicBezTo>
                      <a:pt x="2033" y="588"/>
                      <a:pt x="2038" y="592"/>
                      <a:pt x="2040" y="594"/>
                    </a:cubicBezTo>
                    <a:cubicBezTo>
                      <a:pt x="2043" y="595"/>
                      <a:pt x="2040" y="597"/>
                      <a:pt x="2037" y="597"/>
                    </a:cubicBezTo>
                    <a:close/>
                    <a:moveTo>
                      <a:pt x="2118" y="549"/>
                    </a:moveTo>
                    <a:cubicBezTo>
                      <a:pt x="2112" y="550"/>
                      <a:pt x="2109" y="562"/>
                      <a:pt x="2110" y="564"/>
                    </a:cubicBezTo>
                    <a:cubicBezTo>
                      <a:pt x="2112" y="566"/>
                      <a:pt x="2124" y="549"/>
                      <a:pt x="2118" y="549"/>
                    </a:cubicBezTo>
                    <a:close/>
                    <a:moveTo>
                      <a:pt x="2153" y="546"/>
                    </a:moveTo>
                    <a:cubicBezTo>
                      <a:pt x="2156" y="546"/>
                      <a:pt x="2163" y="540"/>
                      <a:pt x="2165" y="538"/>
                    </a:cubicBezTo>
                    <a:cubicBezTo>
                      <a:pt x="2167" y="537"/>
                      <a:pt x="2164" y="535"/>
                      <a:pt x="2158" y="536"/>
                    </a:cubicBezTo>
                    <a:cubicBezTo>
                      <a:pt x="2152" y="538"/>
                      <a:pt x="2151" y="546"/>
                      <a:pt x="2153" y="546"/>
                    </a:cubicBezTo>
                    <a:close/>
                    <a:moveTo>
                      <a:pt x="2163" y="531"/>
                    </a:moveTo>
                    <a:cubicBezTo>
                      <a:pt x="2164" y="529"/>
                      <a:pt x="2153" y="530"/>
                      <a:pt x="2156" y="532"/>
                    </a:cubicBezTo>
                    <a:cubicBezTo>
                      <a:pt x="2158" y="534"/>
                      <a:pt x="2162" y="534"/>
                      <a:pt x="2163" y="531"/>
                    </a:cubicBezTo>
                    <a:close/>
                    <a:moveTo>
                      <a:pt x="4023" y="418"/>
                    </a:moveTo>
                    <a:cubicBezTo>
                      <a:pt x="4026" y="421"/>
                      <a:pt x="4032" y="420"/>
                      <a:pt x="4035" y="420"/>
                    </a:cubicBezTo>
                    <a:cubicBezTo>
                      <a:pt x="4038" y="420"/>
                      <a:pt x="4035" y="418"/>
                      <a:pt x="4033" y="417"/>
                    </a:cubicBezTo>
                    <a:cubicBezTo>
                      <a:pt x="4030" y="417"/>
                      <a:pt x="4033" y="414"/>
                      <a:pt x="4035" y="416"/>
                    </a:cubicBezTo>
                    <a:cubicBezTo>
                      <a:pt x="4037" y="418"/>
                      <a:pt x="4041" y="419"/>
                      <a:pt x="4041" y="417"/>
                    </a:cubicBezTo>
                    <a:cubicBezTo>
                      <a:pt x="4042" y="415"/>
                      <a:pt x="4044" y="411"/>
                      <a:pt x="4047" y="411"/>
                    </a:cubicBezTo>
                    <a:cubicBezTo>
                      <a:pt x="4051" y="411"/>
                      <a:pt x="4052" y="409"/>
                      <a:pt x="4048" y="408"/>
                    </a:cubicBezTo>
                    <a:cubicBezTo>
                      <a:pt x="4045" y="407"/>
                      <a:pt x="4034" y="400"/>
                      <a:pt x="4032" y="396"/>
                    </a:cubicBezTo>
                    <a:cubicBezTo>
                      <a:pt x="4029" y="392"/>
                      <a:pt x="4016" y="390"/>
                      <a:pt x="4016" y="392"/>
                    </a:cubicBezTo>
                    <a:cubicBezTo>
                      <a:pt x="4016" y="394"/>
                      <a:pt x="4012" y="392"/>
                      <a:pt x="4011" y="390"/>
                    </a:cubicBezTo>
                    <a:cubicBezTo>
                      <a:pt x="4010" y="387"/>
                      <a:pt x="3997" y="387"/>
                      <a:pt x="3996" y="389"/>
                    </a:cubicBezTo>
                    <a:cubicBezTo>
                      <a:pt x="3996" y="392"/>
                      <a:pt x="4000" y="392"/>
                      <a:pt x="4002" y="395"/>
                    </a:cubicBezTo>
                    <a:cubicBezTo>
                      <a:pt x="4004" y="397"/>
                      <a:pt x="3999" y="399"/>
                      <a:pt x="4000" y="402"/>
                    </a:cubicBezTo>
                    <a:cubicBezTo>
                      <a:pt x="4001" y="405"/>
                      <a:pt x="3995" y="400"/>
                      <a:pt x="3993" y="399"/>
                    </a:cubicBezTo>
                    <a:cubicBezTo>
                      <a:pt x="3991" y="397"/>
                      <a:pt x="3992" y="390"/>
                      <a:pt x="3992" y="387"/>
                    </a:cubicBezTo>
                    <a:cubicBezTo>
                      <a:pt x="3993" y="384"/>
                      <a:pt x="3988" y="384"/>
                      <a:pt x="3988" y="381"/>
                    </a:cubicBezTo>
                    <a:cubicBezTo>
                      <a:pt x="3987" y="378"/>
                      <a:pt x="3972" y="371"/>
                      <a:pt x="3966" y="368"/>
                    </a:cubicBezTo>
                    <a:cubicBezTo>
                      <a:pt x="3960" y="366"/>
                      <a:pt x="3952" y="363"/>
                      <a:pt x="3949" y="360"/>
                    </a:cubicBezTo>
                    <a:cubicBezTo>
                      <a:pt x="3947" y="357"/>
                      <a:pt x="3936" y="356"/>
                      <a:pt x="3932" y="352"/>
                    </a:cubicBezTo>
                    <a:cubicBezTo>
                      <a:pt x="3927" y="347"/>
                      <a:pt x="3908" y="339"/>
                      <a:pt x="3900" y="339"/>
                    </a:cubicBezTo>
                    <a:cubicBezTo>
                      <a:pt x="3892" y="338"/>
                      <a:pt x="3894" y="334"/>
                      <a:pt x="3890" y="334"/>
                    </a:cubicBezTo>
                    <a:cubicBezTo>
                      <a:pt x="3886" y="335"/>
                      <a:pt x="3869" y="334"/>
                      <a:pt x="3863" y="333"/>
                    </a:cubicBezTo>
                    <a:cubicBezTo>
                      <a:pt x="3858" y="333"/>
                      <a:pt x="3857" y="337"/>
                      <a:pt x="3853" y="335"/>
                    </a:cubicBezTo>
                    <a:cubicBezTo>
                      <a:pt x="3849" y="334"/>
                      <a:pt x="3829" y="326"/>
                      <a:pt x="3827" y="329"/>
                    </a:cubicBezTo>
                    <a:cubicBezTo>
                      <a:pt x="3825" y="332"/>
                      <a:pt x="3826" y="336"/>
                      <a:pt x="3823" y="336"/>
                    </a:cubicBezTo>
                    <a:cubicBezTo>
                      <a:pt x="3821" y="337"/>
                      <a:pt x="3823" y="340"/>
                      <a:pt x="3829" y="345"/>
                    </a:cubicBezTo>
                    <a:cubicBezTo>
                      <a:pt x="3834" y="350"/>
                      <a:pt x="3831" y="354"/>
                      <a:pt x="3826" y="356"/>
                    </a:cubicBezTo>
                    <a:cubicBezTo>
                      <a:pt x="3821" y="358"/>
                      <a:pt x="3813" y="354"/>
                      <a:pt x="3810" y="350"/>
                    </a:cubicBezTo>
                    <a:cubicBezTo>
                      <a:pt x="3808" y="347"/>
                      <a:pt x="3801" y="348"/>
                      <a:pt x="3799" y="343"/>
                    </a:cubicBezTo>
                    <a:cubicBezTo>
                      <a:pt x="3798" y="338"/>
                      <a:pt x="3801" y="337"/>
                      <a:pt x="3805" y="340"/>
                    </a:cubicBezTo>
                    <a:cubicBezTo>
                      <a:pt x="3808" y="343"/>
                      <a:pt x="3813" y="341"/>
                      <a:pt x="3813" y="337"/>
                    </a:cubicBezTo>
                    <a:cubicBezTo>
                      <a:pt x="3814" y="333"/>
                      <a:pt x="3804" y="331"/>
                      <a:pt x="3799" y="331"/>
                    </a:cubicBezTo>
                    <a:cubicBezTo>
                      <a:pt x="3794" y="332"/>
                      <a:pt x="3791" y="339"/>
                      <a:pt x="3786" y="342"/>
                    </a:cubicBezTo>
                    <a:cubicBezTo>
                      <a:pt x="3780" y="345"/>
                      <a:pt x="3760" y="341"/>
                      <a:pt x="3757" y="339"/>
                    </a:cubicBezTo>
                    <a:cubicBezTo>
                      <a:pt x="3755" y="337"/>
                      <a:pt x="3726" y="339"/>
                      <a:pt x="3723" y="341"/>
                    </a:cubicBezTo>
                    <a:cubicBezTo>
                      <a:pt x="3720" y="343"/>
                      <a:pt x="3723" y="350"/>
                      <a:pt x="3721" y="351"/>
                    </a:cubicBezTo>
                    <a:cubicBezTo>
                      <a:pt x="3720" y="352"/>
                      <a:pt x="3718" y="342"/>
                      <a:pt x="3718" y="340"/>
                    </a:cubicBezTo>
                    <a:cubicBezTo>
                      <a:pt x="3718" y="338"/>
                      <a:pt x="3715" y="337"/>
                      <a:pt x="3709" y="337"/>
                    </a:cubicBezTo>
                    <a:cubicBezTo>
                      <a:pt x="3704" y="337"/>
                      <a:pt x="3701" y="337"/>
                      <a:pt x="3703" y="335"/>
                    </a:cubicBezTo>
                    <a:cubicBezTo>
                      <a:pt x="3706" y="333"/>
                      <a:pt x="3701" y="330"/>
                      <a:pt x="3705" y="328"/>
                    </a:cubicBezTo>
                    <a:cubicBezTo>
                      <a:pt x="3709" y="325"/>
                      <a:pt x="3698" y="316"/>
                      <a:pt x="3687" y="312"/>
                    </a:cubicBezTo>
                    <a:cubicBezTo>
                      <a:pt x="3676" y="307"/>
                      <a:pt x="3651" y="310"/>
                      <a:pt x="3644" y="312"/>
                    </a:cubicBezTo>
                    <a:cubicBezTo>
                      <a:pt x="3638" y="314"/>
                      <a:pt x="3624" y="313"/>
                      <a:pt x="3618" y="313"/>
                    </a:cubicBezTo>
                    <a:cubicBezTo>
                      <a:pt x="3612" y="313"/>
                      <a:pt x="3617" y="311"/>
                      <a:pt x="3615" y="308"/>
                    </a:cubicBezTo>
                    <a:cubicBezTo>
                      <a:pt x="3613" y="305"/>
                      <a:pt x="3602" y="301"/>
                      <a:pt x="3601" y="304"/>
                    </a:cubicBezTo>
                    <a:cubicBezTo>
                      <a:pt x="3599" y="306"/>
                      <a:pt x="3597" y="304"/>
                      <a:pt x="3597" y="302"/>
                    </a:cubicBezTo>
                    <a:cubicBezTo>
                      <a:pt x="3597" y="300"/>
                      <a:pt x="3586" y="296"/>
                      <a:pt x="3582" y="297"/>
                    </a:cubicBezTo>
                    <a:cubicBezTo>
                      <a:pt x="3578" y="298"/>
                      <a:pt x="3577" y="293"/>
                      <a:pt x="3581" y="293"/>
                    </a:cubicBezTo>
                    <a:cubicBezTo>
                      <a:pt x="3586" y="293"/>
                      <a:pt x="3594" y="294"/>
                      <a:pt x="3590" y="289"/>
                    </a:cubicBezTo>
                    <a:cubicBezTo>
                      <a:pt x="3587" y="284"/>
                      <a:pt x="3557" y="282"/>
                      <a:pt x="3554" y="283"/>
                    </a:cubicBezTo>
                    <a:cubicBezTo>
                      <a:pt x="3551" y="284"/>
                      <a:pt x="3554" y="288"/>
                      <a:pt x="3547" y="294"/>
                    </a:cubicBezTo>
                    <a:cubicBezTo>
                      <a:pt x="3541" y="300"/>
                      <a:pt x="3535" y="296"/>
                      <a:pt x="3535" y="293"/>
                    </a:cubicBezTo>
                    <a:cubicBezTo>
                      <a:pt x="3536" y="290"/>
                      <a:pt x="3544" y="291"/>
                      <a:pt x="3544" y="288"/>
                    </a:cubicBezTo>
                    <a:cubicBezTo>
                      <a:pt x="3544" y="285"/>
                      <a:pt x="3533" y="286"/>
                      <a:pt x="3532" y="284"/>
                    </a:cubicBezTo>
                    <a:cubicBezTo>
                      <a:pt x="3530" y="281"/>
                      <a:pt x="3534" y="280"/>
                      <a:pt x="3538" y="281"/>
                    </a:cubicBezTo>
                    <a:cubicBezTo>
                      <a:pt x="3542" y="282"/>
                      <a:pt x="3549" y="283"/>
                      <a:pt x="3549" y="281"/>
                    </a:cubicBezTo>
                    <a:cubicBezTo>
                      <a:pt x="3550" y="279"/>
                      <a:pt x="3545" y="279"/>
                      <a:pt x="3538" y="277"/>
                    </a:cubicBezTo>
                    <a:cubicBezTo>
                      <a:pt x="3532" y="276"/>
                      <a:pt x="3516" y="272"/>
                      <a:pt x="3507" y="273"/>
                    </a:cubicBezTo>
                    <a:cubicBezTo>
                      <a:pt x="3499" y="274"/>
                      <a:pt x="3495" y="270"/>
                      <a:pt x="3490" y="270"/>
                    </a:cubicBezTo>
                    <a:cubicBezTo>
                      <a:pt x="3485" y="269"/>
                      <a:pt x="3485" y="272"/>
                      <a:pt x="3488" y="275"/>
                    </a:cubicBezTo>
                    <a:cubicBezTo>
                      <a:pt x="3490" y="278"/>
                      <a:pt x="3483" y="279"/>
                      <a:pt x="3478" y="278"/>
                    </a:cubicBezTo>
                    <a:cubicBezTo>
                      <a:pt x="3472" y="278"/>
                      <a:pt x="3464" y="281"/>
                      <a:pt x="3467" y="285"/>
                    </a:cubicBezTo>
                    <a:cubicBezTo>
                      <a:pt x="3470" y="289"/>
                      <a:pt x="3474" y="284"/>
                      <a:pt x="3476" y="286"/>
                    </a:cubicBezTo>
                    <a:cubicBezTo>
                      <a:pt x="3479" y="287"/>
                      <a:pt x="3469" y="290"/>
                      <a:pt x="3473" y="292"/>
                    </a:cubicBezTo>
                    <a:cubicBezTo>
                      <a:pt x="3477" y="293"/>
                      <a:pt x="3477" y="297"/>
                      <a:pt x="3477" y="299"/>
                    </a:cubicBezTo>
                    <a:cubicBezTo>
                      <a:pt x="3477" y="301"/>
                      <a:pt x="3470" y="302"/>
                      <a:pt x="3468" y="299"/>
                    </a:cubicBezTo>
                    <a:cubicBezTo>
                      <a:pt x="3465" y="296"/>
                      <a:pt x="3462" y="299"/>
                      <a:pt x="3457" y="299"/>
                    </a:cubicBezTo>
                    <a:cubicBezTo>
                      <a:pt x="3452" y="298"/>
                      <a:pt x="3449" y="300"/>
                      <a:pt x="3454" y="301"/>
                    </a:cubicBezTo>
                    <a:cubicBezTo>
                      <a:pt x="3459" y="302"/>
                      <a:pt x="3460" y="305"/>
                      <a:pt x="3454" y="306"/>
                    </a:cubicBezTo>
                    <a:cubicBezTo>
                      <a:pt x="3447" y="306"/>
                      <a:pt x="3449" y="299"/>
                      <a:pt x="3445" y="300"/>
                    </a:cubicBezTo>
                    <a:cubicBezTo>
                      <a:pt x="3441" y="301"/>
                      <a:pt x="3432" y="297"/>
                      <a:pt x="3427" y="297"/>
                    </a:cubicBezTo>
                    <a:cubicBezTo>
                      <a:pt x="3423" y="297"/>
                      <a:pt x="3421" y="301"/>
                      <a:pt x="3414" y="302"/>
                    </a:cubicBezTo>
                    <a:cubicBezTo>
                      <a:pt x="3408" y="302"/>
                      <a:pt x="3400" y="298"/>
                      <a:pt x="3397" y="295"/>
                    </a:cubicBezTo>
                    <a:cubicBezTo>
                      <a:pt x="3395" y="292"/>
                      <a:pt x="3394" y="291"/>
                      <a:pt x="3391" y="295"/>
                    </a:cubicBezTo>
                    <a:cubicBezTo>
                      <a:pt x="3388" y="298"/>
                      <a:pt x="3388" y="306"/>
                      <a:pt x="3385" y="306"/>
                    </a:cubicBezTo>
                    <a:cubicBezTo>
                      <a:pt x="3382" y="307"/>
                      <a:pt x="3381" y="313"/>
                      <a:pt x="3378" y="315"/>
                    </a:cubicBezTo>
                    <a:cubicBezTo>
                      <a:pt x="3375" y="317"/>
                      <a:pt x="3375" y="312"/>
                      <a:pt x="3371" y="313"/>
                    </a:cubicBezTo>
                    <a:cubicBezTo>
                      <a:pt x="3367" y="313"/>
                      <a:pt x="3355" y="301"/>
                      <a:pt x="3354" y="298"/>
                    </a:cubicBezTo>
                    <a:cubicBezTo>
                      <a:pt x="3353" y="294"/>
                      <a:pt x="3346" y="287"/>
                      <a:pt x="3344" y="286"/>
                    </a:cubicBezTo>
                    <a:cubicBezTo>
                      <a:pt x="3342" y="285"/>
                      <a:pt x="3346" y="284"/>
                      <a:pt x="3348" y="286"/>
                    </a:cubicBezTo>
                    <a:cubicBezTo>
                      <a:pt x="3351" y="288"/>
                      <a:pt x="3354" y="288"/>
                      <a:pt x="3356" y="287"/>
                    </a:cubicBezTo>
                    <a:cubicBezTo>
                      <a:pt x="3359" y="286"/>
                      <a:pt x="3358" y="280"/>
                      <a:pt x="3354" y="279"/>
                    </a:cubicBezTo>
                    <a:cubicBezTo>
                      <a:pt x="3350" y="279"/>
                      <a:pt x="3351" y="276"/>
                      <a:pt x="3354" y="275"/>
                    </a:cubicBezTo>
                    <a:cubicBezTo>
                      <a:pt x="3356" y="274"/>
                      <a:pt x="3349" y="268"/>
                      <a:pt x="3351" y="267"/>
                    </a:cubicBezTo>
                    <a:cubicBezTo>
                      <a:pt x="3354" y="266"/>
                      <a:pt x="3353" y="264"/>
                      <a:pt x="3349" y="263"/>
                    </a:cubicBezTo>
                    <a:cubicBezTo>
                      <a:pt x="3345" y="263"/>
                      <a:pt x="3342" y="260"/>
                      <a:pt x="3341" y="258"/>
                    </a:cubicBezTo>
                    <a:cubicBezTo>
                      <a:pt x="3341" y="256"/>
                      <a:pt x="3326" y="255"/>
                      <a:pt x="3326" y="258"/>
                    </a:cubicBezTo>
                    <a:cubicBezTo>
                      <a:pt x="3327" y="261"/>
                      <a:pt x="3321" y="260"/>
                      <a:pt x="3322" y="258"/>
                    </a:cubicBezTo>
                    <a:cubicBezTo>
                      <a:pt x="3323" y="255"/>
                      <a:pt x="3317" y="256"/>
                      <a:pt x="3309" y="254"/>
                    </a:cubicBezTo>
                    <a:cubicBezTo>
                      <a:pt x="3302" y="252"/>
                      <a:pt x="3302" y="247"/>
                      <a:pt x="3299" y="247"/>
                    </a:cubicBezTo>
                    <a:cubicBezTo>
                      <a:pt x="3297" y="246"/>
                      <a:pt x="3298" y="254"/>
                      <a:pt x="3294" y="252"/>
                    </a:cubicBezTo>
                    <a:cubicBezTo>
                      <a:pt x="3290" y="250"/>
                      <a:pt x="3286" y="254"/>
                      <a:pt x="3288" y="258"/>
                    </a:cubicBezTo>
                    <a:cubicBezTo>
                      <a:pt x="3290" y="262"/>
                      <a:pt x="3289" y="263"/>
                      <a:pt x="3288" y="266"/>
                    </a:cubicBezTo>
                    <a:cubicBezTo>
                      <a:pt x="3288" y="270"/>
                      <a:pt x="3286" y="268"/>
                      <a:pt x="3282" y="267"/>
                    </a:cubicBezTo>
                    <a:cubicBezTo>
                      <a:pt x="3277" y="265"/>
                      <a:pt x="3277" y="271"/>
                      <a:pt x="3268" y="268"/>
                    </a:cubicBezTo>
                    <a:cubicBezTo>
                      <a:pt x="3259" y="266"/>
                      <a:pt x="3254" y="268"/>
                      <a:pt x="3253" y="265"/>
                    </a:cubicBezTo>
                    <a:cubicBezTo>
                      <a:pt x="3251" y="262"/>
                      <a:pt x="3248" y="262"/>
                      <a:pt x="3248" y="265"/>
                    </a:cubicBezTo>
                    <a:cubicBezTo>
                      <a:pt x="3248" y="267"/>
                      <a:pt x="3233" y="266"/>
                      <a:pt x="3232" y="262"/>
                    </a:cubicBezTo>
                    <a:cubicBezTo>
                      <a:pt x="3231" y="259"/>
                      <a:pt x="3235" y="258"/>
                      <a:pt x="3237" y="257"/>
                    </a:cubicBezTo>
                    <a:cubicBezTo>
                      <a:pt x="3239" y="256"/>
                      <a:pt x="3234" y="255"/>
                      <a:pt x="3227" y="255"/>
                    </a:cubicBezTo>
                    <a:cubicBezTo>
                      <a:pt x="3219" y="256"/>
                      <a:pt x="3214" y="251"/>
                      <a:pt x="3206" y="252"/>
                    </a:cubicBezTo>
                    <a:cubicBezTo>
                      <a:pt x="3198" y="253"/>
                      <a:pt x="3180" y="254"/>
                      <a:pt x="3177" y="256"/>
                    </a:cubicBezTo>
                    <a:cubicBezTo>
                      <a:pt x="3175" y="257"/>
                      <a:pt x="3180" y="261"/>
                      <a:pt x="3176" y="262"/>
                    </a:cubicBezTo>
                    <a:cubicBezTo>
                      <a:pt x="3172" y="262"/>
                      <a:pt x="3175" y="254"/>
                      <a:pt x="3174" y="251"/>
                    </a:cubicBezTo>
                    <a:cubicBezTo>
                      <a:pt x="3173" y="247"/>
                      <a:pt x="3168" y="246"/>
                      <a:pt x="3168" y="249"/>
                    </a:cubicBezTo>
                    <a:cubicBezTo>
                      <a:pt x="3169" y="252"/>
                      <a:pt x="3159" y="253"/>
                      <a:pt x="3157" y="251"/>
                    </a:cubicBezTo>
                    <a:cubicBezTo>
                      <a:pt x="3154" y="249"/>
                      <a:pt x="3150" y="246"/>
                      <a:pt x="3144" y="244"/>
                    </a:cubicBezTo>
                    <a:cubicBezTo>
                      <a:pt x="3137" y="243"/>
                      <a:pt x="3129" y="250"/>
                      <a:pt x="3131" y="252"/>
                    </a:cubicBezTo>
                    <a:cubicBezTo>
                      <a:pt x="3133" y="254"/>
                      <a:pt x="3138" y="252"/>
                      <a:pt x="3138" y="253"/>
                    </a:cubicBezTo>
                    <a:cubicBezTo>
                      <a:pt x="3138" y="256"/>
                      <a:pt x="3124" y="255"/>
                      <a:pt x="3124" y="257"/>
                    </a:cubicBezTo>
                    <a:cubicBezTo>
                      <a:pt x="3124" y="260"/>
                      <a:pt x="3111" y="263"/>
                      <a:pt x="3107" y="263"/>
                    </a:cubicBezTo>
                    <a:cubicBezTo>
                      <a:pt x="3096" y="265"/>
                      <a:pt x="3094" y="265"/>
                      <a:pt x="3088" y="269"/>
                    </a:cubicBezTo>
                    <a:cubicBezTo>
                      <a:pt x="3083" y="273"/>
                      <a:pt x="3087" y="265"/>
                      <a:pt x="3091" y="261"/>
                    </a:cubicBezTo>
                    <a:cubicBezTo>
                      <a:pt x="3095" y="257"/>
                      <a:pt x="3099" y="259"/>
                      <a:pt x="3102" y="256"/>
                    </a:cubicBezTo>
                    <a:cubicBezTo>
                      <a:pt x="3104" y="253"/>
                      <a:pt x="3108" y="253"/>
                      <a:pt x="3114" y="252"/>
                    </a:cubicBezTo>
                    <a:cubicBezTo>
                      <a:pt x="3120" y="251"/>
                      <a:pt x="3120" y="247"/>
                      <a:pt x="3123" y="246"/>
                    </a:cubicBezTo>
                    <a:cubicBezTo>
                      <a:pt x="3126" y="245"/>
                      <a:pt x="3133" y="242"/>
                      <a:pt x="3135" y="239"/>
                    </a:cubicBezTo>
                    <a:cubicBezTo>
                      <a:pt x="3136" y="236"/>
                      <a:pt x="3151" y="231"/>
                      <a:pt x="3154" y="231"/>
                    </a:cubicBezTo>
                    <a:cubicBezTo>
                      <a:pt x="3157" y="231"/>
                      <a:pt x="3158" y="225"/>
                      <a:pt x="3159" y="225"/>
                    </a:cubicBezTo>
                    <a:cubicBezTo>
                      <a:pt x="3161" y="225"/>
                      <a:pt x="3170" y="221"/>
                      <a:pt x="3173" y="220"/>
                    </a:cubicBezTo>
                    <a:cubicBezTo>
                      <a:pt x="3176" y="218"/>
                      <a:pt x="3178" y="215"/>
                      <a:pt x="3178" y="213"/>
                    </a:cubicBezTo>
                    <a:cubicBezTo>
                      <a:pt x="3178" y="211"/>
                      <a:pt x="3174" y="211"/>
                      <a:pt x="3173" y="209"/>
                    </a:cubicBezTo>
                    <a:cubicBezTo>
                      <a:pt x="3173" y="207"/>
                      <a:pt x="3175" y="208"/>
                      <a:pt x="3179" y="207"/>
                    </a:cubicBezTo>
                    <a:cubicBezTo>
                      <a:pt x="3182" y="206"/>
                      <a:pt x="3179" y="201"/>
                      <a:pt x="3176" y="202"/>
                    </a:cubicBezTo>
                    <a:cubicBezTo>
                      <a:pt x="3173" y="203"/>
                      <a:pt x="3178" y="199"/>
                      <a:pt x="3175" y="196"/>
                    </a:cubicBezTo>
                    <a:cubicBezTo>
                      <a:pt x="3173" y="193"/>
                      <a:pt x="3168" y="198"/>
                      <a:pt x="3168" y="195"/>
                    </a:cubicBezTo>
                    <a:cubicBezTo>
                      <a:pt x="3168" y="192"/>
                      <a:pt x="3167" y="188"/>
                      <a:pt x="3165" y="186"/>
                    </a:cubicBezTo>
                    <a:cubicBezTo>
                      <a:pt x="3163" y="184"/>
                      <a:pt x="3160" y="189"/>
                      <a:pt x="3156" y="186"/>
                    </a:cubicBezTo>
                    <a:cubicBezTo>
                      <a:pt x="3151" y="183"/>
                      <a:pt x="3139" y="181"/>
                      <a:pt x="3139" y="182"/>
                    </a:cubicBezTo>
                    <a:cubicBezTo>
                      <a:pt x="3139" y="184"/>
                      <a:pt x="3133" y="180"/>
                      <a:pt x="3132" y="182"/>
                    </a:cubicBezTo>
                    <a:cubicBezTo>
                      <a:pt x="3131" y="183"/>
                      <a:pt x="3121" y="183"/>
                      <a:pt x="3118" y="182"/>
                    </a:cubicBezTo>
                    <a:cubicBezTo>
                      <a:pt x="3115" y="181"/>
                      <a:pt x="3111" y="183"/>
                      <a:pt x="3111" y="186"/>
                    </a:cubicBezTo>
                    <a:cubicBezTo>
                      <a:pt x="3111" y="189"/>
                      <a:pt x="3099" y="188"/>
                      <a:pt x="3097" y="187"/>
                    </a:cubicBezTo>
                    <a:cubicBezTo>
                      <a:pt x="3095" y="187"/>
                      <a:pt x="3105" y="178"/>
                      <a:pt x="3105" y="177"/>
                    </a:cubicBezTo>
                    <a:cubicBezTo>
                      <a:pt x="3105" y="175"/>
                      <a:pt x="3088" y="177"/>
                      <a:pt x="3087" y="176"/>
                    </a:cubicBezTo>
                    <a:cubicBezTo>
                      <a:pt x="3086" y="174"/>
                      <a:pt x="3077" y="173"/>
                      <a:pt x="3073" y="174"/>
                    </a:cubicBezTo>
                    <a:cubicBezTo>
                      <a:pt x="3069" y="174"/>
                      <a:pt x="3073" y="173"/>
                      <a:pt x="3077" y="172"/>
                    </a:cubicBezTo>
                    <a:cubicBezTo>
                      <a:pt x="3080" y="172"/>
                      <a:pt x="3083" y="169"/>
                      <a:pt x="3087" y="168"/>
                    </a:cubicBezTo>
                    <a:cubicBezTo>
                      <a:pt x="3091" y="168"/>
                      <a:pt x="3090" y="166"/>
                      <a:pt x="3088" y="164"/>
                    </a:cubicBezTo>
                    <a:cubicBezTo>
                      <a:pt x="3087" y="162"/>
                      <a:pt x="3083" y="163"/>
                      <a:pt x="3079" y="162"/>
                    </a:cubicBezTo>
                    <a:cubicBezTo>
                      <a:pt x="3075" y="160"/>
                      <a:pt x="3070" y="159"/>
                      <a:pt x="3067" y="159"/>
                    </a:cubicBezTo>
                    <a:cubicBezTo>
                      <a:pt x="3064" y="158"/>
                      <a:pt x="3060" y="160"/>
                      <a:pt x="3052" y="162"/>
                    </a:cubicBezTo>
                    <a:cubicBezTo>
                      <a:pt x="3044" y="163"/>
                      <a:pt x="3044" y="169"/>
                      <a:pt x="3040" y="171"/>
                    </a:cubicBezTo>
                    <a:cubicBezTo>
                      <a:pt x="3036" y="173"/>
                      <a:pt x="3029" y="180"/>
                      <a:pt x="3032" y="181"/>
                    </a:cubicBezTo>
                    <a:cubicBezTo>
                      <a:pt x="3035" y="182"/>
                      <a:pt x="3034" y="184"/>
                      <a:pt x="3034" y="186"/>
                    </a:cubicBezTo>
                    <a:cubicBezTo>
                      <a:pt x="3035" y="188"/>
                      <a:pt x="3032" y="188"/>
                      <a:pt x="3028" y="188"/>
                    </a:cubicBezTo>
                    <a:cubicBezTo>
                      <a:pt x="3024" y="187"/>
                      <a:pt x="3011" y="187"/>
                      <a:pt x="3011" y="190"/>
                    </a:cubicBezTo>
                    <a:cubicBezTo>
                      <a:pt x="3011" y="193"/>
                      <a:pt x="3019" y="194"/>
                      <a:pt x="3018" y="196"/>
                    </a:cubicBezTo>
                    <a:cubicBezTo>
                      <a:pt x="3018" y="197"/>
                      <a:pt x="3012" y="196"/>
                      <a:pt x="3010" y="194"/>
                    </a:cubicBezTo>
                    <a:cubicBezTo>
                      <a:pt x="3007" y="193"/>
                      <a:pt x="3001" y="193"/>
                      <a:pt x="3000" y="196"/>
                    </a:cubicBezTo>
                    <a:cubicBezTo>
                      <a:pt x="2999" y="199"/>
                      <a:pt x="2994" y="198"/>
                      <a:pt x="2992" y="198"/>
                    </a:cubicBezTo>
                    <a:cubicBezTo>
                      <a:pt x="2991" y="197"/>
                      <a:pt x="2988" y="199"/>
                      <a:pt x="2985" y="198"/>
                    </a:cubicBezTo>
                    <a:cubicBezTo>
                      <a:pt x="2983" y="197"/>
                      <a:pt x="2990" y="194"/>
                      <a:pt x="2988" y="192"/>
                    </a:cubicBezTo>
                    <a:cubicBezTo>
                      <a:pt x="2986" y="190"/>
                      <a:pt x="2978" y="192"/>
                      <a:pt x="2978" y="195"/>
                    </a:cubicBezTo>
                    <a:cubicBezTo>
                      <a:pt x="2977" y="198"/>
                      <a:pt x="2972" y="193"/>
                      <a:pt x="2970" y="194"/>
                    </a:cubicBezTo>
                    <a:cubicBezTo>
                      <a:pt x="2968" y="195"/>
                      <a:pt x="2966" y="196"/>
                      <a:pt x="2963" y="197"/>
                    </a:cubicBezTo>
                    <a:cubicBezTo>
                      <a:pt x="2959" y="199"/>
                      <a:pt x="2953" y="196"/>
                      <a:pt x="2952" y="198"/>
                    </a:cubicBezTo>
                    <a:cubicBezTo>
                      <a:pt x="2951" y="201"/>
                      <a:pt x="2959" y="202"/>
                      <a:pt x="2959" y="203"/>
                    </a:cubicBezTo>
                    <a:cubicBezTo>
                      <a:pt x="2959" y="204"/>
                      <a:pt x="2941" y="204"/>
                      <a:pt x="2940" y="206"/>
                    </a:cubicBezTo>
                    <a:cubicBezTo>
                      <a:pt x="2940" y="208"/>
                      <a:pt x="2933" y="208"/>
                      <a:pt x="2926" y="208"/>
                    </a:cubicBezTo>
                    <a:cubicBezTo>
                      <a:pt x="2918" y="208"/>
                      <a:pt x="2921" y="212"/>
                      <a:pt x="2915" y="213"/>
                    </a:cubicBezTo>
                    <a:cubicBezTo>
                      <a:pt x="2909" y="214"/>
                      <a:pt x="2907" y="214"/>
                      <a:pt x="2905" y="217"/>
                    </a:cubicBezTo>
                    <a:cubicBezTo>
                      <a:pt x="2903" y="220"/>
                      <a:pt x="2898" y="221"/>
                      <a:pt x="2896" y="218"/>
                    </a:cubicBezTo>
                    <a:cubicBezTo>
                      <a:pt x="2894" y="216"/>
                      <a:pt x="2889" y="219"/>
                      <a:pt x="2892" y="220"/>
                    </a:cubicBezTo>
                    <a:cubicBezTo>
                      <a:pt x="2895" y="220"/>
                      <a:pt x="2892" y="223"/>
                      <a:pt x="2890" y="222"/>
                    </a:cubicBezTo>
                    <a:cubicBezTo>
                      <a:pt x="2888" y="222"/>
                      <a:pt x="2883" y="226"/>
                      <a:pt x="2886" y="225"/>
                    </a:cubicBezTo>
                    <a:cubicBezTo>
                      <a:pt x="2889" y="225"/>
                      <a:pt x="2890" y="227"/>
                      <a:pt x="2889" y="229"/>
                    </a:cubicBezTo>
                    <a:cubicBezTo>
                      <a:pt x="2887" y="231"/>
                      <a:pt x="2881" y="227"/>
                      <a:pt x="2879" y="229"/>
                    </a:cubicBezTo>
                    <a:cubicBezTo>
                      <a:pt x="2877" y="230"/>
                      <a:pt x="2882" y="233"/>
                      <a:pt x="2885" y="232"/>
                    </a:cubicBezTo>
                    <a:cubicBezTo>
                      <a:pt x="2888" y="232"/>
                      <a:pt x="2890" y="234"/>
                      <a:pt x="2890" y="236"/>
                    </a:cubicBezTo>
                    <a:cubicBezTo>
                      <a:pt x="2891" y="238"/>
                      <a:pt x="2883" y="235"/>
                      <a:pt x="2882" y="237"/>
                    </a:cubicBezTo>
                    <a:cubicBezTo>
                      <a:pt x="2880" y="238"/>
                      <a:pt x="2883" y="239"/>
                      <a:pt x="2886" y="240"/>
                    </a:cubicBezTo>
                    <a:cubicBezTo>
                      <a:pt x="2889" y="240"/>
                      <a:pt x="2887" y="241"/>
                      <a:pt x="2890" y="244"/>
                    </a:cubicBezTo>
                    <a:cubicBezTo>
                      <a:pt x="2890" y="244"/>
                      <a:pt x="2890" y="244"/>
                      <a:pt x="2890" y="244"/>
                    </a:cubicBezTo>
                    <a:cubicBezTo>
                      <a:pt x="2892" y="246"/>
                      <a:pt x="2889" y="247"/>
                      <a:pt x="2889" y="249"/>
                    </a:cubicBezTo>
                    <a:cubicBezTo>
                      <a:pt x="2889" y="251"/>
                      <a:pt x="2886" y="252"/>
                      <a:pt x="2886" y="250"/>
                    </a:cubicBezTo>
                    <a:cubicBezTo>
                      <a:pt x="2886" y="248"/>
                      <a:pt x="2877" y="247"/>
                      <a:pt x="2875" y="249"/>
                    </a:cubicBezTo>
                    <a:cubicBezTo>
                      <a:pt x="2873" y="252"/>
                      <a:pt x="2872" y="253"/>
                      <a:pt x="2870" y="251"/>
                    </a:cubicBezTo>
                    <a:cubicBezTo>
                      <a:pt x="2868" y="249"/>
                      <a:pt x="2861" y="252"/>
                      <a:pt x="2853" y="252"/>
                    </a:cubicBezTo>
                    <a:cubicBezTo>
                      <a:pt x="2845" y="252"/>
                      <a:pt x="2828" y="253"/>
                      <a:pt x="2824" y="255"/>
                    </a:cubicBezTo>
                    <a:cubicBezTo>
                      <a:pt x="2820" y="256"/>
                      <a:pt x="2816" y="262"/>
                      <a:pt x="2820" y="266"/>
                    </a:cubicBezTo>
                    <a:cubicBezTo>
                      <a:pt x="2824" y="270"/>
                      <a:pt x="2820" y="271"/>
                      <a:pt x="2820" y="274"/>
                    </a:cubicBezTo>
                    <a:cubicBezTo>
                      <a:pt x="2820" y="276"/>
                      <a:pt x="2830" y="281"/>
                      <a:pt x="2836" y="282"/>
                    </a:cubicBezTo>
                    <a:cubicBezTo>
                      <a:pt x="2841" y="282"/>
                      <a:pt x="2845" y="289"/>
                      <a:pt x="2842" y="293"/>
                    </a:cubicBezTo>
                    <a:cubicBezTo>
                      <a:pt x="2839" y="297"/>
                      <a:pt x="2829" y="292"/>
                      <a:pt x="2823" y="287"/>
                    </a:cubicBezTo>
                    <a:cubicBezTo>
                      <a:pt x="2817" y="282"/>
                      <a:pt x="2802" y="280"/>
                      <a:pt x="2797" y="280"/>
                    </a:cubicBezTo>
                    <a:cubicBezTo>
                      <a:pt x="2792" y="280"/>
                      <a:pt x="2795" y="276"/>
                      <a:pt x="2789" y="276"/>
                    </a:cubicBezTo>
                    <a:cubicBezTo>
                      <a:pt x="2783" y="276"/>
                      <a:pt x="2778" y="282"/>
                      <a:pt x="2782" y="282"/>
                    </a:cubicBezTo>
                    <a:cubicBezTo>
                      <a:pt x="2786" y="282"/>
                      <a:pt x="2789" y="281"/>
                      <a:pt x="2787" y="283"/>
                    </a:cubicBezTo>
                    <a:cubicBezTo>
                      <a:pt x="2784" y="285"/>
                      <a:pt x="2788" y="285"/>
                      <a:pt x="2793" y="287"/>
                    </a:cubicBezTo>
                    <a:cubicBezTo>
                      <a:pt x="2798" y="289"/>
                      <a:pt x="2789" y="292"/>
                      <a:pt x="2783" y="289"/>
                    </a:cubicBezTo>
                    <a:cubicBezTo>
                      <a:pt x="2778" y="285"/>
                      <a:pt x="2773" y="288"/>
                      <a:pt x="2771" y="291"/>
                    </a:cubicBezTo>
                    <a:cubicBezTo>
                      <a:pt x="2770" y="294"/>
                      <a:pt x="2777" y="301"/>
                      <a:pt x="2786" y="303"/>
                    </a:cubicBezTo>
                    <a:cubicBezTo>
                      <a:pt x="2795" y="304"/>
                      <a:pt x="2792" y="307"/>
                      <a:pt x="2796" y="308"/>
                    </a:cubicBezTo>
                    <a:cubicBezTo>
                      <a:pt x="2801" y="310"/>
                      <a:pt x="2798" y="312"/>
                      <a:pt x="2795" y="312"/>
                    </a:cubicBezTo>
                    <a:cubicBezTo>
                      <a:pt x="2792" y="312"/>
                      <a:pt x="2786" y="307"/>
                      <a:pt x="2782" y="305"/>
                    </a:cubicBezTo>
                    <a:cubicBezTo>
                      <a:pt x="2777" y="303"/>
                      <a:pt x="2765" y="306"/>
                      <a:pt x="2763" y="303"/>
                    </a:cubicBezTo>
                    <a:cubicBezTo>
                      <a:pt x="2760" y="301"/>
                      <a:pt x="2764" y="298"/>
                      <a:pt x="2762" y="296"/>
                    </a:cubicBezTo>
                    <a:cubicBezTo>
                      <a:pt x="2760" y="294"/>
                      <a:pt x="2762" y="290"/>
                      <a:pt x="2765" y="285"/>
                    </a:cubicBezTo>
                    <a:cubicBezTo>
                      <a:pt x="2768" y="280"/>
                      <a:pt x="2764" y="272"/>
                      <a:pt x="2760" y="271"/>
                    </a:cubicBezTo>
                    <a:cubicBezTo>
                      <a:pt x="2755" y="270"/>
                      <a:pt x="2756" y="274"/>
                      <a:pt x="2757" y="275"/>
                    </a:cubicBezTo>
                    <a:cubicBezTo>
                      <a:pt x="2758" y="277"/>
                      <a:pt x="2757" y="283"/>
                      <a:pt x="2754" y="287"/>
                    </a:cubicBezTo>
                    <a:cubicBezTo>
                      <a:pt x="2751" y="291"/>
                      <a:pt x="2740" y="291"/>
                      <a:pt x="2740" y="294"/>
                    </a:cubicBezTo>
                    <a:cubicBezTo>
                      <a:pt x="2740" y="297"/>
                      <a:pt x="2734" y="299"/>
                      <a:pt x="2736" y="301"/>
                    </a:cubicBezTo>
                    <a:cubicBezTo>
                      <a:pt x="2738" y="303"/>
                      <a:pt x="2747" y="314"/>
                      <a:pt x="2749" y="317"/>
                    </a:cubicBezTo>
                    <a:cubicBezTo>
                      <a:pt x="2750" y="320"/>
                      <a:pt x="2741" y="330"/>
                      <a:pt x="2742" y="336"/>
                    </a:cubicBezTo>
                    <a:cubicBezTo>
                      <a:pt x="2744" y="342"/>
                      <a:pt x="2741" y="344"/>
                      <a:pt x="2743" y="347"/>
                    </a:cubicBezTo>
                    <a:cubicBezTo>
                      <a:pt x="2744" y="350"/>
                      <a:pt x="2749" y="347"/>
                      <a:pt x="2751" y="349"/>
                    </a:cubicBezTo>
                    <a:cubicBezTo>
                      <a:pt x="2754" y="350"/>
                      <a:pt x="2758" y="347"/>
                      <a:pt x="2764" y="346"/>
                    </a:cubicBezTo>
                    <a:cubicBezTo>
                      <a:pt x="2771" y="345"/>
                      <a:pt x="2782" y="351"/>
                      <a:pt x="2786" y="353"/>
                    </a:cubicBezTo>
                    <a:cubicBezTo>
                      <a:pt x="2790" y="355"/>
                      <a:pt x="2788" y="358"/>
                      <a:pt x="2790" y="362"/>
                    </a:cubicBezTo>
                    <a:cubicBezTo>
                      <a:pt x="2792" y="365"/>
                      <a:pt x="2785" y="365"/>
                      <a:pt x="2785" y="370"/>
                    </a:cubicBezTo>
                    <a:cubicBezTo>
                      <a:pt x="2785" y="375"/>
                      <a:pt x="2798" y="377"/>
                      <a:pt x="2798" y="379"/>
                    </a:cubicBezTo>
                    <a:cubicBezTo>
                      <a:pt x="2799" y="380"/>
                      <a:pt x="2789" y="379"/>
                      <a:pt x="2785" y="378"/>
                    </a:cubicBezTo>
                    <a:cubicBezTo>
                      <a:pt x="2782" y="376"/>
                      <a:pt x="2781" y="372"/>
                      <a:pt x="2780" y="371"/>
                    </a:cubicBezTo>
                    <a:cubicBezTo>
                      <a:pt x="2779" y="370"/>
                      <a:pt x="2783" y="366"/>
                      <a:pt x="2783" y="362"/>
                    </a:cubicBezTo>
                    <a:cubicBezTo>
                      <a:pt x="2783" y="359"/>
                      <a:pt x="2779" y="357"/>
                      <a:pt x="2777" y="355"/>
                    </a:cubicBezTo>
                    <a:cubicBezTo>
                      <a:pt x="2776" y="353"/>
                      <a:pt x="2773" y="350"/>
                      <a:pt x="2770" y="351"/>
                    </a:cubicBezTo>
                    <a:cubicBezTo>
                      <a:pt x="2767" y="351"/>
                      <a:pt x="2756" y="352"/>
                      <a:pt x="2753" y="355"/>
                    </a:cubicBezTo>
                    <a:cubicBezTo>
                      <a:pt x="2750" y="358"/>
                      <a:pt x="2753" y="367"/>
                      <a:pt x="2755" y="371"/>
                    </a:cubicBezTo>
                    <a:cubicBezTo>
                      <a:pt x="2757" y="375"/>
                      <a:pt x="2746" y="381"/>
                      <a:pt x="2746" y="384"/>
                    </a:cubicBezTo>
                    <a:cubicBezTo>
                      <a:pt x="2746" y="388"/>
                      <a:pt x="2742" y="389"/>
                      <a:pt x="2737" y="392"/>
                    </a:cubicBezTo>
                    <a:cubicBezTo>
                      <a:pt x="2732" y="394"/>
                      <a:pt x="2727" y="396"/>
                      <a:pt x="2727" y="401"/>
                    </a:cubicBezTo>
                    <a:cubicBezTo>
                      <a:pt x="2727" y="405"/>
                      <a:pt x="2720" y="403"/>
                      <a:pt x="2717" y="401"/>
                    </a:cubicBezTo>
                    <a:cubicBezTo>
                      <a:pt x="2713" y="399"/>
                      <a:pt x="2709" y="402"/>
                      <a:pt x="2704" y="402"/>
                    </a:cubicBezTo>
                    <a:cubicBezTo>
                      <a:pt x="2699" y="402"/>
                      <a:pt x="2699" y="397"/>
                      <a:pt x="2695" y="399"/>
                    </a:cubicBezTo>
                    <a:cubicBezTo>
                      <a:pt x="2691" y="400"/>
                      <a:pt x="2688" y="397"/>
                      <a:pt x="2689" y="394"/>
                    </a:cubicBezTo>
                    <a:cubicBezTo>
                      <a:pt x="2691" y="391"/>
                      <a:pt x="2695" y="393"/>
                      <a:pt x="2695" y="396"/>
                    </a:cubicBezTo>
                    <a:cubicBezTo>
                      <a:pt x="2696" y="398"/>
                      <a:pt x="2699" y="397"/>
                      <a:pt x="2702" y="395"/>
                    </a:cubicBezTo>
                    <a:cubicBezTo>
                      <a:pt x="2705" y="393"/>
                      <a:pt x="2704" y="397"/>
                      <a:pt x="2708" y="398"/>
                    </a:cubicBezTo>
                    <a:cubicBezTo>
                      <a:pt x="2713" y="398"/>
                      <a:pt x="2711" y="395"/>
                      <a:pt x="2714" y="395"/>
                    </a:cubicBezTo>
                    <a:cubicBezTo>
                      <a:pt x="2718" y="396"/>
                      <a:pt x="2718" y="395"/>
                      <a:pt x="2717" y="393"/>
                    </a:cubicBezTo>
                    <a:cubicBezTo>
                      <a:pt x="2716" y="391"/>
                      <a:pt x="2720" y="390"/>
                      <a:pt x="2722" y="389"/>
                    </a:cubicBezTo>
                    <a:cubicBezTo>
                      <a:pt x="2724" y="387"/>
                      <a:pt x="2723" y="384"/>
                      <a:pt x="2725" y="383"/>
                    </a:cubicBezTo>
                    <a:cubicBezTo>
                      <a:pt x="2728" y="381"/>
                      <a:pt x="2726" y="379"/>
                      <a:pt x="2728" y="379"/>
                    </a:cubicBezTo>
                    <a:cubicBezTo>
                      <a:pt x="2731" y="379"/>
                      <a:pt x="2732" y="375"/>
                      <a:pt x="2734" y="375"/>
                    </a:cubicBezTo>
                    <a:cubicBezTo>
                      <a:pt x="2736" y="375"/>
                      <a:pt x="2737" y="372"/>
                      <a:pt x="2736" y="370"/>
                    </a:cubicBezTo>
                    <a:cubicBezTo>
                      <a:pt x="2735" y="368"/>
                      <a:pt x="2737" y="363"/>
                      <a:pt x="2739" y="362"/>
                    </a:cubicBezTo>
                    <a:cubicBezTo>
                      <a:pt x="2741" y="362"/>
                      <a:pt x="2741" y="360"/>
                      <a:pt x="2739" y="358"/>
                    </a:cubicBezTo>
                    <a:cubicBezTo>
                      <a:pt x="2737" y="357"/>
                      <a:pt x="2730" y="352"/>
                      <a:pt x="2730" y="349"/>
                    </a:cubicBezTo>
                    <a:cubicBezTo>
                      <a:pt x="2731" y="345"/>
                      <a:pt x="2729" y="340"/>
                      <a:pt x="2730" y="337"/>
                    </a:cubicBezTo>
                    <a:cubicBezTo>
                      <a:pt x="2731" y="335"/>
                      <a:pt x="2730" y="329"/>
                      <a:pt x="2730" y="326"/>
                    </a:cubicBezTo>
                    <a:cubicBezTo>
                      <a:pt x="2730" y="323"/>
                      <a:pt x="2732" y="320"/>
                      <a:pt x="2733" y="315"/>
                    </a:cubicBezTo>
                    <a:cubicBezTo>
                      <a:pt x="2734" y="309"/>
                      <a:pt x="2727" y="303"/>
                      <a:pt x="2724" y="302"/>
                    </a:cubicBezTo>
                    <a:cubicBezTo>
                      <a:pt x="2720" y="300"/>
                      <a:pt x="2722" y="297"/>
                      <a:pt x="2727" y="293"/>
                    </a:cubicBezTo>
                    <a:cubicBezTo>
                      <a:pt x="2732" y="289"/>
                      <a:pt x="2732" y="277"/>
                      <a:pt x="2732" y="274"/>
                    </a:cubicBezTo>
                    <a:cubicBezTo>
                      <a:pt x="2732" y="271"/>
                      <a:pt x="2722" y="269"/>
                      <a:pt x="2718" y="269"/>
                    </a:cubicBezTo>
                    <a:cubicBezTo>
                      <a:pt x="2714" y="270"/>
                      <a:pt x="2700" y="269"/>
                      <a:pt x="2697" y="268"/>
                    </a:cubicBezTo>
                    <a:cubicBezTo>
                      <a:pt x="2693" y="268"/>
                      <a:pt x="2692" y="271"/>
                      <a:pt x="2690" y="275"/>
                    </a:cubicBezTo>
                    <a:cubicBezTo>
                      <a:pt x="2689" y="278"/>
                      <a:pt x="2685" y="283"/>
                      <a:pt x="2683" y="291"/>
                    </a:cubicBezTo>
                    <a:cubicBezTo>
                      <a:pt x="2681" y="298"/>
                      <a:pt x="2672" y="301"/>
                      <a:pt x="2668" y="302"/>
                    </a:cubicBezTo>
                    <a:cubicBezTo>
                      <a:pt x="2664" y="304"/>
                      <a:pt x="2661" y="309"/>
                      <a:pt x="2663" y="312"/>
                    </a:cubicBezTo>
                    <a:cubicBezTo>
                      <a:pt x="2665" y="315"/>
                      <a:pt x="2668" y="313"/>
                      <a:pt x="2669" y="314"/>
                    </a:cubicBezTo>
                    <a:cubicBezTo>
                      <a:pt x="2671" y="315"/>
                      <a:pt x="2669" y="322"/>
                      <a:pt x="2668" y="323"/>
                    </a:cubicBezTo>
                    <a:cubicBezTo>
                      <a:pt x="2667" y="324"/>
                      <a:pt x="2670" y="326"/>
                      <a:pt x="2667" y="328"/>
                    </a:cubicBezTo>
                    <a:cubicBezTo>
                      <a:pt x="2665" y="330"/>
                      <a:pt x="2662" y="334"/>
                      <a:pt x="2664" y="336"/>
                    </a:cubicBezTo>
                    <a:cubicBezTo>
                      <a:pt x="2665" y="338"/>
                      <a:pt x="2673" y="339"/>
                      <a:pt x="2677" y="341"/>
                    </a:cubicBezTo>
                    <a:cubicBezTo>
                      <a:pt x="2680" y="343"/>
                      <a:pt x="2679" y="346"/>
                      <a:pt x="2682" y="350"/>
                    </a:cubicBezTo>
                    <a:cubicBezTo>
                      <a:pt x="2684" y="353"/>
                      <a:pt x="2687" y="351"/>
                      <a:pt x="2689" y="353"/>
                    </a:cubicBezTo>
                    <a:cubicBezTo>
                      <a:pt x="2690" y="355"/>
                      <a:pt x="2684" y="364"/>
                      <a:pt x="2682" y="364"/>
                    </a:cubicBezTo>
                    <a:cubicBezTo>
                      <a:pt x="2679" y="365"/>
                      <a:pt x="2671" y="356"/>
                      <a:pt x="2668" y="354"/>
                    </a:cubicBezTo>
                    <a:cubicBezTo>
                      <a:pt x="2665" y="352"/>
                      <a:pt x="2655" y="348"/>
                      <a:pt x="2650" y="346"/>
                    </a:cubicBezTo>
                    <a:cubicBezTo>
                      <a:pt x="2645" y="343"/>
                      <a:pt x="2640" y="343"/>
                      <a:pt x="2635" y="340"/>
                    </a:cubicBezTo>
                    <a:cubicBezTo>
                      <a:pt x="2629" y="336"/>
                      <a:pt x="2624" y="334"/>
                      <a:pt x="2614" y="334"/>
                    </a:cubicBezTo>
                    <a:cubicBezTo>
                      <a:pt x="2604" y="334"/>
                      <a:pt x="2597" y="332"/>
                      <a:pt x="2593" y="332"/>
                    </a:cubicBezTo>
                    <a:cubicBezTo>
                      <a:pt x="2590" y="333"/>
                      <a:pt x="2591" y="329"/>
                      <a:pt x="2585" y="326"/>
                    </a:cubicBezTo>
                    <a:cubicBezTo>
                      <a:pt x="2579" y="323"/>
                      <a:pt x="2575" y="320"/>
                      <a:pt x="2571" y="322"/>
                    </a:cubicBezTo>
                    <a:cubicBezTo>
                      <a:pt x="2568" y="323"/>
                      <a:pt x="2569" y="330"/>
                      <a:pt x="2575" y="331"/>
                    </a:cubicBezTo>
                    <a:cubicBezTo>
                      <a:pt x="2580" y="332"/>
                      <a:pt x="2577" y="335"/>
                      <a:pt x="2583" y="334"/>
                    </a:cubicBezTo>
                    <a:cubicBezTo>
                      <a:pt x="2589" y="334"/>
                      <a:pt x="2590" y="336"/>
                      <a:pt x="2590" y="339"/>
                    </a:cubicBezTo>
                    <a:cubicBezTo>
                      <a:pt x="2590" y="343"/>
                      <a:pt x="2593" y="346"/>
                      <a:pt x="2595" y="349"/>
                    </a:cubicBezTo>
                    <a:cubicBezTo>
                      <a:pt x="2598" y="351"/>
                      <a:pt x="2596" y="355"/>
                      <a:pt x="2592" y="355"/>
                    </a:cubicBezTo>
                    <a:cubicBezTo>
                      <a:pt x="2587" y="355"/>
                      <a:pt x="2582" y="356"/>
                      <a:pt x="2584" y="359"/>
                    </a:cubicBezTo>
                    <a:cubicBezTo>
                      <a:pt x="2586" y="362"/>
                      <a:pt x="2583" y="363"/>
                      <a:pt x="2578" y="361"/>
                    </a:cubicBezTo>
                    <a:cubicBezTo>
                      <a:pt x="2574" y="359"/>
                      <a:pt x="2576" y="356"/>
                      <a:pt x="2578" y="354"/>
                    </a:cubicBezTo>
                    <a:cubicBezTo>
                      <a:pt x="2580" y="353"/>
                      <a:pt x="2574" y="350"/>
                      <a:pt x="2571" y="349"/>
                    </a:cubicBezTo>
                    <a:cubicBezTo>
                      <a:pt x="2569" y="348"/>
                      <a:pt x="2557" y="357"/>
                      <a:pt x="2554" y="358"/>
                    </a:cubicBezTo>
                    <a:cubicBezTo>
                      <a:pt x="2551" y="359"/>
                      <a:pt x="2543" y="356"/>
                      <a:pt x="2535" y="358"/>
                    </a:cubicBezTo>
                    <a:cubicBezTo>
                      <a:pt x="2527" y="360"/>
                      <a:pt x="2528" y="366"/>
                      <a:pt x="2525" y="366"/>
                    </a:cubicBezTo>
                    <a:cubicBezTo>
                      <a:pt x="2522" y="365"/>
                      <a:pt x="2513" y="366"/>
                      <a:pt x="2509" y="364"/>
                    </a:cubicBezTo>
                    <a:cubicBezTo>
                      <a:pt x="2506" y="362"/>
                      <a:pt x="2509" y="361"/>
                      <a:pt x="2512" y="361"/>
                    </a:cubicBezTo>
                    <a:cubicBezTo>
                      <a:pt x="2516" y="362"/>
                      <a:pt x="2517" y="360"/>
                      <a:pt x="2515" y="358"/>
                    </a:cubicBezTo>
                    <a:cubicBezTo>
                      <a:pt x="2513" y="356"/>
                      <a:pt x="2518" y="352"/>
                      <a:pt x="2517" y="350"/>
                    </a:cubicBezTo>
                    <a:cubicBezTo>
                      <a:pt x="2517" y="349"/>
                      <a:pt x="2504" y="353"/>
                      <a:pt x="2502" y="355"/>
                    </a:cubicBezTo>
                    <a:cubicBezTo>
                      <a:pt x="2500" y="357"/>
                      <a:pt x="2502" y="360"/>
                      <a:pt x="2500" y="361"/>
                    </a:cubicBezTo>
                    <a:cubicBezTo>
                      <a:pt x="2498" y="362"/>
                      <a:pt x="2498" y="359"/>
                      <a:pt x="2495" y="358"/>
                    </a:cubicBezTo>
                    <a:cubicBezTo>
                      <a:pt x="2492" y="357"/>
                      <a:pt x="2473" y="362"/>
                      <a:pt x="2469" y="366"/>
                    </a:cubicBezTo>
                    <a:cubicBezTo>
                      <a:pt x="2465" y="370"/>
                      <a:pt x="2458" y="370"/>
                      <a:pt x="2458" y="373"/>
                    </a:cubicBezTo>
                    <a:cubicBezTo>
                      <a:pt x="2458" y="375"/>
                      <a:pt x="2449" y="375"/>
                      <a:pt x="2446" y="376"/>
                    </a:cubicBezTo>
                    <a:cubicBezTo>
                      <a:pt x="2442" y="378"/>
                      <a:pt x="2445" y="385"/>
                      <a:pt x="2443" y="388"/>
                    </a:cubicBezTo>
                    <a:cubicBezTo>
                      <a:pt x="2442" y="392"/>
                      <a:pt x="2428" y="391"/>
                      <a:pt x="2424" y="391"/>
                    </a:cubicBezTo>
                    <a:cubicBezTo>
                      <a:pt x="2420" y="391"/>
                      <a:pt x="2419" y="383"/>
                      <a:pt x="2415" y="382"/>
                    </a:cubicBezTo>
                    <a:cubicBezTo>
                      <a:pt x="2412" y="382"/>
                      <a:pt x="2414" y="377"/>
                      <a:pt x="2415" y="375"/>
                    </a:cubicBezTo>
                    <a:cubicBezTo>
                      <a:pt x="2416" y="373"/>
                      <a:pt x="2419" y="375"/>
                      <a:pt x="2423" y="372"/>
                    </a:cubicBezTo>
                    <a:cubicBezTo>
                      <a:pt x="2427" y="369"/>
                      <a:pt x="2431" y="373"/>
                      <a:pt x="2433" y="372"/>
                    </a:cubicBezTo>
                    <a:cubicBezTo>
                      <a:pt x="2434" y="370"/>
                      <a:pt x="2426" y="365"/>
                      <a:pt x="2426" y="361"/>
                    </a:cubicBezTo>
                    <a:cubicBezTo>
                      <a:pt x="2425" y="357"/>
                      <a:pt x="2417" y="355"/>
                      <a:pt x="2412" y="357"/>
                    </a:cubicBezTo>
                    <a:cubicBezTo>
                      <a:pt x="2407" y="358"/>
                      <a:pt x="2401" y="357"/>
                      <a:pt x="2398" y="355"/>
                    </a:cubicBezTo>
                    <a:cubicBezTo>
                      <a:pt x="2394" y="354"/>
                      <a:pt x="2394" y="358"/>
                      <a:pt x="2400" y="360"/>
                    </a:cubicBezTo>
                    <a:cubicBezTo>
                      <a:pt x="2405" y="361"/>
                      <a:pt x="2402" y="365"/>
                      <a:pt x="2403" y="367"/>
                    </a:cubicBezTo>
                    <a:cubicBezTo>
                      <a:pt x="2404" y="370"/>
                      <a:pt x="2402" y="376"/>
                      <a:pt x="2399" y="380"/>
                    </a:cubicBezTo>
                    <a:cubicBezTo>
                      <a:pt x="2396" y="384"/>
                      <a:pt x="2398" y="384"/>
                      <a:pt x="2402" y="384"/>
                    </a:cubicBezTo>
                    <a:cubicBezTo>
                      <a:pt x="2407" y="384"/>
                      <a:pt x="2406" y="390"/>
                      <a:pt x="2406" y="394"/>
                    </a:cubicBezTo>
                    <a:cubicBezTo>
                      <a:pt x="2406" y="398"/>
                      <a:pt x="2403" y="399"/>
                      <a:pt x="2403" y="403"/>
                    </a:cubicBezTo>
                    <a:cubicBezTo>
                      <a:pt x="2403" y="406"/>
                      <a:pt x="2399" y="401"/>
                      <a:pt x="2398" y="402"/>
                    </a:cubicBezTo>
                    <a:cubicBezTo>
                      <a:pt x="2397" y="404"/>
                      <a:pt x="2395" y="402"/>
                      <a:pt x="2395" y="399"/>
                    </a:cubicBezTo>
                    <a:cubicBezTo>
                      <a:pt x="2394" y="396"/>
                      <a:pt x="2387" y="398"/>
                      <a:pt x="2383" y="397"/>
                    </a:cubicBezTo>
                    <a:cubicBezTo>
                      <a:pt x="2380" y="396"/>
                      <a:pt x="2378" y="398"/>
                      <a:pt x="2376" y="400"/>
                    </a:cubicBezTo>
                    <a:cubicBezTo>
                      <a:pt x="2374" y="403"/>
                      <a:pt x="2369" y="404"/>
                      <a:pt x="2366" y="405"/>
                    </a:cubicBezTo>
                    <a:cubicBezTo>
                      <a:pt x="2363" y="405"/>
                      <a:pt x="2358" y="411"/>
                      <a:pt x="2355" y="413"/>
                    </a:cubicBezTo>
                    <a:cubicBezTo>
                      <a:pt x="2352" y="415"/>
                      <a:pt x="2352" y="418"/>
                      <a:pt x="2356" y="422"/>
                    </a:cubicBezTo>
                    <a:cubicBezTo>
                      <a:pt x="2360" y="426"/>
                      <a:pt x="2361" y="429"/>
                      <a:pt x="2361" y="431"/>
                    </a:cubicBezTo>
                    <a:cubicBezTo>
                      <a:pt x="2360" y="433"/>
                      <a:pt x="2349" y="433"/>
                      <a:pt x="2347" y="430"/>
                    </a:cubicBezTo>
                    <a:cubicBezTo>
                      <a:pt x="2345" y="428"/>
                      <a:pt x="2338" y="427"/>
                      <a:pt x="2336" y="428"/>
                    </a:cubicBezTo>
                    <a:cubicBezTo>
                      <a:pt x="2333" y="428"/>
                      <a:pt x="2326" y="420"/>
                      <a:pt x="2323" y="420"/>
                    </a:cubicBezTo>
                    <a:cubicBezTo>
                      <a:pt x="2319" y="420"/>
                      <a:pt x="2317" y="424"/>
                      <a:pt x="2316" y="426"/>
                    </a:cubicBezTo>
                    <a:cubicBezTo>
                      <a:pt x="2315" y="429"/>
                      <a:pt x="2318" y="429"/>
                      <a:pt x="2319" y="433"/>
                    </a:cubicBezTo>
                    <a:cubicBezTo>
                      <a:pt x="2321" y="437"/>
                      <a:pt x="2327" y="437"/>
                      <a:pt x="2330" y="437"/>
                    </a:cubicBezTo>
                    <a:cubicBezTo>
                      <a:pt x="2333" y="437"/>
                      <a:pt x="2332" y="442"/>
                      <a:pt x="2331" y="444"/>
                    </a:cubicBezTo>
                    <a:cubicBezTo>
                      <a:pt x="2330" y="446"/>
                      <a:pt x="2324" y="447"/>
                      <a:pt x="2323" y="445"/>
                    </a:cubicBezTo>
                    <a:cubicBezTo>
                      <a:pt x="2321" y="443"/>
                      <a:pt x="2314" y="445"/>
                      <a:pt x="2314" y="442"/>
                    </a:cubicBezTo>
                    <a:cubicBezTo>
                      <a:pt x="2314" y="440"/>
                      <a:pt x="2309" y="436"/>
                      <a:pt x="2304" y="436"/>
                    </a:cubicBezTo>
                    <a:cubicBezTo>
                      <a:pt x="2298" y="437"/>
                      <a:pt x="2297" y="434"/>
                      <a:pt x="2298" y="430"/>
                    </a:cubicBezTo>
                    <a:cubicBezTo>
                      <a:pt x="2298" y="426"/>
                      <a:pt x="2295" y="424"/>
                      <a:pt x="2295" y="422"/>
                    </a:cubicBezTo>
                    <a:cubicBezTo>
                      <a:pt x="2295" y="420"/>
                      <a:pt x="2293" y="416"/>
                      <a:pt x="2295" y="414"/>
                    </a:cubicBezTo>
                    <a:cubicBezTo>
                      <a:pt x="2298" y="413"/>
                      <a:pt x="2296" y="410"/>
                      <a:pt x="2296" y="407"/>
                    </a:cubicBezTo>
                    <a:cubicBezTo>
                      <a:pt x="2296" y="405"/>
                      <a:pt x="2292" y="401"/>
                      <a:pt x="2288" y="401"/>
                    </a:cubicBezTo>
                    <a:cubicBezTo>
                      <a:pt x="2283" y="401"/>
                      <a:pt x="2284" y="397"/>
                      <a:pt x="2281" y="396"/>
                    </a:cubicBezTo>
                    <a:cubicBezTo>
                      <a:pt x="2277" y="395"/>
                      <a:pt x="2270" y="389"/>
                      <a:pt x="2270" y="387"/>
                    </a:cubicBezTo>
                    <a:cubicBezTo>
                      <a:pt x="2269" y="384"/>
                      <a:pt x="2264" y="384"/>
                      <a:pt x="2266" y="383"/>
                    </a:cubicBezTo>
                    <a:cubicBezTo>
                      <a:pt x="2268" y="382"/>
                      <a:pt x="2272" y="383"/>
                      <a:pt x="2275" y="386"/>
                    </a:cubicBezTo>
                    <a:cubicBezTo>
                      <a:pt x="2278" y="389"/>
                      <a:pt x="2283" y="392"/>
                      <a:pt x="2290" y="393"/>
                    </a:cubicBezTo>
                    <a:cubicBezTo>
                      <a:pt x="2298" y="394"/>
                      <a:pt x="2301" y="398"/>
                      <a:pt x="2310" y="399"/>
                    </a:cubicBezTo>
                    <a:cubicBezTo>
                      <a:pt x="2319" y="401"/>
                      <a:pt x="2324" y="402"/>
                      <a:pt x="2336" y="404"/>
                    </a:cubicBezTo>
                    <a:cubicBezTo>
                      <a:pt x="2349" y="405"/>
                      <a:pt x="2366" y="393"/>
                      <a:pt x="2369" y="389"/>
                    </a:cubicBezTo>
                    <a:cubicBezTo>
                      <a:pt x="2373" y="386"/>
                      <a:pt x="2368" y="379"/>
                      <a:pt x="2368" y="376"/>
                    </a:cubicBezTo>
                    <a:cubicBezTo>
                      <a:pt x="2368" y="373"/>
                      <a:pt x="2362" y="373"/>
                      <a:pt x="2362" y="371"/>
                    </a:cubicBezTo>
                    <a:cubicBezTo>
                      <a:pt x="2361" y="369"/>
                      <a:pt x="2357" y="365"/>
                      <a:pt x="2352" y="365"/>
                    </a:cubicBezTo>
                    <a:cubicBezTo>
                      <a:pt x="2347" y="365"/>
                      <a:pt x="2347" y="360"/>
                      <a:pt x="2343" y="360"/>
                    </a:cubicBezTo>
                    <a:cubicBezTo>
                      <a:pt x="2339" y="360"/>
                      <a:pt x="2336" y="358"/>
                      <a:pt x="2326" y="352"/>
                    </a:cubicBezTo>
                    <a:cubicBezTo>
                      <a:pt x="2316" y="345"/>
                      <a:pt x="2303" y="340"/>
                      <a:pt x="2300" y="341"/>
                    </a:cubicBezTo>
                    <a:cubicBezTo>
                      <a:pt x="2298" y="343"/>
                      <a:pt x="2296" y="343"/>
                      <a:pt x="2294" y="341"/>
                    </a:cubicBezTo>
                    <a:cubicBezTo>
                      <a:pt x="2293" y="338"/>
                      <a:pt x="2289" y="339"/>
                      <a:pt x="2286" y="341"/>
                    </a:cubicBezTo>
                    <a:cubicBezTo>
                      <a:pt x="2283" y="343"/>
                      <a:pt x="2281" y="339"/>
                      <a:pt x="2276" y="340"/>
                    </a:cubicBezTo>
                    <a:cubicBezTo>
                      <a:pt x="2271" y="341"/>
                      <a:pt x="2268" y="338"/>
                      <a:pt x="2269" y="336"/>
                    </a:cubicBezTo>
                    <a:cubicBezTo>
                      <a:pt x="2271" y="335"/>
                      <a:pt x="2278" y="336"/>
                      <a:pt x="2278" y="334"/>
                    </a:cubicBezTo>
                    <a:cubicBezTo>
                      <a:pt x="2277" y="331"/>
                      <a:pt x="2275" y="334"/>
                      <a:pt x="2270" y="331"/>
                    </a:cubicBezTo>
                    <a:cubicBezTo>
                      <a:pt x="2266" y="328"/>
                      <a:pt x="2263" y="330"/>
                      <a:pt x="2262" y="332"/>
                    </a:cubicBezTo>
                    <a:cubicBezTo>
                      <a:pt x="2261" y="335"/>
                      <a:pt x="2258" y="334"/>
                      <a:pt x="2255" y="332"/>
                    </a:cubicBezTo>
                    <a:cubicBezTo>
                      <a:pt x="2253" y="330"/>
                      <a:pt x="2247" y="329"/>
                      <a:pt x="2246" y="332"/>
                    </a:cubicBezTo>
                    <a:cubicBezTo>
                      <a:pt x="2246" y="334"/>
                      <a:pt x="2241" y="334"/>
                      <a:pt x="2241" y="331"/>
                    </a:cubicBezTo>
                    <a:cubicBezTo>
                      <a:pt x="2241" y="329"/>
                      <a:pt x="2234" y="327"/>
                      <a:pt x="2234" y="325"/>
                    </a:cubicBezTo>
                    <a:cubicBezTo>
                      <a:pt x="2234" y="324"/>
                      <a:pt x="2237" y="324"/>
                      <a:pt x="2240" y="326"/>
                    </a:cubicBezTo>
                    <a:cubicBezTo>
                      <a:pt x="2242" y="327"/>
                      <a:pt x="2244" y="326"/>
                      <a:pt x="2247" y="324"/>
                    </a:cubicBezTo>
                    <a:cubicBezTo>
                      <a:pt x="2250" y="321"/>
                      <a:pt x="2254" y="323"/>
                      <a:pt x="2255" y="321"/>
                    </a:cubicBezTo>
                    <a:cubicBezTo>
                      <a:pt x="2255" y="318"/>
                      <a:pt x="2250" y="316"/>
                      <a:pt x="2249" y="315"/>
                    </a:cubicBezTo>
                    <a:cubicBezTo>
                      <a:pt x="2248" y="313"/>
                      <a:pt x="2244" y="311"/>
                      <a:pt x="2240" y="312"/>
                    </a:cubicBezTo>
                    <a:cubicBezTo>
                      <a:pt x="2237" y="313"/>
                      <a:pt x="2237" y="311"/>
                      <a:pt x="2234" y="309"/>
                    </a:cubicBezTo>
                    <a:cubicBezTo>
                      <a:pt x="2232" y="307"/>
                      <a:pt x="2226" y="311"/>
                      <a:pt x="2226" y="315"/>
                    </a:cubicBezTo>
                    <a:cubicBezTo>
                      <a:pt x="2226" y="320"/>
                      <a:pt x="2221" y="319"/>
                      <a:pt x="2223" y="316"/>
                    </a:cubicBezTo>
                    <a:cubicBezTo>
                      <a:pt x="2224" y="314"/>
                      <a:pt x="2221" y="311"/>
                      <a:pt x="2224" y="310"/>
                    </a:cubicBezTo>
                    <a:cubicBezTo>
                      <a:pt x="2228" y="309"/>
                      <a:pt x="2226" y="304"/>
                      <a:pt x="2220" y="304"/>
                    </a:cubicBezTo>
                    <a:cubicBezTo>
                      <a:pt x="2213" y="303"/>
                      <a:pt x="2211" y="308"/>
                      <a:pt x="2213" y="310"/>
                    </a:cubicBezTo>
                    <a:cubicBezTo>
                      <a:pt x="2214" y="312"/>
                      <a:pt x="2208" y="319"/>
                      <a:pt x="2206" y="319"/>
                    </a:cubicBezTo>
                    <a:cubicBezTo>
                      <a:pt x="2203" y="319"/>
                      <a:pt x="2206" y="313"/>
                      <a:pt x="2206" y="309"/>
                    </a:cubicBezTo>
                    <a:cubicBezTo>
                      <a:pt x="2206" y="306"/>
                      <a:pt x="2204" y="308"/>
                      <a:pt x="2199" y="313"/>
                    </a:cubicBezTo>
                    <a:cubicBezTo>
                      <a:pt x="2194" y="318"/>
                      <a:pt x="2191" y="323"/>
                      <a:pt x="2188" y="324"/>
                    </a:cubicBezTo>
                    <a:cubicBezTo>
                      <a:pt x="2185" y="324"/>
                      <a:pt x="2186" y="319"/>
                      <a:pt x="2190" y="317"/>
                    </a:cubicBezTo>
                    <a:cubicBezTo>
                      <a:pt x="2194" y="314"/>
                      <a:pt x="2195" y="308"/>
                      <a:pt x="2197" y="308"/>
                    </a:cubicBezTo>
                    <a:cubicBezTo>
                      <a:pt x="2200" y="308"/>
                      <a:pt x="2200" y="305"/>
                      <a:pt x="2196" y="304"/>
                    </a:cubicBezTo>
                    <a:cubicBezTo>
                      <a:pt x="2192" y="303"/>
                      <a:pt x="2191" y="307"/>
                      <a:pt x="2190" y="309"/>
                    </a:cubicBezTo>
                    <a:cubicBezTo>
                      <a:pt x="2189" y="310"/>
                      <a:pt x="2182" y="306"/>
                      <a:pt x="2182" y="308"/>
                    </a:cubicBezTo>
                    <a:cubicBezTo>
                      <a:pt x="2182" y="309"/>
                      <a:pt x="2178" y="309"/>
                      <a:pt x="2180" y="312"/>
                    </a:cubicBezTo>
                    <a:cubicBezTo>
                      <a:pt x="2182" y="314"/>
                      <a:pt x="2179" y="317"/>
                      <a:pt x="2177" y="314"/>
                    </a:cubicBezTo>
                    <a:cubicBezTo>
                      <a:pt x="2176" y="311"/>
                      <a:pt x="2172" y="313"/>
                      <a:pt x="2170" y="316"/>
                    </a:cubicBezTo>
                    <a:cubicBezTo>
                      <a:pt x="2168" y="320"/>
                      <a:pt x="2165" y="319"/>
                      <a:pt x="2167" y="321"/>
                    </a:cubicBezTo>
                    <a:cubicBezTo>
                      <a:pt x="2169" y="322"/>
                      <a:pt x="2169" y="326"/>
                      <a:pt x="2166" y="327"/>
                    </a:cubicBezTo>
                    <a:cubicBezTo>
                      <a:pt x="2163" y="328"/>
                      <a:pt x="2164" y="319"/>
                      <a:pt x="2162" y="320"/>
                    </a:cubicBezTo>
                    <a:cubicBezTo>
                      <a:pt x="2159" y="321"/>
                      <a:pt x="2161" y="315"/>
                      <a:pt x="2164" y="315"/>
                    </a:cubicBezTo>
                    <a:cubicBezTo>
                      <a:pt x="2167" y="315"/>
                      <a:pt x="2170" y="311"/>
                      <a:pt x="2170" y="310"/>
                    </a:cubicBezTo>
                    <a:cubicBezTo>
                      <a:pt x="2169" y="308"/>
                      <a:pt x="2166" y="308"/>
                      <a:pt x="2166" y="311"/>
                    </a:cubicBezTo>
                    <a:cubicBezTo>
                      <a:pt x="2166" y="313"/>
                      <a:pt x="2161" y="313"/>
                      <a:pt x="2157" y="312"/>
                    </a:cubicBezTo>
                    <a:cubicBezTo>
                      <a:pt x="2153" y="312"/>
                      <a:pt x="2153" y="317"/>
                      <a:pt x="2157" y="320"/>
                    </a:cubicBezTo>
                    <a:cubicBezTo>
                      <a:pt x="2162" y="323"/>
                      <a:pt x="2157" y="324"/>
                      <a:pt x="2154" y="322"/>
                    </a:cubicBezTo>
                    <a:cubicBezTo>
                      <a:pt x="2152" y="320"/>
                      <a:pt x="2148" y="321"/>
                      <a:pt x="2146" y="322"/>
                    </a:cubicBezTo>
                    <a:cubicBezTo>
                      <a:pt x="2143" y="324"/>
                      <a:pt x="2152" y="327"/>
                      <a:pt x="2152" y="328"/>
                    </a:cubicBezTo>
                    <a:cubicBezTo>
                      <a:pt x="2152" y="330"/>
                      <a:pt x="2148" y="326"/>
                      <a:pt x="2147" y="327"/>
                    </a:cubicBezTo>
                    <a:cubicBezTo>
                      <a:pt x="2146" y="329"/>
                      <a:pt x="2141" y="327"/>
                      <a:pt x="2141" y="324"/>
                    </a:cubicBezTo>
                    <a:cubicBezTo>
                      <a:pt x="2140" y="321"/>
                      <a:pt x="2133" y="325"/>
                      <a:pt x="2137" y="326"/>
                    </a:cubicBezTo>
                    <a:cubicBezTo>
                      <a:pt x="2141" y="327"/>
                      <a:pt x="2140" y="330"/>
                      <a:pt x="2140" y="333"/>
                    </a:cubicBezTo>
                    <a:cubicBezTo>
                      <a:pt x="2140" y="337"/>
                      <a:pt x="2135" y="334"/>
                      <a:pt x="2136" y="331"/>
                    </a:cubicBezTo>
                    <a:cubicBezTo>
                      <a:pt x="2137" y="328"/>
                      <a:pt x="2133" y="328"/>
                      <a:pt x="2130" y="330"/>
                    </a:cubicBezTo>
                    <a:cubicBezTo>
                      <a:pt x="2126" y="332"/>
                      <a:pt x="2130" y="327"/>
                      <a:pt x="2129" y="324"/>
                    </a:cubicBezTo>
                    <a:cubicBezTo>
                      <a:pt x="2127" y="321"/>
                      <a:pt x="2124" y="324"/>
                      <a:pt x="2121" y="325"/>
                    </a:cubicBezTo>
                    <a:cubicBezTo>
                      <a:pt x="2117" y="325"/>
                      <a:pt x="2116" y="325"/>
                      <a:pt x="2118" y="328"/>
                    </a:cubicBezTo>
                    <a:cubicBezTo>
                      <a:pt x="2120" y="330"/>
                      <a:pt x="2120" y="333"/>
                      <a:pt x="2117" y="333"/>
                    </a:cubicBezTo>
                    <a:cubicBezTo>
                      <a:pt x="2114" y="332"/>
                      <a:pt x="2113" y="333"/>
                      <a:pt x="2113" y="336"/>
                    </a:cubicBezTo>
                    <a:cubicBezTo>
                      <a:pt x="2113" y="338"/>
                      <a:pt x="2109" y="338"/>
                      <a:pt x="2109" y="336"/>
                    </a:cubicBezTo>
                    <a:cubicBezTo>
                      <a:pt x="2109" y="334"/>
                      <a:pt x="2103" y="334"/>
                      <a:pt x="2101" y="337"/>
                    </a:cubicBezTo>
                    <a:cubicBezTo>
                      <a:pt x="2100" y="340"/>
                      <a:pt x="2095" y="342"/>
                      <a:pt x="2096" y="345"/>
                    </a:cubicBezTo>
                    <a:cubicBezTo>
                      <a:pt x="2096" y="348"/>
                      <a:pt x="2100" y="343"/>
                      <a:pt x="2103" y="344"/>
                    </a:cubicBezTo>
                    <a:cubicBezTo>
                      <a:pt x="2106" y="345"/>
                      <a:pt x="2103" y="347"/>
                      <a:pt x="2104" y="348"/>
                    </a:cubicBezTo>
                    <a:cubicBezTo>
                      <a:pt x="2106" y="350"/>
                      <a:pt x="2106" y="353"/>
                      <a:pt x="2103" y="351"/>
                    </a:cubicBezTo>
                    <a:cubicBezTo>
                      <a:pt x="2101" y="349"/>
                      <a:pt x="2098" y="348"/>
                      <a:pt x="2097" y="352"/>
                    </a:cubicBezTo>
                    <a:cubicBezTo>
                      <a:pt x="2097" y="355"/>
                      <a:pt x="2094" y="351"/>
                      <a:pt x="2092" y="349"/>
                    </a:cubicBezTo>
                    <a:cubicBezTo>
                      <a:pt x="2090" y="346"/>
                      <a:pt x="2088" y="354"/>
                      <a:pt x="2086" y="352"/>
                    </a:cubicBezTo>
                    <a:cubicBezTo>
                      <a:pt x="2084" y="350"/>
                      <a:pt x="2091" y="345"/>
                      <a:pt x="2089" y="343"/>
                    </a:cubicBezTo>
                    <a:cubicBezTo>
                      <a:pt x="2087" y="340"/>
                      <a:pt x="2086" y="344"/>
                      <a:pt x="2082" y="348"/>
                    </a:cubicBezTo>
                    <a:cubicBezTo>
                      <a:pt x="2078" y="352"/>
                      <a:pt x="2073" y="352"/>
                      <a:pt x="2075" y="353"/>
                    </a:cubicBezTo>
                    <a:cubicBezTo>
                      <a:pt x="2077" y="355"/>
                      <a:pt x="2071" y="356"/>
                      <a:pt x="2070" y="359"/>
                    </a:cubicBezTo>
                    <a:cubicBezTo>
                      <a:pt x="2069" y="363"/>
                      <a:pt x="2061" y="364"/>
                      <a:pt x="2056" y="367"/>
                    </a:cubicBezTo>
                    <a:cubicBezTo>
                      <a:pt x="2051" y="370"/>
                      <a:pt x="2057" y="371"/>
                      <a:pt x="2060" y="367"/>
                    </a:cubicBezTo>
                    <a:cubicBezTo>
                      <a:pt x="2063" y="364"/>
                      <a:pt x="2064" y="366"/>
                      <a:pt x="2069" y="363"/>
                    </a:cubicBezTo>
                    <a:cubicBezTo>
                      <a:pt x="2073" y="360"/>
                      <a:pt x="2078" y="358"/>
                      <a:pt x="2080" y="359"/>
                    </a:cubicBezTo>
                    <a:cubicBezTo>
                      <a:pt x="2081" y="360"/>
                      <a:pt x="2084" y="361"/>
                      <a:pt x="2086" y="358"/>
                    </a:cubicBezTo>
                    <a:cubicBezTo>
                      <a:pt x="2088" y="355"/>
                      <a:pt x="2091" y="356"/>
                      <a:pt x="2093" y="358"/>
                    </a:cubicBezTo>
                    <a:cubicBezTo>
                      <a:pt x="2095" y="360"/>
                      <a:pt x="2090" y="361"/>
                      <a:pt x="2092" y="364"/>
                    </a:cubicBezTo>
                    <a:cubicBezTo>
                      <a:pt x="2095" y="366"/>
                      <a:pt x="2089" y="368"/>
                      <a:pt x="2089" y="366"/>
                    </a:cubicBezTo>
                    <a:cubicBezTo>
                      <a:pt x="2089" y="363"/>
                      <a:pt x="2086" y="361"/>
                      <a:pt x="2085" y="363"/>
                    </a:cubicBezTo>
                    <a:cubicBezTo>
                      <a:pt x="2083" y="366"/>
                      <a:pt x="2081" y="368"/>
                      <a:pt x="2079" y="368"/>
                    </a:cubicBezTo>
                    <a:cubicBezTo>
                      <a:pt x="2077" y="368"/>
                      <a:pt x="2075" y="372"/>
                      <a:pt x="2075" y="376"/>
                    </a:cubicBezTo>
                    <a:cubicBezTo>
                      <a:pt x="2075" y="380"/>
                      <a:pt x="2071" y="376"/>
                      <a:pt x="2071" y="380"/>
                    </a:cubicBezTo>
                    <a:cubicBezTo>
                      <a:pt x="2070" y="383"/>
                      <a:pt x="2065" y="389"/>
                      <a:pt x="2060" y="394"/>
                    </a:cubicBezTo>
                    <a:cubicBezTo>
                      <a:pt x="2056" y="398"/>
                      <a:pt x="2060" y="399"/>
                      <a:pt x="2058" y="402"/>
                    </a:cubicBezTo>
                    <a:cubicBezTo>
                      <a:pt x="2057" y="405"/>
                      <a:pt x="2051" y="403"/>
                      <a:pt x="2050" y="404"/>
                    </a:cubicBezTo>
                    <a:cubicBezTo>
                      <a:pt x="2048" y="405"/>
                      <a:pt x="2051" y="412"/>
                      <a:pt x="2048" y="414"/>
                    </a:cubicBezTo>
                    <a:cubicBezTo>
                      <a:pt x="2046" y="416"/>
                      <a:pt x="2048" y="419"/>
                      <a:pt x="2048" y="422"/>
                    </a:cubicBezTo>
                    <a:cubicBezTo>
                      <a:pt x="2048" y="424"/>
                      <a:pt x="2042" y="420"/>
                      <a:pt x="2041" y="423"/>
                    </a:cubicBezTo>
                    <a:cubicBezTo>
                      <a:pt x="2041" y="425"/>
                      <a:pt x="2035" y="425"/>
                      <a:pt x="2033" y="425"/>
                    </a:cubicBezTo>
                    <a:cubicBezTo>
                      <a:pt x="2032" y="426"/>
                      <a:pt x="2037" y="430"/>
                      <a:pt x="2040" y="432"/>
                    </a:cubicBezTo>
                    <a:cubicBezTo>
                      <a:pt x="2043" y="435"/>
                      <a:pt x="2037" y="436"/>
                      <a:pt x="2036" y="434"/>
                    </a:cubicBezTo>
                    <a:cubicBezTo>
                      <a:pt x="2035" y="431"/>
                      <a:pt x="2031" y="435"/>
                      <a:pt x="2026" y="438"/>
                    </a:cubicBezTo>
                    <a:cubicBezTo>
                      <a:pt x="2021" y="440"/>
                      <a:pt x="2023" y="445"/>
                      <a:pt x="2019" y="445"/>
                    </a:cubicBezTo>
                    <a:cubicBezTo>
                      <a:pt x="2015" y="445"/>
                      <a:pt x="2016" y="451"/>
                      <a:pt x="2014" y="453"/>
                    </a:cubicBezTo>
                    <a:cubicBezTo>
                      <a:pt x="2011" y="455"/>
                      <a:pt x="2012" y="449"/>
                      <a:pt x="2007" y="449"/>
                    </a:cubicBezTo>
                    <a:cubicBezTo>
                      <a:pt x="2003" y="448"/>
                      <a:pt x="2004" y="451"/>
                      <a:pt x="2006" y="455"/>
                    </a:cubicBezTo>
                    <a:cubicBezTo>
                      <a:pt x="2009" y="458"/>
                      <a:pt x="2002" y="456"/>
                      <a:pt x="2000" y="459"/>
                    </a:cubicBezTo>
                    <a:cubicBezTo>
                      <a:pt x="1998" y="462"/>
                      <a:pt x="1991" y="460"/>
                      <a:pt x="1989" y="463"/>
                    </a:cubicBezTo>
                    <a:cubicBezTo>
                      <a:pt x="1987" y="465"/>
                      <a:pt x="1994" y="465"/>
                      <a:pt x="1995" y="467"/>
                    </a:cubicBezTo>
                    <a:cubicBezTo>
                      <a:pt x="1996" y="469"/>
                      <a:pt x="1989" y="468"/>
                      <a:pt x="1985" y="467"/>
                    </a:cubicBezTo>
                    <a:cubicBezTo>
                      <a:pt x="1982" y="467"/>
                      <a:pt x="1983" y="472"/>
                      <a:pt x="1979" y="471"/>
                    </a:cubicBezTo>
                    <a:cubicBezTo>
                      <a:pt x="1976" y="471"/>
                      <a:pt x="1972" y="474"/>
                      <a:pt x="1974" y="477"/>
                    </a:cubicBezTo>
                    <a:cubicBezTo>
                      <a:pt x="1977" y="479"/>
                      <a:pt x="1972" y="479"/>
                      <a:pt x="1970" y="478"/>
                    </a:cubicBezTo>
                    <a:cubicBezTo>
                      <a:pt x="1968" y="476"/>
                      <a:pt x="1966" y="480"/>
                      <a:pt x="1965" y="483"/>
                    </a:cubicBezTo>
                    <a:cubicBezTo>
                      <a:pt x="1964" y="486"/>
                      <a:pt x="1969" y="487"/>
                      <a:pt x="1969" y="488"/>
                    </a:cubicBezTo>
                    <a:cubicBezTo>
                      <a:pt x="1969" y="490"/>
                      <a:pt x="1965" y="492"/>
                      <a:pt x="1968" y="493"/>
                    </a:cubicBezTo>
                    <a:cubicBezTo>
                      <a:pt x="1971" y="493"/>
                      <a:pt x="1969" y="496"/>
                      <a:pt x="1967" y="497"/>
                    </a:cubicBezTo>
                    <a:cubicBezTo>
                      <a:pt x="1965" y="498"/>
                      <a:pt x="1965" y="500"/>
                      <a:pt x="1967" y="502"/>
                    </a:cubicBezTo>
                    <a:cubicBezTo>
                      <a:pt x="1969" y="505"/>
                      <a:pt x="1963" y="505"/>
                      <a:pt x="1966" y="509"/>
                    </a:cubicBezTo>
                    <a:cubicBezTo>
                      <a:pt x="1969" y="513"/>
                      <a:pt x="1971" y="508"/>
                      <a:pt x="1972" y="511"/>
                    </a:cubicBezTo>
                    <a:cubicBezTo>
                      <a:pt x="1973" y="514"/>
                      <a:pt x="1976" y="511"/>
                      <a:pt x="1980" y="508"/>
                    </a:cubicBezTo>
                    <a:cubicBezTo>
                      <a:pt x="1983" y="504"/>
                      <a:pt x="1985" y="511"/>
                      <a:pt x="1982" y="511"/>
                    </a:cubicBezTo>
                    <a:cubicBezTo>
                      <a:pt x="1979" y="511"/>
                      <a:pt x="1975" y="513"/>
                      <a:pt x="1976" y="516"/>
                    </a:cubicBezTo>
                    <a:cubicBezTo>
                      <a:pt x="1977" y="519"/>
                      <a:pt x="1971" y="518"/>
                      <a:pt x="1971" y="515"/>
                    </a:cubicBezTo>
                    <a:cubicBezTo>
                      <a:pt x="1972" y="511"/>
                      <a:pt x="1965" y="515"/>
                      <a:pt x="1968" y="518"/>
                    </a:cubicBezTo>
                    <a:cubicBezTo>
                      <a:pt x="1970" y="521"/>
                      <a:pt x="1967" y="522"/>
                      <a:pt x="1967" y="525"/>
                    </a:cubicBezTo>
                    <a:cubicBezTo>
                      <a:pt x="1967" y="527"/>
                      <a:pt x="1971" y="527"/>
                      <a:pt x="1973" y="524"/>
                    </a:cubicBezTo>
                    <a:cubicBezTo>
                      <a:pt x="1975" y="521"/>
                      <a:pt x="1978" y="522"/>
                      <a:pt x="1979" y="525"/>
                    </a:cubicBezTo>
                    <a:cubicBezTo>
                      <a:pt x="1980" y="527"/>
                      <a:pt x="1976" y="525"/>
                      <a:pt x="1976" y="529"/>
                    </a:cubicBezTo>
                    <a:cubicBezTo>
                      <a:pt x="1976" y="533"/>
                      <a:pt x="1974" y="530"/>
                      <a:pt x="1972" y="533"/>
                    </a:cubicBezTo>
                    <a:cubicBezTo>
                      <a:pt x="1969" y="536"/>
                      <a:pt x="1980" y="541"/>
                      <a:pt x="1983" y="542"/>
                    </a:cubicBezTo>
                    <a:cubicBezTo>
                      <a:pt x="1987" y="543"/>
                      <a:pt x="1990" y="546"/>
                      <a:pt x="1997" y="545"/>
                    </a:cubicBezTo>
                    <a:cubicBezTo>
                      <a:pt x="2003" y="544"/>
                      <a:pt x="2016" y="532"/>
                      <a:pt x="2018" y="530"/>
                    </a:cubicBezTo>
                    <a:cubicBezTo>
                      <a:pt x="2019" y="528"/>
                      <a:pt x="2023" y="530"/>
                      <a:pt x="2025" y="528"/>
                    </a:cubicBezTo>
                    <a:cubicBezTo>
                      <a:pt x="2028" y="526"/>
                      <a:pt x="2026" y="521"/>
                      <a:pt x="2028" y="520"/>
                    </a:cubicBezTo>
                    <a:cubicBezTo>
                      <a:pt x="2030" y="519"/>
                      <a:pt x="2031" y="526"/>
                      <a:pt x="2033" y="526"/>
                    </a:cubicBezTo>
                    <a:cubicBezTo>
                      <a:pt x="2034" y="527"/>
                      <a:pt x="2036" y="528"/>
                      <a:pt x="2035" y="532"/>
                    </a:cubicBezTo>
                    <a:cubicBezTo>
                      <a:pt x="2035" y="537"/>
                      <a:pt x="2037" y="541"/>
                      <a:pt x="2040" y="544"/>
                    </a:cubicBezTo>
                    <a:cubicBezTo>
                      <a:pt x="2044" y="547"/>
                      <a:pt x="2041" y="551"/>
                      <a:pt x="2044" y="555"/>
                    </a:cubicBezTo>
                    <a:cubicBezTo>
                      <a:pt x="2048" y="560"/>
                      <a:pt x="2047" y="563"/>
                      <a:pt x="2050" y="566"/>
                    </a:cubicBezTo>
                    <a:cubicBezTo>
                      <a:pt x="2054" y="569"/>
                      <a:pt x="2054" y="570"/>
                      <a:pt x="2052" y="574"/>
                    </a:cubicBezTo>
                    <a:cubicBezTo>
                      <a:pt x="2051" y="578"/>
                      <a:pt x="2055" y="577"/>
                      <a:pt x="2056" y="579"/>
                    </a:cubicBezTo>
                    <a:cubicBezTo>
                      <a:pt x="2056" y="582"/>
                      <a:pt x="2055" y="586"/>
                      <a:pt x="2056" y="589"/>
                    </a:cubicBezTo>
                    <a:cubicBezTo>
                      <a:pt x="2057" y="591"/>
                      <a:pt x="2059" y="589"/>
                      <a:pt x="2065" y="589"/>
                    </a:cubicBezTo>
                    <a:cubicBezTo>
                      <a:pt x="2070" y="588"/>
                      <a:pt x="2069" y="585"/>
                      <a:pt x="2069" y="582"/>
                    </a:cubicBezTo>
                    <a:cubicBezTo>
                      <a:pt x="2069" y="579"/>
                      <a:pt x="2072" y="580"/>
                      <a:pt x="2072" y="578"/>
                    </a:cubicBezTo>
                    <a:cubicBezTo>
                      <a:pt x="2073" y="576"/>
                      <a:pt x="2078" y="576"/>
                      <a:pt x="2082" y="577"/>
                    </a:cubicBezTo>
                    <a:cubicBezTo>
                      <a:pt x="2085" y="579"/>
                      <a:pt x="2087" y="576"/>
                      <a:pt x="2088" y="572"/>
                    </a:cubicBezTo>
                    <a:cubicBezTo>
                      <a:pt x="2089" y="568"/>
                      <a:pt x="2091" y="573"/>
                      <a:pt x="2092" y="574"/>
                    </a:cubicBezTo>
                    <a:cubicBezTo>
                      <a:pt x="2093" y="575"/>
                      <a:pt x="2097" y="568"/>
                      <a:pt x="2098" y="563"/>
                    </a:cubicBezTo>
                    <a:cubicBezTo>
                      <a:pt x="2100" y="559"/>
                      <a:pt x="2098" y="560"/>
                      <a:pt x="2094" y="564"/>
                    </a:cubicBezTo>
                    <a:cubicBezTo>
                      <a:pt x="2091" y="568"/>
                      <a:pt x="2093" y="560"/>
                      <a:pt x="2094" y="556"/>
                    </a:cubicBezTo>
                    <a:cubicBezTo>
                      <a:pt x="2096" y="553"/>
                      <a:pt x="2096" y="542"/>
                      <a:pt x="2096" y="540"/>
                    </a:cubicBezTo>
                    <a:cubicBezTo>
                      <a:pt x="2097" y="538"/>
                      <a:pt x="2098" y="534"/>
                      <a:pt x="2102" y="533"/>
                    </a:cubicBezTo>
                    <a:cubicBezTo>
                      <a:pt x="2107" y="532"/>
                      <a:pt x="2114" y="526"/>
                      <a:pt x="2113" y="524"/>
                    </a:cubicBezTo>
                    <a:cubicBezTo>
                      <a:pt x="2112" y="521"/>
                      <a:pt x="2119" y="517"/>
                      <a:pt x="2119" y="515"/>
                    </a:cubicBezTo>
                    <a:cubicBezTo>
                      <a:pt x="2119" y="512"/>
                      <a:pt x="2111" y="504"/>
                      <a:pt x="2109" y="503"/>
                    </a:cubicBezTo>
                    <a:cubicBezTo>
                      <a:pt x="2106" y="501"/>
                      <a:pt x="2100" y="502"/>
                      <a:pt x="2101" y="501"/>
                    </a:cubicBezTo>
                    <a:cubicBezTo>
                      <a:pt x="2101" y="499"/>
                      <a:pt x="2100" y="492"/>
                      <a:pt x="2099" y="488"/>
                    </a:cubicBezTo>
                    <a:cubicBezTo>
                      <a:pt x="2099" y="484"/>
                      <a:pt x="2103" y="480"/>
                      <a:pt x="2103" y="477"/>
                    </a:cubicBezTo>
                    <a:cubicBezTo>
                      <a:pt x="2103" y="473"/>
                      <a:pt x="2103" y="469"/>
                      <a:pt x="2106" y="468"/>
                    </a:cubicBezTo>
                    <a:cubicBezTo>
                      <a:pt x="2110" y="467"/>
                      <a:pt x="2108" y="464"/>
                      <a:pt x="2112" y="463"/>
                    </a:cubicBezTo>
                    <a:cubicBezTo>
                      <a:pt x="2116" y="462"/>
                      <a:pt x="2115" y="456"/>
                      <a:pt x="2120" y="454"/>
                    </a:cubicBezTo>
                    <a:cubicBezTo>
                      <a:pt x="2124" y="452"/>
                      <a:pt x="2124" y="451"/>
                      <a:pt x="2130" y="448"/>
                    </a:cubicBezTo>
                    <a:cubicBezTo>
                      <a:pt x="2136" y="445"/>
                      <a:pt x="2146" y="439"/>
                      <a:pt x="2148" y="435"/>
                    </a:cubicBezTo>
                    <a:cubicBezTo>
                      <a:pt x="2149" y="432"/>
                      <a:pt x="2142" y="428"/>
                      <a:pt x="2146" y="424"/>
                    </a:cubicBezTo>
                    <a:cubicBezTo>
                      <a:pt x="2151" y="421"/>
                      <a:pt x="2147" y="416"/>
                      <a:pt x="2151" y="415"/>
                    </a:cubicBezTo>
                    <a:cubicBezTo>
                      <a:pt x="2154" y="414"/>
                      <a:pt x="2156" y="412"/>
                      <a:pt x="2158" y="409"/>
                    </a:cubicBezTo>
                    <a:cubicBezTo>
                      <a:pt x="2161" y="407"/>
                      <a:pt x="2164" y="409"/>
                      <a:pt x="2170" y="408"/>
                    </a:cubicBezTo>
                    <a:cubicBezTo>
                      <a:pt x="2176" y="407"/>
                      <a:pt x="2181" y="410"/>
                      <a:pt x="2185" y="412"/>
                    </a:cubicBezTo>
                    <a:cubicBezTo>
                      <a:pt x="2190" y="414"/>
                      <a:pt x="2189" y="417"/>
                      <a:pt x="2189" y="421"/>
                    </a:cubicBezTo>
                    <a:cubicBezTo>
                      <a:pt x="2189" y="424"/>
                      <a:pt x="2189" y="426"/>
                      <a:pt x="2187" y="425"/>
                    </a:cubicBezTo>
                    <a:cubicBezTo>
                      <a:pt x="2185" y="423"/>
                      <a:pt x="2182" y="425"/>
                      <a:pt x="2181" y="430"/>
                    </a:cubicBezTo>
                    <a:cubicBezTo>
                      <a:pt x="2180" y="435"/>
                      <a:pt x="2173" y="441"/>
                      <a:pt x="2169" y="441"/>
                    </a:cubicBezTo>
                    <a:cubicBezTo>
                      <a:pt x="2166" y="441"/>
                      <a:pt x="2166" y="445"/>
                      <a:pt x="2163" y="446"/>
                    </a:cubicBezTo>
                    <a:cubicBezTo>
                      <a:pt x="2160" y="447"/>
                      <a:pt x="2157" y="449"/>
                      <a:pt x="2157" y="452"/>
                    </a:cubicBezTo>
                    <a:cubicBezTo>
                      <a:pt x="2157" y="456"/>
                      <a:pt x="2152" y="456"/>
                      <a:pt x="2149" y="456"/>
                    </a:cubicBezTo>
                    <a:cubicBezTo>
                      <a:pt x="2146" y="456"/>
                      <a:pt x="2146" y="462"/>
                      <a:pt x="2144" y="463"/>
                    </a:cubicBezTo>
                    <a:cubicBezTo>
                      <a:pt x="2141" y="465"/>
                      <a:pt x="2142" y="467"/>
                      <a:pt x="2144" y="470"/>
                    </a:cubicBezTo>
                    <a:cubicBezTo>
                      <a:pt x="2147" y="473"/>
                      <a:pt x="2145" y="476"/>
                      <a:pt x="2145" y="478"/>
                    </a:cubicBezTo>
                    <a:cubicBezTo>
                      <a:pt x="2146" y="480"/>
                      <a:pt x="2150" y="485"/>
                      <a:pt x="2147" y="490"/>
                    </a:cubicBezTo>
                    <a:cubicBezTo>
                      <a:pt x="2145" y="496"/>
                      <a:pt x="2142" y="503"/>
                      <a:pt x="2144" y="502"/>
                    </a:cubicBezTo>
                    <a:cubicBezTo>
                      <a:pt x="2147" y="501"/>
                      <a:pt x="2152" y="507"/>
                      <a:pt x="2155" y="506"/>
                    </a:cubicBezTo>
                    <a:cubicBezTo>
                      <a:pt x="2158" y="506"/>
                      <a:pt x="2159" y="511"/>
                      <a:pt x="2162" y="510"/>
                    </a:cubicBezTo>
                    <a:cubicBezTo>
                      <a:pt x="2165" y="509"/>
                      <a:pt x="2165" y="513"/>
                      <a:pt x="2174" y="513"/>
                    </a:cubicBezTo>
                    <a:cubicBezTo>
                      <a:pt x="2183" y="512"/>
                      <a:pt x="2202" y="505"/>
                      <a:pt x="2209" y="505"/>
                    </a:cubicBezTo>
                    <a:cubicBezTo>
                      <a:pt x="2216" y="505"/>
                      <a:pt x="2221" y="503"/>
                      <a:pt x="2224" y="502"/>
                    </a:cubicBezTo>
                    <a:cubicBezTo>
                      <a:pt x="2227" y="500"/>
                      <a:pt x="2228" y="507"/>
                      <a:pt x="2231" y="509"/>
                    </a:cubicBezTo>
                    <a:cubicBezTo>
                      <a:pt x="2234" y="511"/>
                      <a:pt x="2239" y="509"/>
                      <a:pt x="2241" y="511"/>
                    </a:cubicBezTo>
                    <a:cubicBezTo>
                      <a:pt x="2243" y="513"/>
                      <a:pt x="2239" y="513"/>
                      <a:pt x="2236" y="513"/>
                    </a:cubicBezTo>
                    <a:cubicBezTo>
                      <a:pt x="2232" y="512"/>
                      <a:pt x="2231" y="514"/>
                      <a:pt x="2225" y="516"/>
                    </a:cubicBezTo>
                    <a:cubicBezTo>
                      <a:pt x="2219" y="518"/>
                      <a:pt x="2222" y="521"/>
                      <a:pt x="2217" y="522"/>
                    </a:cubicBezTo>
                    <a:cubicBezTo>
                      <a:pt x="2212" y="523"/>
                      <a:pt x="2201" y="519"/>
                      <a:pt x="2195" y="520"/>
                    </a:cubicBezTo>
                    <a:cubicBezTo>
                      <a:pt x="2189" y="521"/>
                      <a:pt x="2177" y="521"/>
                      <a:pt x="2174" y="524"/>
                    </a:cubicBezTo>
                    <a:cubicBezTo>
                      <a:pt x="2172" y="527"/>
                      <a:pt x="2164" y="528"/>
                      <a:pt x="2168" y="530"/>
                    </a:cubicBezTo>
                    <a:cubicBezTo>
                      <a:pt x="2171" y="533"/>
                      <a:pt x="2168" y="534"/>
                      <a:pt x="2170" y="538"/>
                    </a:cubicBezTo>
                    <a:cubicBezTo>
                      <a:pt x="2172" y="541"/>
                      <a:pt x="2173" y="542"/>
                      <a:pt x="2177" y="541"/>
                    </a:cubicBezTo>
                    <a:cubicBezTo>
                      <a:pt x="2180" y="541"/>
                      <a:pt x="2182" y="542"/>
                      <a:pt x="2179" y="546"/>
                    </a:cubicBezTo>
                    <a:cubicBezTo>
                      <a:pt x="2176" y="549"/>
                      <a:pt x="2178" y="552"/>
                      <a:pt x="2178" y="557"/>
                    </a:cubicBezTo>
                    <a:cubicBezTo>
                      <a:pt x="2178" y="563"/>
                      <a:pt x="2172" y="562"/>
                      <a:pt x="2169" y="562"/>
                    </a:cubicBezTo>
                    <a:cubicBezTo>
                      <a:pt x="2165" y="562"/>
                      <a:pt x="2160" y="552"/>
                      <a:pt x="2159" y="550"/>
                    </a:cubicBezTo>
                    <a:cubicBezTo>
                      <a:pt x="2157" y="548"/>
                      <a:pt x="2152" y="553"/>
                      <a:pt x="2148" y="555"/>
                    </a:cubicBezTo>
                    <a:cubicBezTo>
                      <a:pt x="2144" y="557"/>
                      <a:pt x="2146" y="562"/>
                      <a:pt x="2143" y="564"/>
                    </a:cubicBezTo>
                    <a:cubicBezTo>
                      <a:pt x="2141" y="566"/>
                      <a:pt x="2139" y="570"/>
                      <a:pt x="2142" y="575"/>
                    </a:cubicBezTo>
                    <a:cubicBezTo>
                      <a:pt x="2144" y="579"/>
                      <a:pt x="2143" y="584"/>
                      <a:pt x="2141" y="587"/>
                    </a:cubicBezTo>
                    <a:cubicBezTo>
                      <a:pt x="2138" y="590"/>
                      <a:pt x="2142" y="590"/>
                      <a:pt x="2143" y="592"/>
                    </a:cubicBezTo>
                    <a:cubicBezTo>
                      <a:pt x="2145" y="595"/>
                      <a:pt x="2137" y="595"/>
                      <a:pt x="2139" y="598"/>
                    </a:cubicBezTo>
                    <a:cubicBezTo>
                      <a:pt x="2142" y="602"/>
                      <a:pt x="2134" y="602"/>
                      <a:pt x="2134" y="598"/>
                    </a:cubicBezTo>
                    <a:cubicBezTo>
                      <a:pt x="2134" y="595"/>
                      <a:pt x="2126" y="597"/>
                      <a:pt x="2126" y="599"/>
                    </a:cubicBezTo>
                    <a:cubicBezTo>
                      <a:pt x="2127" y="601"/>
                      <a:pt x="2124" y="605"/>
                      <a:pt x="2120" y="605"/>
                    </a:cubicBezTo>
                    <a:cubicBezTo>
                      <a:pt x="2115" y="605"/>
                      <a:pt x="2114" y="600"/>
                      <a:pt x="2114" y="598"/>
                    </a:cubicBezTo>
                    <a:cubicBezTo>
                      <a:pt x="2114" y="596"/>
                      <a:pt x="2095" y="600"/>
                      <a:pt x="2090" y="605"/>
                    </a:cubicBezTo>
                    <a:cubicBezTo>
                      <a:pt x="2084" y="610"/>
                      <a:pt x="2072" y="608"/>
                      <a:pt x="2072" y="611"/>
                    </a:cubicBezTo>
                    <a:cubicBezTo>
                      <a:pt x="2072" y="614"/>
                      <a:pt x="2068" y="615"/>
                      <a:pt x="2068" y="612"/>
                    </a:cubicBezTo>
                    <a:cubicBezTo>
                      <a:pt x="2067" y="609"/>
                      <a:pt x="2066" y="608"/>
                      <a:pt x="2061" y="608"/>
                    </a:cubicBezTo>
                    <a:cubicBezTo>
                      <a:pt x="2057" y="608"/>
                      <a:pt x="2064" y="604"/>
                      <a:pt x="2062" y="602"/>
                    </a:cubicBezTo>
                    <a:cubicBezTo>
                      <a:pt x="2061" y="600"/>
                      <a:pt x="2056" y="606"/>
                      <a:pt x="2052" y="604"/>
                    </a:cubicBezTo>
                    <a:cubicBezTo>
                      <a:pt x="2048" y="603"/>
                      <a:pt x="2043" y="609"/>
                      <a:pt x="2040" y="612"/>
                    </a:cubicBezTo>
                    <a:cubicBezTo>
                      <a:pt x="2036" y="614"/>
                      <a:pt x="2031" y="611"/>
                      <a:pt x="2034" y="607"/>
                    </a:cubicBezTo>
                    <a:cubicBezTo>
                      <a:pt x="2036" y="604"/>
                      <a:pt x="2034" y="604"/>
                      <a:pt x="2030" y="605"/>
                    </a:cubicBezTo>
                    <a:cubicBezTo>
                      <a:pt x="2026" y="607"/>
                      <a:pt x="2021" y="605"/>
                      <a:pt x="2021" y="601"/>
                    </a:cubicBezTo>
                    <a:cubicBezTo>
                      <a:pt x="2022" y="598"/>
                      <a:pt x="2016" y="595"/>
                      <a:pt x="2016" y="593"/>
                    </a:cubicBezTo>
                    <a:cubicBezTo>
                      <a:pt x="2017" y="590"/>
                      <a:pt x="2020" y="592"/>
                      <a:pt x="2022" y="594"/>
                    </a:cubicBezTo>
                    <a:cubicBezTo>
                      <a:pt x="2024" y="596"/>
                      <a:pt x="2030" y="596"/>
                      <a:pt x="2030" y="594"/>
                    </a:cubicBezTo>
                    <a:cubicBezTo>
                      <a:pt x="2030" y="592"/>
                      <a:pt x="2029" y="585"/>
                      <a:pt x="2026" y="587"/>
                    </a:cubicBezTo>
                    <a:cubicBezTo>
                      <a:pt x="2023" y="588"/>
                      <a:pt x="2022" y="588"/>
                      <a:pt x="2021" y="586"/>
                    </a:cubicBezTo>
                    <a:cubicBezTo>
                      <a:pt x="2020" y="584"/>
                      <a:pt x="2023" y="582"/>
                      <a:pt x="2024" y="579"/>
                    </a:cubicBezTo>
                    <a:cubicBezTo>
                      <a:pt x="2025" y="576"/>
                      <a:pt x="2030" y="577"/>
                      <a:pt x="2031" y="575"/>
                    </a:cubicBezTo>
                    <a:cubicBezTo>
                      <a:pt x="2032" y="573"/>
                      <a:pt x="2028" y="571"/>
                      <a:pt x="2026" y="570"/>
                    </a:cubicBezTo>
                    <a:cubicBezTo>
                      <a:pt x="2024" y="569"/>
                      <a:pt x="2024" y="564"/>
                      <a:pt x="2026" y="562"/>
                    </a:cubicBezTo>
                    <a:cubicBezTo>
                      <a:pt x="2028" y="560"/>
                      <a:pt x="2028" y="554"/>
                      <a:pt x="2027" y="552"/>
                    </a:cubicBezTo>
                    <a:cubicBezTo>
                      <a:pt x="2025" y="551"/>
                      <a:pt x="2019" y="552"/>
                      <a:pt x="2019" y="557"/>
                    </a:cubicBezTo>
                    <a:cubicBezTo>
                      <a:pt x="2018" y="561"/>
                      <a:pt x="2013" y="559"/>
                      <a:pt x="2012" y="560"/>
                    </a:cubicBezTo>
                    <a:cubicBezTo>
                      <a:pt x="2011" y="561"/>
                      <a:pt x="2015" y="563"/>
                      <a:pt x="2012" y="565"/>
                    </a:cubicBezTo>
                    <a:cubicBezTo>
                      <a:pt x="2010" y="567"/>
                      <a:pt x="2009" y="562"/>
                      <a:pt x="2006" y="562"/>
                    </a:cubicBezTo>
                    <a:cubicBezTo>
                      <a:pt x="2002" y="562"/>
                      <a:pt x="2002" y="567"/>
                      <a:pt x="2000" y="570"/>
                    </a:cubicBezTo>
                    <a:cubicBezTo>
                      <a:pt x="1998" y="573"/>
                      <a:pt x="2000" y="579"/>
                      <a:pt x="2000" y="583"/>
                    </a:cubicBezTo>
                    <a:cubicBezTo>
                      <a:pt x="2001" y="587"/>
                      <a:pt x="2006" y="590"/>
                      <a:pt x="2005" y="593"/>
                    </a:cubicBezTo>
                    <a:cubicBezTo>
                      <a:pt x="2003" y="596"/>
                      <a:pt x="2010" y="600"/>
                      <a:pt x="2008" y="603"/>
                    </a:cubicBezTo>
                    <a:cubicBezTo>
                      <a:pt x="2007" y="606"/>
                      <a:pt x="2009" y="609"/>
                      <a:pt x="2011" y="613"/>
                    </a:cubicBezTo>
                    <a:cubicBezTo>
                      <a:pt x="2013" y="617"/>
                      <a:pt x="2007" y="615"/>
                      <a:pt x="2006" y="617"/>
                    </a:cubicBezTo>
                    <a:cubicBezTo>
                      <a:pt x="2006" y="620"/>
                      <a:pt x="2000" y="617"/>
                      <a:pt x="1998" y="616"/>
                    </a:cubicBezTo>
                    <a:cubicBezTo>
                      <a:pt x="1996" y="615"/>
                      <a:pt x="1989" y="616"/>
                      <a:pt x="1990" y="618"/>
                    </a:cubicBezTo>
                    <a:cubicBezTo>
                      <a:pt x="1990" y="619"/>
                      <a:pt x="1989" y="623"/>
                      <a:pt x="1986" y="621"/>
                    </a:cubicBezTo>
                    <a:cubicBezTo>
                      <a:pt x="1984" y="620"/>
                      <a:pt x="1980" y="620"/>
                      <a:pt x="1975" y="621"/>
                    </a:cubicBezTo>
                    <a:cubicBezTo>
                      <a:pt x="1970" y="622"/>
                      <a:pt x="1969" y="627"/>
                      <a:pt x="1970" y="629"/>
                    </a:cubicBezTo>
                    <a:cubicBezTo>
                      <a:pt x="1972" y="631"/>
                      <a:pt x="1966" y="632"/>
                      <a:pt x="1965" y="630"/>
                    </a:cubicBezTo>
                    <a:cubicBezTo>
                      <a:pt x="1965" y="627"/>
                      <a:pt x="1960" y="629"/>
                      <a:pt x="1960" y="632"/>
                    </a:cubicBezTo>
                    <a:cubicBezTo>
                      <a:pt x="1960" y="636"/>
                      <a:pt x="1954" y="637"/>
                      <a:pt x="1955" y="641"/>
                    </a:cubicBezTo>
                    <a:cubicBezTo>
                      <a:pt x="1955" y="646"/>
                      <a:pt x="1949" y="650"/>
                      <a:pt x="1946" y="652"/>
                    </a:cubicBezTo>
                    <a:cubicBezTo>
                      <a:pt x="1942" y="654"/>
                      <a:pt x="1938" y="657"/>
                      <a:pt x="1934" y="656"/>
                    </a:cubicBezTo>
                    <a:cubicBezTo>
                      <a:pt x="1930" y="656"/>
                      <a:pt x="1926" y="659"/>
                      <a:pt x="1927" y="666"/>
                    </a:cubicBezTo>
                    <a:cubicBezTo>
                      <a:pt x="1928" y="673"/>
                      <a:pt x="1922" y="673"/>
                      <a:pt x="1915" y="674"/>
                    </a:cubicBezTo>
                    <a:cubicBezTo>
                      <a:pt x="1909" y="674"/>
                      <a:pt x="1911" y="680"/>
                      <a:pt x="1908" y="682"/>
                    </a:cubicBezTo>
                    <a:cubicBezTo>
                      <a:pt x="1905" y="684"/>
                      <a:pt x="1895" y="681"/>
                      <a:pt x="1894" y="677"/>
                    </a:cubicBezTo>
                    <a:cubicBezTo>
                      <a:pt x="1893" y="673"/>
                      <a:pt x="1884" y="677"/>
                      <a:pt x="1887" y="681"/>
                    </a:cubicBezTo>
                    <a:cubicBezTo>
                      <a:pt x="1891" y="686"/>
                      <a:pt x="1891" y="692"/>
                      <a:pt x="1889" y="693"/>
                    </a:cubicBezTo>
                    <a:cubicBezTo>
                      <a:pt x="1887" y="695"/>
                      <a:pt x="1882" y="691"/>
                      <a:pt x="1879" y="693"/>
                    </a:cubicBezTo>
                    <a:cubicBezTo>
                      <a:pt x="1876" y="695"/>
                      <a:pt x="1876" y="691"/>
                      <a:pt x="1872" y="690"/>
                    </a:cubicBezTo>
                    <a:cubicBezTo>
                      <a:pt x="1869" y="688"/>
                      <a:pt x="1867" y="691"/>
                      <a:pt x="1861" y="691"/>
                    </a:cubicBezTo>
                    <a:cubicBezTo>
                      <a:pt x="1855" y="690"/>
                      <a:pt x="1852" y="694"/>
                      <a:pt x="1854" y="696"/>
                    </a:cubicBezTo>
                    <a:cubicBezTo>
                      <a:pt x="1856" y="699"/>
                      <a:pt x="1854" y="701"/>
                      <a:pt x="1856" y="703"/>
                    </a:cubicBezTo>
                    <a:cubicBezTo>
                      <a:pt x="1857" y="705"/>
                      <a:pt x="1865" y="705"/>
                      <a:pt x="1871" y="708"/>
                    </a:cubicBezTo>
                    <a:cubicBezTo>
                      <a:pt x="1876" y="711"/>
                      <a:pt x="1878" y="708"/>
                      <a:pt x="1880" y="711"/>
                    </a:cubicBezTo>
                    <a:cubicBezTo>
                      <a:pt x="1883" y="713"/>
                      <a:pt x="1884" y="711"/>
                      <a:pt x="1884" y="716"/>
                    </a:cubicBezTo>
                    <a:cubicBezTo>
                      <a:pt x="1884" y="720"/>
                      <a:pt x="1887" y="724"/>
                      <a:pt x="1893" y="725"/>
                    </a:cubicBezTo>
                    <a:cubicBezTo>
                      <a:pt x="1898" y="727"/>
                      <a:pt x="1894" y="730"/>
                      <a:pt x="1896" y="734"/>
                    </a:cubicBezTo>
                    <a:cubicBezTo>
                      <a:pt x="1898" y="738"/>
                      <a:pt x="1893" y="743"/>
                      <a:pt x="1894" y="748"/>
                    </a:cubicBezTo>
                    <a:cubicBezTo>
                      <a:pt x="1895" y="752"/>
                      <a:pt x="1892" y="767"/>
                      <a:pt x="1889" y="768"/>
                    </a:cubicBezTo>
                    <a:cubicBezTo>
                      <a:pt x="1886" y="769"/>
                      <a:pt x="1876" y="765"/>
                      <a:pt x="1869" y="766"/>
                    </a:cubicBezTo>
                    <a:cubicBezTo>
                      <a:pt x="1862" y="767"/>
                      <a:pt x="1840" y="765"/>
                      <a:pt x="1832" y="766"/>
                    </a:cubicBezTo>
                    <a:cubicBezTo>
                      <a:pt x="1823" y="766"/>
                      <a:pt x="1823" y="762"/>
                      <a:pt x="1818" y="762"/>
                    </a:cubicBezTo>
                    <a:cubicBezTo>
                      <a:pt x="1813" y="762"/>
                      <a:pt x="1815" y="768"/>
                      <a:pt x="1809" y="768"/>
                    </a:cubicBezTo>
                    <a:cubicBezTo>
                      <a:pt x="1802" y="768"/>
                      <a:pt x="1801" y="772"/>
                      <a:pt x="1806" y="776"/>
                    </a:cubicBezTo>
                    <a:cubicBezTo>
                      <a:pt x="1811" y="780"/>
                      <a:pt x="1806" y="791"/>
                      <a:pt x="1808" y="795"/>
                    </a:cubicBezTo>
                    <a:cubicBezTo>
                      <a:pt x="1811" y="798"/>
                      <a:pt x="1806" y="817"/>
                      <a:pt x="1801" y="822"/>
                    </a:cubicBezTo>
                    <a:cubicBezTo>
                      <a:pt x="1797" y="827"/>
                      <a:pt x="1801" y="828"/>
                      <a:pt x="1806" y="832"/>
                    </a:cubicBezTo>
                    <a:cubicBezTo>
                      <a:pt x="1810" y="835"/>
                      <a:pt x="1807" y="848"/>
                      <a:pt x="1807" y="851"/>
                    </a:cubicBezTo>
                    <a:cubicBezTo>
                      <a:pt x="1807" y="854"/>
                      <a:pt x="1811" y="853"/>
                      <a:pt x="1816" y="853"/>
                    </a:cubicBezTo>
                    <a:cubicBezTo>
                      <a:pt x="1821" y="853"/>
                      <a:pt x="1826" y="849"/>
                      <a:pt x="1831" y="852"/>
                    </a:cubicBezTo>
                    <a:cubicBezTo>
                      <a:pt x="1836" y="854"/>
                      <a:pt x="1838" y="865"/>
                      <a:pt x="1845" y="865"/>
                    </a:cubicBezTo>
                    <a:cubicBezTo>
                      <a:pt x="1847" y="864"/>
                      <a:pt x="1846" y="862"/>
                      <a:pt x="1847" y="861"/>
                    </a:cubicBezTo>
                    <a:cubicBezTo>
                      <a:pt x="1849" y="860"/>
                      <a:pt x="1851" y="861"/>
                      <a:pt x="1854" y="861"/>
                    </a:cubicBezTo>
                    <a:cubicBezTo>
                      <a:pt x="1856" y="861"/>
                      <a:pt x="1858" y="857"/>
                      <a:pt x="1864" y="857"/>
                    </a:cubicBezTo>
                    <a:cubicBezTo>
                      <a:pt x="1870" y="856"/>
                      <a:pt x="1874" y="856"/>
                      <a:pt x="1878" y="856"/>
                    </a:cubicBezTo>
                    <a:cubicBezTo>
                      <a:pt x="1882" y="856"/>
                      <a:pt x="1886" y="855"/>
                      <a:pt x="1887" y="852"/>
                    </a:cubicBezTo>
                    <a:cubicBezTo>
                      <a:pt x="1888" y="849"/>
                      <a:pt x="1891" y="847"/>
                      <a:pt x="1895" y="846"/>
                    </a:cubicBezTo>
                    <a:cubicBezTo>
                      <a:pt x="1900" y="845"/>
                      <a:pt x="1899" y="841"/>
                      <a:pt x="1900" y="838"/>
                    </a:cubicBezTo>
                    <a:cubicBezTo>
                      <a:pt x="1900" y="835"/>
                      <a:pt x="1907" y="831"/>
                      <a:pt x="1908" y="829"/>
                    </a:cubicBezTo>
                    <a:cubicBezTo>
                      <a:pt x="1908" y="827"/>
                      <a:pt x="1904" y="820"/>
                      <a:pt x="1908" y="813"/>
                    </a:cubicBezTo>
                    <a:cubicBezTo>
                      <a:pt x="1913" y="806"/>
                      <a:pt x="1917" y="806"/>
                      <a:pt x="1917" y="802"/>
                    </a:cubicBezTo>
                    <a:cubicBezTo>
                      <a:pt x="1917" y="798"/>
                      <a:pt x="1922" y="797"/>
                      <a:pt x="1928" y="796"/>
                    </a:cubicBezTo>
                    <a:cubicBezTo>
                      <a:pt x="1933" y="796"/>
                      <a:pt x="1935" y="792"/>
                      <a:pt x="1940" y="790"/>
                    </a:cubicBezTo>
                    <a:cubicBezTo>
                      <a:pt x="1945" y="788"/>
                      <a:pt x="1946" y="784"/>
                      <a:pt x="1944" y="778"/>
                    </a:cubicBezTo>
                    <a:cubicBezTo>
                      <a:pt x="1942" y="771"/>
                      <a:pt x="1948" y="767"/>
                      <a:pt x="1953" y="766"/>
                    </a:cubicBezTo>
                    <a:cubicBezTo>
                      <a:pt x="1959" y="766"/>
                      <a:pt x="1971" y="769"/>
                      <a:pt x="1974" y="771"/>
                    </a:cubicBezTo>
                    <a:cubicBezTo>
                      <a:pt x="1977" y="773"/>
                      <a:pt x="1982" y="772"/>
                      <a:pt x="1987" y="767"/>
                    </a:cubicBezTo>
                    <a:cubicBezTo>
                      <a:pt x="1993" y="761"/>
                      <a:pt x="1996" y="762"/>
                      <a:pt x="2000" y="760"/>
                    </a:cubicBezTo>
                    <a:cubicBezTo>
                      <a:pt x="2003" y="759"/>
                      <a:pt x="2002" y="755"/>
                      <a:pt x="2007" y="754"/>
                    </a:cubicBezTo>
                    <a:cubicBezTo>
                      <a:pt x="2013" y="752"/>
                      <a:pt x="2021" y="757"/>
                      <a:pt x="2023" y="760"/>
                    </a:cubicBezTo>
                    <a:cubicBezTo>
                      <a:pt x="2026" y="764"/>
                      <a:pt x="2026" y="764"/>
                      <a:pt x="2027" y="767"/>
                    </a:cubicBezTo>
                    <a:cubicBezTo>
                      <a:pt x="2027" y="770"/>
                      <a:pt x="2029" y="776"/>
                      <a:pt x="2037" y="781"/>
                    </a:cubicBezTo>
                    <a:cubicBezTo>
                      <a:pt x="2045" y="786"/>
                      <a:pt x="2049" y="792"/>
                      <a:pt x="2053" y="794"/>
                    </a:cubicBezTo>
                    <a:cubicBezTo>
                      <a:pt x="2057" y="796"/>
                      <a:pt x="2061" y="796"/>
                      <a:pt x="2064" y="799"/>
                    </a:cubicBezTo>
                    <a:cubicBezTo>
                      <a:pt x="2066" y="802"/>
                      <a:pt x="2069" y="803"/>
                      <a:pt x="2073" y="805"/>
                    </a:cubicBezTo>
                    <a:cubicBezTo>
                      <a:pt x="2077" y="807"/>
                      <a:pt x="2078" y="811"/>
                      <a:pt x="2081" y="812"/>
                    </a:cubicBezTo>
                    <a:cubicBezTo>
                      <a:pt x="2085" y="812"/>
                      <a:pt x="2083" y="816"/>
                      <a:pt x="2085" y="818"/>
                    </a:cubicBezTo>
                    <a:cubicBezTo>
                      <a:pt x="2087" y="821"/>
                      <a:pt x="2088" y="827"/>
                      <a:pt x="2086" y="831"/>
                    </a:cubicBezTo>
                    <a:cubicBezTo>
                      <a:pt x="2083" y="834"/>
                      <a:pt x="2084" y="840"/>
                      <a:pt x="2086" y="840"/>
                    </a:cubicBezTo>
                    <a:cubicBezTo>
                      <a:pt x="2088" y="840"/>
                      <a:pt x="2091" y="834"/>
                      <a:pt x="2092" y="830"/>
                    </a:cubicBezTo>
                    <a:cubicBezTo>
                      <a:pt x="2092" y="827"/>
                      <a:pt x="2096" y="827"/>
                      <a:pt x="2098" y="824"/>
                    </a:cubicBezTo>
                    <a:cubicBezTo>
                      <a:pt x="2101" y="820"/>
                      <a:pt x="2094" y="819"/>
                      <a:pt x="2093" y="815"/>
                    </a:cubicBezTo>
                    <a:cubicBezTo>
                      <a:pt x="2092" y="810"/>
                      <a:pt x="2098" y="806"/>
                      <a:pt x="2104" y="810"/>
                    </a:cubicBezTo>
                    <a:cubicBezTo>
                      <a:pt x="2110" y="814"/>
                      <a:pt x="2112" y="816"/>
                      <a:pt x="2112" y="810"/>
                    </a:cubicBezTo>
                    <a:cubicBezTo>
                      <a:pt x="2113" y="805"/>
                      <a:pt x="2094" y="797"/>
                      <a:pt x="2090" y="795"/>
                    </a:cubicBezTo>
                    <a:cubicBezTo>
                      <a:pt x="2086" y="792"/>
                      <a:pt x="2089" y="788"/>
                      <a:pt x="2082" y="788"/>
                    </a:cubicBezTo>
                    <a:cubicBezTo>
                      <a:pt x="2075" y="788"/>
                      <a:pt x="2067" y="780"/>
                      <a:pt x="2064" y="770"/>
                    </a:cubicBezTo>
                    <a:cubicBezTo>
                      <a:pt x="2062" y="760"/>
                      <a:pt x="2051" y="760"/>
                      <a:pt x="2048" y="754"/>
                    </a:cubicBezTo>
                    <a:cubicBezTo>
                      <a:pt x="2046" y="748"/>
                      <a:pt x="2051" y="747"/>
                      <a:pt x="2049" y="742"/>
                    </a:cubicBezTo>
                    <a:cubicBezTo>
                      <a:pt x="2046" y="738"/>
                      <a:pt x="2057" y="734"/>
                      <a:pt x="2061" y="735"/>
                    </a:cubicBezTo>
                    <a:cubicBezTo>
                      <a:pt x="2064" y="736"/>
                      <a:pt x="2062" y="743"/>
                      <a:pt x="2065" y="743"/>
                    </a:cubicBezTo>
                    <a:cubicBezTo>
                      <a:pt x="2068" y="743"/>
                      <a:pt x="2073" y="743"/>
                      <a:pt x="2073" y="747"/>
                    </a:cubicBezTo>
                    <a:cubicBezTo>
                      <a:pt x="2074" y="751"/>
                      <a:pt x="2081" y="760"/>
                      <a:pt x="2083" y="763"/>
                    </a:cubicBezTo>
                    <a:cubicBezTo>
                      <a:pt x="2086" y="766"/>
                      <a:pt x="2092" y="765"/>
                      <a:pt x="2092" y="768"/>
                    </a:cubicBezTo>
                    <a:cubicBezTo>
                      <a:pt x="2093" y="770"/>
                      <a:pt x="2097" y="772"/>
                      <a:pt x="2102" y="773"/>
                    </a:cubicBezTo>
                    <a:cubicBezTo>
                      <a:pt x="2107" y="773"/>
                      <a:pt x="2116" y="782"/>
                      <a:pt x="2121" y="785"/>
                    </a:cubicBezTo>
                    <a:cubicBezTo>
                      <a:pt x="2125" y="787"/>
                      <a:pt x="2127" y="789"/>
                      <a:pt x="2124" y="792"/>
                    </a:cubicBezTo>
                    <a:cubicBezTo>
                      <a:pt x="2121" y="795"/>
                      <a:pt x="2120" y="806"/>
                      <a:pt x="2124" y="809"/>
                    </a:cubicBezTo>
                    <a:cubicBezTo>
                      <a:pt x="2127" y="812"/>
                      <a:pt x="2128" y="818"/>
                      <a:pt x="2132" y="819"/>
                    </a:cubicBezTo>
                    <a:cubicBezTo>
                      <a:pt x="2136" y="820"/>
                      <a:pt x="2138" y="824"/>
                      <a:pt x="2138" y="828"/>
                    </a:cubicBezTo>
                    <a:cubicBezTo>
                      <a:pt x="2137" y="833"/>
                      <a:pt x="2143" y="834"/>
                      <a:pt x="2146" y="831"/>
                    </a:cubicBezTo>
                    <a:cubicBezTo>
                      <a:pt x="2149" y="828"/>
                      <a:pt x="2156" y="833"/>
                      <a:pt x="2156" y="835"/>
                    </a:cubicBezTo>
                    <a:cubicBezTo>
                      <a:pt x="2156" y="837"/>
                      <a:pt x="2148" y="833"/>
                      <a:pt x="2144" y="836"/>
                    </a:cubicBezTo>
                    <a:cubicBezTo>
                      <a:pt x="2140" y="839"/>
                      <a:pt x="2147" y="842"/>
                      <a:pt x="2146" y="845"/>
                    </a:cubicBezTo>
                    <a:cubicBezTo>
                      <a:pt x="2145" y="849"/>
                      <a:pt x="2148" y="853"/>
                      <a:pt x="2152" y="853"/>
                    </a:cubicBezTo>
                    <a:cubicBezTo>
                      <a:pt x="2156" y="853"/>
                      <a:pt x="2160" y="859"/>
                      <a:pt x="2163" y="858"/>
                    </a:cubicBezTo>
                    <a:cubicBezTo>
                      <a:pt x="2165" y="857"/>
                      <a:pt x="2160" y="848"/>
                      <a:pt x="2161" y="847"/>
                    </a:cubicBezTo>
                    <a:cubicBezTo>
                      <a:pt x="2162" y="845"/>
                      <a:pt x="2166" y="849"/>
                      <a:pt x="2169" y="846"/>
                    </a:cubicBezTo>
                    <a:cubicBezTo>
                      <a:pt x="2171" y="844"/>
                      <a:pt x="2167" y="842"/>
                      <a:pt x="2163" y="842"/>
                    </a:cubicBezTo>
                    <a:cubicBezTo>
                      <a:pt x="2160" y="842"/>
                      <a:pt x="2163" y="837"/>
                      <a:pt x="2167" y="840"/>
                    </a:cubicBezTo>
                    <a:cubicBezTo>
                      <a:pt x="2172" y="842"/>
                      <a:pt x="2174" y="839"/>
                      <a:pt x="2176" y="839"/>
                    </a:cubicBezTo>
                    <a:cubicBezTo>
                      <a:pt x="2178" y="838"/>
                      <a:pt x="2178" y="831"/>
                      <a:pt x="2172" y="830"/>
                    </a:cubicBezTo>
                    <a:cubicBezTo>
                      <a:pt x="2166" y="828"/>
                      <a:pt x="2167" y="834"/>
                      <a:pt x="2163" y="830"/>
                    </a:cubicBezTo>
                    <a:cubicBezTo>
                      <a:pt x="2159" y="826"/>
                      <a:pt x="2166" y="827"/>
                      <a:pt x="2166" y="824"/>
                    </a:cubicBezTo>
                    <a:cubicBezTo>
                      <a:pt x="2166" y="820"/>
                      <a:pt x="2160" y="815"/>
                      <a:pt x="2157" y="811"/>
                    </a:cubicBezTo>
                    <a:cubicBezTo>
                      <a:pt x="2154" y="807"/>
                      <a:pt x="2161" y="805"/>
                      <a:pt x="2163" y="808"/>
                    </a:cubicBezTo>
                    <a:cubicBezTo>
                      <a:pt x="2165" y="811"/>
                      <a:pt x="2169" y="811"/>
                      <a:pt x="2172" y="809"/>
                    </a:cubicBezTo>
                    <a:cubicBezTo>
                      <a:pt x="2175" y="808"/>
                      <a:pt x="2169" y="803"/>
                      <a:pt x="2174" y="801"/>
                    </a:cubicBezTo>
                    <a:cubicBezTo>
                      <a:pt x="2179" y="799"/>
                      <a:pt x="2179" y="802"/>
                      <a:pt x="2181" y="803"/>
                    </a:cubicBezTo>
                    <a:cubicBezTo>
                      <a:pt x="2183" y="804"/>
                      <a:pt x="2184" y="799"/>
                      <a:pt x="2189" y="799"/>
                    </a:cubicBezTo>
                    <a:cubicBezTo>
                      <a:pt x="2195" y="799"/>
                      <a:pt x="2199" y="806"/>
                      <a:pt x="2204" y="806"/>
                    </a:cubicBezTo>
                    <a:cubicBezTo>
                      <a:pt x="2208" y="806"/>
                      <a:pt x="2210" y="801"/>
                      <a:pt x="2214" y="799"/>
                    </a:cubicBezTo>
                    <a:cubicBezTo>
                      <a:pt x="2218" y="798"/>
                      <a:pt x="2227" y="800"/>
                      <a:pt x="2229" y="798"/>
                    </a:cubicBezTo>
                    <a:cubicBezTo>
                      <a:pt x="2231" y="796"/>
                      <a:pt x="2224" y="793"/>
                      <a:pt x="2221" y="791"/>
                    </a:cubicBezTo>
                    <a:cubicBezTo>
                      <a:pt x="2218" y="789"/>
                      <a:pt x="2218" y="783"/>
                      <a:pt x="2216" y="782"/>
                    </a:cubicBezTo>
                    <a:cubicBezTo>
                      <a:pt x="2215" y="782"/>
                      <a:pt x="2212" y="774"/>
                      <a:pt x="2214" y="774"/>
                    </a:cubicBezTo>
                    <a:cubicBezTo>
                      <a:pt x="2216" y="773"/>
                      <a:pt x="2219" y="765"/>
                      <a:pt x="2223" y="764"/>
                    </a:cubicBezTo>
                    <a:cubicBezTo>
                      <a:pt x="2227" y="763"/>
                      <a:pt x="2225" y="759"/>
                      <a:pt x="2225" y="756"/>
                    </a:cubicBezTo>
                    <a:cubicBezTo>
                      <a:pt x="2226" y="752"/>
                      <a:pt x="2228" y="747"/>
                      <a:pt x="2231" y="747"/>
                    </a:cubicBezTo>
                    <a:cubicBezTo>
                      <a:pt x="2235" y="746"/>
                      <a:pt x="2237" y="746"/>
                      <a:pt x="2237" y="741"/>
                    </a:cubicBezTo>
                    <a:cubicBezTo>
                      <a:pt x="2236" y="735"/>
                      <a:pt x="2237" y="735"/>
                      <a:pt x="2242" y="732"/>
                    </a:cubicBezTo>
                    <a:cubicBezTo>
                      <a:pt x="2247" y="728"/>
                      <a:pt x="2248" y="721"/>
                      <a:pt x="2252" y="720"/>
                    </a:cubicBezTo>
                    <a:cubicBezTo>
                      <a:pt x="2256" y="719"/>
                      <a:pt x="2258" y="717"/>
                      <a:pt x="2264" y="718"/>
                    </a:cubicBezTo>
                    <a:cubicBezTo>
                      <a:pt x="2271" y="719"/>
                      <a:pt x="2261" y="723"/>
                      <a:pt x="2266" y="726"/>
                    </a:cubicBezTo>
                    <a:cubicBezTo>
                      <a:pt x="2270" y="728"/>
                      <a:pt x="2283" y="725"/>
                      <a:pt x="2284" y="728"/>
                    </a:cubicBezTo>
                    <a:cubicBezTo>
                      <a:pt x="2285" y="732"/>
                      <a:pt x="2269" y="735"/>
                      <a:pt x="2269" y="737"/>
                    </a:cubicBezTo>
                    <a:cubicBezTo>
                      <a:pt x="2269" y="738"/>
                      <a:pt x="2277" y="740"/>
                      <a:pt x="2280" y="742"/>
                    </a:cubicBezTo>
                    <a:cubicBezTo>
                      <a:pt x="2283" y="744"/>
                      <a:pt x="2279" y="749"/>
                      <a:pt x="2281" y="751"/>
                    </a:cubicBezTo>
                    <a:cubicBezTo>
                      <a:pt x="2282" y="752"/>
                      <a:pt x="2286" y="751"/>
                      <a:pt x="2290" y="748"/>
                    </a:cubicBezTo>
                    <a:cubicBezTo>
                      <a:pt x="2293" y="746"/>
                      <a:pt x="2296" y="747"/>
                      <a:pt x="2301" y="744"/>
                    </a:cubicBezTo>
                    <a:cubicBezTo>
                      <a:pt x="2305" y="741"/>
                      <a:pt x="2315" y="743"/>
                      <a:pt x="2316" y="742"/>
                    </a:cubicBezTo>
                    <a:cubicBezTo>
                      <a:pt x="2317" y="740"/>
                      <a:pt x="2313" y="738"/>
                      <a:pt x="2304" y="739"/>
                    </a:cubicBezTo>
                    <a:cubicBezTo>
                      <a:pt x="2296" y="739"/>
                      <a:pt x="2295" y="731"/>
                      <a:pt x="2295" y="729"/>
                    </a:cubicBezTo>
                    <a:cubicBezTo>
                      <a:pt x="2295" y="728"/>
                      <a:pt x="2304" y="721"/>
                      <a:pt x="2309" y="720"/>
                    </a:cubicBezTo>
                    <a:cubicBezTo>
                      <a:pt x="2315" y="720"/>
                      <a:pt x="2319" y="718"/>
                      <a:pt x="2324" y="716"/>
                    </a:cubicBezTo>
                    <a:cubicBezTo>
                      <a:pt x="2329" y="714"/>
                      <a:pt x="2343" y="711"/>
                      <a:pt x="2344" y="713"/>
                    </a:cubicBezTo>
                    <a:cubicBezTo>
                      <a:pt x="2345" y="715"/>
                      <a:pt x="2333" y="721"/>
                      <a:pt x="2330" y="721"/>
                    </a:cubicBezTo>
                    <a:cubicBezTo>
                      <a:pt x="2328" y="722"/>
                      <a:pt x="2335" y="726"/>
                      <a:pt x="2335" y="728"/>
                    </a:cubicBezTo>
                    <a:cubicBezTo>
                      <a:pt x="2335" y="730"/>
                      <a:pt x="2327" y="730"/>
                      <a:pt x="2328" y="734"/>
                    </a:cubicBezTo>
                    <a:cubicBezTo>
                      <a:pt x="2329" y="738"/>
                      <a:pt x="2326" y="739"/>
                      <a:pt x="2322" y="739"/>
                    </a:cubicBezTo>
                    <a:cubicBezTo>
                      <a:pt x="2318" y="739"/>
                      <a:pt x="2317" y="741"/>
                      <a:pt x="2319" y="742"/>
                    </a:cubicBezTo>
                    <a:cubicBezTo>
                      <a:pt x="2321" y="742"/>
                      <a:pt x="2321" y="747"/>
                      <a:pt x="2328" y="749"/>
                    </a:cubicBezTo>
                    <a:cubicBezTo>
                      <a:pt x="2335" y="751"/>
                      <a:pt x="2343" y="757"/>
                      <a:pt x="2349" y="764"/>
                    </a:cubicBezTo>
                    <a:cubicBezTo>
                      <a:pt x="2355" y="771"/>
                      <a:pt x="2368" y="768"/>
                      <a:pt x="2369" y="776"/>
                    </a:cubicBezTo>
                    <a:cubicBezTo>
                      <a:pt x="2371" y="784"/>
                      <a:pt x="2375" y="781"/>
                      <a:pt x="2373" y="788"/>
                    </a:cubicBezTo>
                    <a:cubicBezTo>
                      <a:pt x="2372" y="795"/>
                      <a:pt x="2354" y="800"/>
                      <a:pt x="2350" y="799"/>
                    </a:cubicBezTo>
                    <a:cubicBezTo>
                      <a:pt x="2345" y="797"/>
                      <a:pt x="2337" y="799"/>
                      <a:pt x="2330" y="799"/>
                    </a:cubicBezTo>
                    <a:cubicBezTo>
                      <a:pt x="2324" y="799"/>
                      <a:pt x="2322" y="794"/>
                      <a:pt x="2317" y="795"/>
                    </a:cubicBezTo>
                    <a:cubicBezTo>
                      <a:pt x="2312" y="795"/>
                      <a:pt x="2312" y="790"/>
                      <a:pt x="2307" y="790"/>
                    </a:cubicBezTo>
                    <a:cubicBezTo>
                      <a:pt x="2302" y="790"/>
                      <a:pt x="2306" y="788"/>
                      <a:pt x="2290" y="786"/>
                    </a:cubicBezTo>
                    <a:cubicBezTo>
                      <a:pt x="2274" y="784"/>
                      <a:pt x="2261" y="792"/>
                      <a:pt x="2256" y="796"/>
                    </a:cubicBezTo>
                    <a:cubicBezTo>
                      <a:pt x="2251" y="801"/>
                      <a:pt x="2233" y="796"/>
                      <a:pt x="2231" y="798"/>
                    </a:cubicBezTo>
                    <a:cubicBezTo>
                      <a:pt x="2230" y="799"/>
                      <a:pt x="2232" y="804"/>
                      <a:pt x="2226" y="806"/>
                    </a:cubicBezTo>
                    <a:cubicBezTo>
                      <a:pt x="2220" y="809"/>
                      <a:pt x="2206" y="806"/>
                      <a:pt x="2202" y="808"/>
                    </a:cubicBezTo>
                    <a:cubicBezTo>
                      <a:pt x="2197" y="810"/>
                      <a:pt x="2196" y="817"/>
                      <a:pt x="2200" y="817"/>
                    </a:cubicBezTo>
                    <a:cubicBezTo>
                      <a:pt x="2203" y="816"/>
                      <a:pt x="2205" y="818"/>
                      <a:pt x="2204" y="820"/>
                    </a:cubicBezTo>
                    <a:cubicBezTo>
                      <a:pt x="2203" y="821"/>
                      <a:pt x="2207" y="826"/>
                      <a:pt x="2205" y="828"/>
                    </a:cubicBezTo>
                    <a:cubicBezTo>
                      <a:pt x="2203" y="830"/>
                      <a:pt x="2203" y="834"/>
                      <a:pt x="2206" y="836"/>
                    </a:cubicBezTo>
                    <a:cubicBezTo>
                      <a:pt x="2208" y="838"/>
                      <a:pt x="2209" y="842"/>
                      <a:pt x="2206" y="842"/>
                    </a:cubicBezTo>
                    <a:cubicBezTo>
                      <a:pt x="2202" y="843"/>
                      <a:pt x="2211" y="846"/>
                      <a:pt x="2211" y="848"/>
                    </a:cubicBezTo>
                    <a:cubicBezTo>
                      <a:pt x="2211" y="850"/>
                      <a:pt x="2219" y="850"/>
                      <a:pt x="2219" y="852"/>
                    </a:cubicBezTo>
                    <a:cubicBezTo>
                      <a:pt x="2219" y="854"/>
                      <a:pt x="2221" y="855"/>
                      <a:pt x="2224" y="854"/>
                    </a:cubicBezTo>
                    <a:cubicBezTo>
                      <a:pt x="2228" y="853"/>
                      <a:pt x="2229" y="858"/>
                      <a:pt x="2231" y="861"/>
                    </a:cubicBezTo>
                    <a:cubicBezTo>
                      <a:pt x="2233" y="865"/>
                      <a:pt x="2246" y="862"/>
                      <a:pt x="2246" y="859"/>
                    </a:cubicBezTo>
                    <a:cubicBezTo>
                      <a:pt x="2246" y="855"/>
                      <a:pt x="2249" y="854"/>
                      <a:pt x="2255" y="854"/>
                    </a:cubicBezTo>
                    <a:cubicBezTo>
                      <a:pt x="2260" y="855"/>
                      <a:pt x="2268" y="862"/>
                      <a:pt x="2270" y="863"/>
                    </a:cubicBezTo>
                    <a:cubicBezTo>
                      <a:pt x="2273" y="864"/>
                      <a:pt x="2278" y="861"/>
                      <a:pt x="2282" y="861"/>
                    </a:cubicBezTo>
                    <a:cubicBezTo>
                      <a:pt x="2285" y="861"/>
                      <a:pt x="2290" y="856"/>
                      <a:pt x="2292" y="855"/>
                    </a:cubicBezTo>
                    <a:cubicBezTo>
                      <a:pt x="2294" y="854"/>
                      <a:pt x="2298" y="859"/>
                      <a:pt x="2301" y="857"/>
                    </a:cubicBezTo>
                    <a:cubicBezTo>
                      <a:pt x="2304" y="855"/>
                      <a:pt x="2308" y="853"/>
                      <a:pt x="2310" y="855"/>
                    </a:cubicBezTo>
                    <a:cubicBezTo>
                      <a:pt x="2312" y="856"/>
                      <a:pt x="2305" y="861"/>
                      <a:pt x="2307" y="864"/>
                    </a:cubicBezTo>
                    <a:cubicBezTo>
                      <a:pt x="2309" y="866"/>
                      <a:pt x="2305" y="871"/>
                      <a:pt x="2307" y="873"/>
                    </a:cubicBezTo>
                    <a:cubicBezTo>
                      <a:pt x="2309" y="876"/>
                      <a:pt x="2306" y="879"/>
                      <a:pt x="2306" y="883"/>
                    </a:cubicBezTo>
                    <a:cubicBezTo>
                      <a:pt x="2306" y="887"/>
                      <a:pt x="2297" y="898"/>
                      <a:pt x="2296" y="905"/>
                    </a:cubicBezTo>
                    <a:cubicBezTo>
                      <a:pt x="2295" y="912"/>
                      <a:pt x="2287" y="926"/>
                      <a:pt x="2286" y="927"/>
                    </a:cubicBezTo>
                    <a:cubicBezTo>
                      <a:pt x="2284" y="928"/>
                      <a:pt x="2279" y="925"/>
                      <a:pt x="2274" y="926"/>
                    </a:cubicBezTo>
                    <a:cubicBezTo>
                      <a:pt x="2268" y="928"/>
                      <a:pt x="2264" y="926"/>
                      <a:pt x="2259" y="923"/>
                    </a:cubicBezTo>
                    <a:cubicBezTo>
                      <a:pt x="2254" y="921"/>
                      <a:pt x="2238" y="924"/>
                      <a:pt x="2236" y="927"/>
                    </a:cubicBezTo>
                    <a:cubicBezTo>
                      <a:pt x="2234" y="930"/>
                      <a:pt x="2228" y="930"/>
                      <a:pt x="2223" y="928"/>
                    </a:cubicBezTo>
                    <a:cubicBezTo>
                      <a:pt x="2218" y="926"/>
                      <a:pt x="2212" y="923"/>
                      <a:pt x="2203" y="922"/>
                    </a:cubicBezTo>
                    <a:cubicBezTo>
                      <a:pt x="2193" y="922"/>
                      <a:pt x="2186" y="920"/>
                      <a:pt x="2185" y="918"/>
                    </a:cubicBezTo>
                    <a:cubicBezTo>
                      <a:pt x="2184" y="916"/>
                      <a:pt x="2180" y="915"/>
                      <a:pt x="2170" y="914"/>
                    </a:cubicBezTo>
                    <a:cubicBezTo>
                      <a:pt x="2160" y="912"/>
                      <a:pt x="2164" y="906"/>
                      <a:pt x="2153" y="905"/>
                    </a:cubicBezTo>
                    <a:cubicBezTo>
                      <a:pt x="2142" y="904"/>
                      <a:pt x="2128" y="913"/>
                      <a:pt x="2128" y="918"/>
                    </a:cubicBezTo>
                    <a:cubicBezTo>
                      <a:pt x="2128" y="923"/>
                      <a:pt x="2133" y="928"/>
                      <a:pt x="2129" y="933"/>
                    </a:cubicBezTo>
                    <a:cubicBezTo>
                      <a:pt x="2126" y="937"/>
                      <a:pt x="2118" y="938"/>
                      <a:pt x="2112" y="933"/>
                    </a:cubicBezTo>
                    <a:cubicBezTo>
                      <a:pt x="2106" y="928"/>
                      <a:pt x="2098" y="925"/>
                      <a:pt x="2091" y="925"/>
                    </a:cubicBezTo>
                    <a:cubicBezTo>
                      <a:pt x="2084" y="925"/>
                      <a:pt x="2079" y="921"/>
                      <a:pt x="2080" y="917"/>
                    </a:cubicBezTo>
                    <a:cubicBezTo>
                      <a:pt x="2080" y="914"/>
                      <a:pt x="2078" y="912"/>
                      <a:pt x="2073" y="911"/>
                    </a:cubicBezTo>
                    <a:cubicBezTo>
                      <a:pt x="2067" y="910"/>
                      <a:pt x="2062" y="905"/>
                      <a:pt x="2052" y="907"/>
                    </a:cubicBezTo>
                    <a:cubicBezTo>
                      <a:pt x="2042" y="908"/>
                      <a:pt x="2035" y="901"/>
                      <a:pt x="2035" y="899"/>
                    </a:cubicBezTo>
                    <a:cubicBezTo>
                      <a:pt x="2035" y="897"/>
                      <a:pt x="2032" y="893"/>
                      <a:pt x="2030" y="895"/>
                    </a:cubicBezTo>
                    <a:cubicBezTo>
                      <a:pt x="2028" y="897"/>
                      <a:pt x="2022" y="896"/>
                      <a:pt x="2021" y="891"/>
                    </a:cubicBezTo>
                    <a:cubicBezTo>
                      <a:pt x="2020" y="887"/>
                      <a:pt x="2025" y="887"/>
                      <a:pt x="2030" y="884"/>
                    </a:cubicBezTo>
                    <a:cubicBezTo>
                      <a:pt x="2035" y="880"/>
                      <a:pt x="2035" y="872"/>
                      <a:pt x="2030" y="868"/>
                    </a:cubicBezTo>
                    <a:cubicBezTo>
                      <a:pt x="2025" y="864"/>
                      <a:pt x="2029" y="862"/>
                      <a:pt x="2032" y="859"/>
                    </a:cubicBezTo>
                    <a:cubicBezTo>
                      <a:pt x="2036" y="855"/>
                      <a:pt x="2033" y="853"/>
                      <a:pt x="2031" y="855"/>
                    </a:cubicBezTo>
                    <a:cubicBezTo>
                      <a:pt x="2029" y="856"/>
                      <a:pt x="2026" y="857"/>
                      <a:pt x="2026" y="853"/>
                    </a:cubicBezTo>
                    <a:cubicBezTo>
                      <a:pt x="2025" y="849"/>
                      <a:pt x="2014" y="848"/>
                      <a:pt x="2010" y="852"/>
                    </a:cubicBezTo>
                    <a:cubicBezTo>
                      <a:pt x="2006" y="856"/>
                      <a:pt x="1995" y="852"/>
                      <a:pt x="1993" y="852"/>
                    </a:cubicBezTo>
                    <a:cubicBezTo>
                      <a:pt x="1991" y="851"/>
                      <a:pt x="1986" y="853"/>
                      <a:pt x="1982" y="853"/>
                    </a:cubicBezTo>
                    <a:cubicBezTo>
                      <a:pt x="1978" y="853"/>
                      <a:pt x="1969" y="859"/>
                      <a:pt x="1966" y="856"/>
                    </a:cubicBezTo>
                    <a:cubicBezTo>
                      <a:pt x="1963" y="853"/>
                      <a:pt x="1933" y="858"/>
                      <a:pt x="1924" y="858"/>
                    </a:cubicBezTo>
                    <a:cubicBezTo>
                      <a:pt x="1915" y="859"/>
                      <a:pt x="1912" y="868"/>
                      <a:pt x="1906" y="868"/>
                    </a:cubicBezTo>
                    <a:cubicBezTo>
                      <a:pt x="1901" y="868"/>
                      <a:pt x="1893" y="872"/>
                      <a:pt x="1889" y="877"/>
                    </a:cubicBezTo>
                    <a:cubicBezTo>
                      <a:pt x="1884" y="882"/>
                      <a:pt x="1877" y="876"/>
                      <a:pt x="1871" y="876"/>
                    </a:cubicBezTo>
                    <a:cubicBezTo>
                      <a:pt x="1866" y="876"/>
                      <a:pt x="1857" y="879"/>
                      <a:pt x="1852" y="874"/>
                    </a:cubicBezTo>
                    <a:cubicBezTo>
                      <a:pt x="1848" y="869"/>
                      <a:pt x="1845" y="867"/>
                      <a:pt x="1842" y="869"/>
                    </a:cubicBezTo>
                    <a:cubicBezTo>
                      <a:pt x="1839" y="870"/>
                      <a:pt x="1833" y="887"/>
                      <a:pt x="1829" y="892"/>
                    </a:cubicBezTo>
                    <a:cubicBezTo>
                      <a:pt x="1826" y="897"/>
                      <a:pt x="1817" y="900"/>
                      <a:pt x="1812" y="900"/>
                    </a:cubicBezTo>
                    <a:cubicBezTo>
                      <a:pt x="1808" y="900"/>
                      <a:pt x="1807" y="907"/>
                      <a:pt x="1804" y="910"/>
                    </a:cubicBezTo>
                    <a:cubicBezTo>
                      <a:pt x="1800" y="913"/>
                      <a:pt x="1802" y="917"/>
                      <a:pt x="1797" y="920"/>
                    </a:cubicBezTo>
                    <a:cubicBezTo>
                      <a:pt x="1793" y="924"/>
                      <a:pt x="1795" y="934"/>
                      <a:pt x="1797" y="938"/>
                    </a:cubicBezTo>
                    <a:cubicBezTo>
                      <a:pt x="1800" y="941"/>
                      <a:pt x="1790" y="953"/>
                      <a:pt x="1784" y="956"/>
                    </a:cubicBezTo>
                    <a:cubicBezTo>
                      <a:pt x="1778" y="959"/>
                      <a:pt x="1777" y="966"/>
                      <a:pt x="1768" y="967"/>
                    </a:cubicBezTo>
                    <a:cubicBezTo>
                      <a:pt x="1759" y="969"/>
                      <a:pt x="1755" y="976"/>
                      <a:pt x="1753" y="982"/>
                    </a:cubicBezTo>
                    <a:cubicBezTo>
                      <a:pt x="1751" y="987"/>
                      <a:pt x="1739" y="995"/>
                      <a:pt x="1738" y="1002"/>
                    </a:cubicBezTo>
                    <a:cubicBezTo>
                      <a:pt x="1738" y="1010"/>
                      <a:pt x="1726" y="1021"/>
                      <a:pt x="1718" y="1037"/>
                    </a:cubicBezTo>
                    <a:cubicBezTo>
                      <a:pt x="1711" y="1053"/>
                      <a:pt x="1718" y="1057"/>
                      <a:pt x="1721" y="1061"/>
                    </a:cubicBezTo>
                    <a:cubicBezTo>
                      <a:pt x="1725" y="1065"/>
                      <a:pt x="1719" y="1072"/>
                      <a:pt x="1724" y="1079"/>
                    </a:cubicBezTo>
                    <a:cubicBezTo>
                      <a:pt x="1729" y="1086"/>
                      <a:pt x="1723" y="1097"/>
                      <a:pt x="1720" y="1101"/>
                    </a:cubicBezTo>
                    <a:cubicBezTo>
                      <a:pt x="1718" y="1105"/>
                      <a:pt x="1719" y="1114"/>
                      <a:pt x="1716" y="1120"/>
                    </a:cubicBezTo>
                    <a:cubicBezTo>
                      <a:pt x="1712" y="1125"/>
                      <a:pt x="1717" y="1133"/>
                      <a:pt x="1720" y="1136"/>
                    </a:cubicBezTo>
                    <a:cubicBezTo>
                      <a:pt x="1723" y="1138"/>
                      <a:pt x="1716" y="1146"/>
                      <a:pt x="1720" y="1150"/>
                    </a:cubicBezTo>
                    <a:cubicBezTo>
                      <a:pt x="1724" y="1155"/>
                      <a:pt x="1724" y="1157"/>
                      <a:pt x="1731" y="1158"/>
                    </a:cubicBezTo>
                    <a:cubicBezTo>
                      <a:pt x="1737" y="1160"/>
                      <a:pt x="1730" y="1164"/>
                      <a:pt x="1735" y="1167"/>
                    </a:cubicBezTo>
                    <a:cubicBezTo>
                      <a:pt x="1741" y="1170"/>
                      <a:pt x="1740" y="1174"/>
                      <a:pt x="1745" y="1178"/>
                    </a:cubicBezTo>
                    <a:cubicBezTo>
                      <a:pt x="1750" y="1181"/>
                      <a:pt x="1756" y="1187"/>
                      <a:pt x="1759" y="1196"/>
                    </a:cubicBezTo>
                    <a:cubicBezTo>
                      <a:pt x="1762" y="1205"/>
                      <a:pt x="1764" y="1207"/>
                      <a:pt x="1768" y="1210"/>
                    </a:cubicBezTo>
                    <a:cubicBezTo>
                      <a:pt x="1772" y="1213"/>
                      <a:pt x="1784" y="1220"/>
                      <a:pt x="1792" y="1226"/>
                    </a:cubicBezTo>
                    <a:cubicBezTo>
                      <a:pt x="1800" y="1232"/>
                      <a:pt x="1812" y="1240"/>
                      <a:pt x="1818" y="1242"/>
                    </a:cubicBezTo>
                    <a:cubicBezTo>
                      <a:pt x="1824" y="1244"/>
                      <a:pt x="1838" y="1238"/>
                      <a:pt x="1854" y="1235"/>
                    </a:cubicBezTo>
                    <a:cubicBezTo>
                      <a:pt x="1871" y="1233"/>
                      <a:pt x="1882" y="1239"/>
                      <a:pt x="1884" y="1240"/>
                    </a:cubicBezTo>
                    <a:cubicBezTo>
                      <a:pt x="1886" y="1240"/>
                      <a:pt x="1901" y="1234"/>
                      <a:pt x="1906" y="1231"/>
                    </a:cubicBezTo>
                    <a:cubicBezTo>
                      <a:pt x="1912" y="1228"/>
                      <a:pt x="1918" y="1227"/>
                      <a:pt x="1922" y="1224"/>
                    </a:cubicBezTo>
                    <a:cubicBezTo>
                      <a:pt x="1925" y="1221"/>
                      <a:pt x="1932" y="1221"/>
                      <a:pt x="1935" y="1221"/>
                    </a:cubicBezTo>
                    <a:cubicBezTo>
                      <a:pt x="1939" y="1221"/>
                      <a:pt x="1941" y="1216"/>
                      <a:pt x="1943" y="1218"/>
                    </a:cubicBezTo>
                    <a:cubicBezTo>
                      <a:pt x="1945" y="1221"/>
                      <a:pt x="1955" y="1222"/>
                      <a:pt x="1960" y="1223"/>
                    </a:cubicBezTo>
                    <a:cubicBezTo>
                      <a:pt x="1965" y="1224"/>
                      <a:pt x="1971" y="1231"/>
                      <a:pt x="1971" y="1234"/>
                    </a:cubicBezTo>
                    <a:cubicBezTo>
                      <a:pt x="1971" y="1237"/>
                      <a:pt x="1974" y="1243"/>
                      <a:pt x="1977" y="1244"/>
                    </a:cubicBezTo>
                    <a:cubicBezTo>
                      <a:pt x="1979" y="1245"/>
                      <a:pt x="1985" y="1241"/>
                      <a:pt x="1988" y="1241"/>
                    </a:cubicBezTo>
                    <a:cubicBezTo>
                      <a:pt x="1991" y="1241"/>
                      <a:pt x="2001" y="1242"/>
                      <a:pt x="2003" y="1240"/>
                    </a:cubicBezTo>
                    <a:cubicBezTo>
                      <a:pt x="2005" y="1238"/>
                      <a:pt x="2007" y="1243"/>
                      <a:pt x="2010" y="1246"/>
                    </a:cubicBezTo>
                    <a:cubicBezTo>
                      <a:pt x="2012" y="1249"/>
                      <a:pt x="2017" y="1247"/>
                      <a:pt x="2018" y="1248"/>
                    </a:cubicBezTo>
                    <a:cubicBezTo>
                      <a:pt x="2020" y="1249"/>
                      <a:pt x="2022" y="1257"/>
                      <a:pt x="2022" y="1259"/>
                    </a:cubicBezTo>
                    <a:cubicBezTo>
                      <a:pt x="2021" y="1261"/>
                      <a:pt x="2018" y="1267"/>
                      <a:pt x="2020" y="1269"/>
                    </a:cubicBezTo>
                    <a:cubicBezTo>
                      <a:pt x="2021" y="1272"/>
                      <a:pt x="2020" y="1275"/>
                      <a:pt x="2017" y="1276"/>
                    </a:cubicBezTo>
                    <a:cubicBezTo>
                      <a:pt x="2013" y="1278"/>
                      <a:pt x="2014" y="1281"/>
                      <a:pt x="2016" y="1281"/>
                    </a:cubicBezTo>
                    <a:cubicBezTo>
                      <a:pt x="2019" y="1281"/>
                      <a:pt x="2016" y="1285"/>
                      <a:pt x="2015" y="1286"/>
                    </a:cubicBezTo>
                    <a:cubicBezTo>
                      <a:pt x="2013" y="1288"/>
                      <a:pt x="2018" y="1290"/>
                      <a:pt x="2019" y="1292"/>
                    </a:cubicBezTo>
                    <a:cubicBezTo>
                      <a:pt x="2020" y="1294"/>
                      <a:pt x="2013" y="1293"/>
                      <a:pt x="2013" y="1297"/>
                    </a:cubicBezTo>
                    <a:cubicBezTo>
                      <a:pt x="2013" y="1300"/>
                      <a:pt x="2011" y="1302"/>
                      <a:pt x="2009" y="1304"/>
                    </a:cubicBezTo>
                    <a:cubicBezTo>
                      <a:pt x="2007" y="1305"/>
                      <a:pt x="2014" y="1312"/>
                      <a:pt x="2014" y="1314"/>
                    </a:cubicBezTo>
                    <a:cubicBezTo>
                      <a:pt x="2014" y="1316"/>
                      <a:pt x="2016" y="1318"/>
                      <a:pt x="2022" y="1324"/>
                    </a:cubicBezTo>
                    <a:cubicBezTo>
                      <a:pt x="2029" y="1330"/>
                      <a:pt x="2025" y="1332"/>
                      <a:pt x="2035" y="1339"/>
                    </a:cubicBezTo>
                    <a:cubicBezTo>
                      <a:pt x="2044" y="1346"/>
                      <a:pt x="2047" y="1356"/>
                      <a:pt x="2048" y="1363"/>
                    </a:cubicBezTo>
                    <a:cubicBezTo>
                      <a:pt x="2050" y="1371"/>
                      <a:pt x="2057" y="1385"/>
                      <a:pt x="2058" y="1388"/>
                    </a:cubicBezTo>
                    <a:cubicBezTo>
                      <a:pt x="2060" y="1391"/>
                      <a:pt x="2057" y="1394"/>
                      <a:pt x="2057" y="1400"/>
                    </a:cubicBezTo>
                    <a:cubicBezTo>
                      <a:pt x="2057" y="1406"/>
                      <a:pt x="2063" y="1416"/>
                      <a:pt x="2064" y="1423"/>
                    </a:cubicBezTo>
                    <a:cubicBezTo>
                      <a:pt x="2064" y="1431"/>
                      <a:pt x="2060" y="1435"/>
                      <a:pt x="2056" y="1440"/>
                    </a:cubicBezTo>
                    <a:cubicBezTo>
                      <a:pt x="2052" y="1444"/>
                      <a:pt x="2047" y="1455"/>
                      <a:pt x="2047" y="1461"/>
                    </a:cubicBezTo>
                    <a:cubicBezTo>
                      <a:pt x="2047" y="1468"/>
                      <a:pt x="2041" y="1474"/>
                      <a:pt x="2042" y="1477"/>
                    </a:cubicBezTo>
                    <a:cubicBezTo>
                      <a:pt x="2042" y="1480"/>
                      <a:pt x="2041" y="1489"/>
                      <a:pt x="2040" y="1492"/>
                    </a:cubicBezTo>
                    <a:cubicBezTo>
                      <a:pt x="2039" y="1496"/>
                      <a:pt x="2043" y="1502"/>
                      <a:pt x="2046" y="1508"/>
                    </a:cubicBezTo>
                    <a:cubicBezTo>
                      <a:pt x="2050" y="1513"/>
                      <a:pt x="2055" y="1522"/>
                      <a:pt x="2057" y="1531"/>
                    </a:cubicBezTo>
                    <a:cubicBezTo>
                      <a:pt x="2060" y="1539"/>
                      <a:pt x="2067" y="1548"/>
                      <a:pt x="2069" y="1554"/>
                    </a:cubicBezTo>
                    <a:cubicBezTo>
                      <a:pt x="2071" y="1560"/>
                      <a:pt x="2068" y="1569"/>
                      <a:pt x="2069" y="1573"/>
                    </a:cubicBezTo>
                    <a:cubicBezTo>
                      <a:pt x="2071" y="1577"/>
                      <a:pt x="2072" y="1584"/>
                      <a:pt x="2073" y="1591"/>
                    </a:cubicBezTo>
                    <a:cubicBezTo>
                      <a:pt x="2074" y="1598"/>
                      <a:pt x="2075" y="1612"/>
                      <a:pt x="2081" y="1618"/>
                    </a:cubicBezTo>
                    <a:cubicBezTo>
                      <a:pt x="2087" y="1624"/>
                      <a:pt x="2094" y="1636"/>
                      <a:pt x="2097" y="1645"/>
                    </a:cubicBezTo>
                    <a:cubicBezTo>
                      <a:pt x="2099" y="1654"/>
                      <a:pt x="2106" y="1662"/>
                      <a:pt x="2107" y="1667"/>
                    </a:cubicBezTo>
                    <a:cubicBezTo>
                      <a:pt x="2109" y="1673"/>
                      <a:pt x="2111" y="1677"/>
                      <a:pt x="2107" y="1678"/>
                    </a:cubicBezTo>
                    <a:cubicBezTo>
                      <a:pt x="2104" y="1678"/>
                      <a:pt x="2104" y="1681"/>
                      <a:pt x="2108" y="1687"/>
                    </a:cubicBezTo>
                    <a:cubicBezTo>
                      <a:pt x="2111" y="1693"/>
                      <a:pt x="2108" y="1696"/>
                      <a:pt x="2111" y="1697"/>
                    </a:cubicBezTo>
                    <a:cubicBezTo>
                      <a:pt x="2114" y="1697"/>
                      <a:pt x="2113" y="1699"/>
                      <a:pt x="2116" y="1700"/>
                    </a:cubicBezTo>
                    <a:cubicBezTo>
                      <a:pt x="2118" y="1700"/>
                      <a:pt x="2120" y="1702"/>
                      <a:pt x="2122" y="1704"/>
                    </a:cubicBezTo>
                    <a:cubicBezTo>
                      <a:pt x="2124" y="1707"/>
                      <a:pt x="2127" y="1707"/>
                      <a:pt x="2129" y="1704"/>
                    </a:cubicBezTo>
                    <a:cubicBezTo>
                      <a:pt x="2131" y="1701"/>
                      <a:pt x="2137" y="1700"/>
                      <a:pt x="2143" y="1700"/>
                    </a:cubicBezTo>
                    <a:cubicBezTo>
                      <a:pt x="2148" y="1700"/>
                      <a:pt x="2147" y="1698"/>
                      <a:pt x="2153" y="1696"/>
                    </a:cubicBezTo>
                    <a:cubicBezTo>
                      <a:pt x="2159" y="1695"/>
                      <a:pt x="2165" y="1694"/>
                      <a:pt x="2170" y="1696"/>
                    </a:cubicBezTo>
                    <a:cubicBezTo>
                      <a:pt x="2175" y="1698"/>
                      <a:pt x="2179" y="1696"/>
                      <a:pt x="2181" y="1695"/>
                    </a:cubicBezTo>
                    <a:cubicBezTo>
                      <a:pt x="2183" y="1693"/>
                      <a:pt x="2188" y="1697"/>
                      <a:pt x="2188" y="1693"/>
                    </a:cubicBezTo>
                    <a:cubicBezTo>
                      <a:pt x="2189" y="1689"/>
                      <a:pt x="2193" y="1690"/>
                      <a:pt x="2198" y="1690"/>
                    </a:cubicBezTo>
                    <a:cubicBezTo>
                      <a:pt x="2202" y="1690"/>
                      <a:pt x="2212" y="1683"/>
                      <a:pt x="2221" y="1675"/>
                    </a:cubicBezTo>
                    <a:cubicBezTo>
                      <a:pt x="2229" y="1668"/>
                      <a:pt x="2243" y="1650"/>
                      <a:pt x="2248" y="1643"/>
                    </a:cubicBezTo>
                    <a:cubicBezTo>
                      <a:pt x="2252" y="1635"/>
                      <a:pt x="2260" y="1628"/>
                      <a:pt x="2264" y="1625"/>
                    </a:cubicBezTo>
                    <a:cubicBezTo>
                      <a:pt x="2268" y="1621"/>
                      <a:pt x="2269" y="1606"/>
                      <a:pt x="2270" y="1600"/>
                    </a:cubicBezTo>
                    <a:cubicBezTo>
                      <a:pt x="2270" y="1595"/>
                      <a:pt x="2266" y="1599"/>
                      <a:pt x="2265" y="1596"/>
                    </a:cubicBezTo>
                    <a:cubicBezTo>
                      <a:pt x="2264" y="1593"/>
                      <a:pt x="2273" y="1587"/>
                      <a:pt x="2283" y="1583"/>
                    </a:cubicBezTo>
                    <a:cubicBezTo>
                      <a:pt x="2292" y="1580"/>
                      <a:pt x="2296" y="1578"/>
                      <a:pt x="2297" y="1574"/>
                    </a:cubicBezTo>
                    <a:cubicBezTo>
                      <a:pt x="2298" y="1571"/>
                      <a:pt x="2297" y="1562"/>
                      <a:pt x="2298" y="1558"/>
                    </a:cubicBezTo>
                    <a:cubicBezTo>
                      <a:pt x="2299" y="1554"/>
                      <a:pt x="2297" y="1552"/>
                      <a:pt x="2296" y="1544"/>
                    </a:cubicBezTo>
                    <a:cubicBezTo>
                      <a:pt x="2295" y="1535"/>
                      <a:pt x="2292" y="1534"/>
                      <a:pt x="2291" y="1529"/>
                    </a:cubicBezTo>
                    <a:cubicBezTo>
                      <a:pt x="2289" y="1525"/>
                      <a:pt x="2290" y="1521"/>
                      <a:pt x="2292" y="1521"/>
                    </a:cubicBezTo>
                    <a:cubicBezTo>
                      <a:pt x="2295" y="1521"/>
                      <a:pt x="2295" y="1519"/>
                      <a:pt x="2298" y="1515"/>
                    </a:cubicBezTo>
                    <a:cubicBezTo>
                      <a:pt x="2300" y="1510"/>
                      <a:pt x="2303" y="1512"/>
                      <a:pt x="2307" y="1509"/>
                    </a:cubicBezTo>
                    <a:cubicBezTo>
                      <a:pt x="2312" y="1506"/>
                      <a:pt x="2312" y="1501"/>
                      <a:pt x="2319" y="1496"/>
                    </a:cubicBezTo>
                    <a:cubicBezTo>
                      <a:pt x="2326" y="1490"/>
                      <a:pt x="2334" y="1491"/>
                      <a:pt x="2341" y="1486"/>
                    </a:cubicBezTo>
                    <a:cubicBezTo>
                      <a:pt x="2348" y="1482"/>
                      <a:pt x="2360" y="1466"/>
                      <a:pt x="2359" y="1463"/>
                    </a:cubicBezTo>
                    <a:cubicBezTo>
                      <a:pt x="2358" y="1460"/>
                      <a:pt x="2355" y="1446"/>
                      <a:pt x="2356" y="1441"/>
                    </a:cubicBezTo>
                    <a:cubicBezTo>
                      <a:pt x="2357" y="1435"/>
                      <a:pt x="2355" y="1421"/>
                      <a:pt x="2355" y="1414"/>
                    </a:cubicBezTo>
                    <a:cubicBezTo>
                      <a:pt x="2355" y="1407"/>
                      <a:pt x="2347" y="1410"/>
                      <a:pt x="2347" y="1403"/>
                    </a:cubicBezTo>
                    <a:cubicBezTo>
                      <a:pt x="2347" y="1396"/>
                      <a:pt x="2343" y="1396"/>
                      <a:pt x="2343" y="1392"/>
                    </a:cubicBezTo>
                    <a:cubicBezTo>
                      <a:pt x="2343" y="1387"/>
                      <a:pt x="2343" y="1383"/>
                      <a:pt x="2342" y="1382"/>
                    </a:cubicBezTo>
                    <a:cubicBezTo>
                      <a:pt x="2340" y="1382"/>
                      <a:pt x="2341" y="1378"/>
                      <a:pt x="2344" y="1374"/>
                    </a:cubicBezTo>
                    <a:cubicBezTo>
                      <a:pt x="2346" y="1370"/>
                      <a:pt x="2339" y="1369"/>
                      <a:pt x="2338" y="1364"/>
                    </a:cubicBezTo>
                    <a:cubicBezTo>
                      <a:pt x="2336" y="1359"/>
                      <a:pt x="2351" y="1327"/>
                      <a:pt x="2354" y="1323"/>
                    </a:cubicBezTo>
                    <a:cubicBezTo>
                      <a:pt x="2356" y="1319"/>
                      <a:pt x="2359" y="1320"/>
                      <a:pt x="2361" y="1317"/>
                    </a:cubicBezTo>
                    <a:cubicBezTo>
                      <a:pt x="2363" y="1314"/>
                      <a:pt x="2364" y="1318"/>
                      <a:pt x="2367" y="1313"/>
                    </a:cubicBezTo>
                    <a:cubicBezTo>
                      <a:pt x="2370" y="1308"/>
                      <a:pt x="2383" y="1295"/>
                      <a:pt x="2393" y="1285"/>
                    </a:cubicBezTo>
                    <a:cubicBezTo>
                      <a:pt x="2402" y="1275"/>
                      <a:pt x="2407" y="1273"/>
                      <a:pt x="2413" y="1270"/>
                    </a:cubicBezTo>
                    <a:cubicBezTo>
                      <a:pt x="2418" y="1267"/>
                      <a:pt x="2431" y="1254"/>
                      <a:pt x="2441" y="1243"/>
                    </a:cubicBezTo>
                    <a:cubicBezTo>
                      <a:pt x="2446" y="1235"/>
                      <a:pt x="2453" y="1227"/>
                      <a:pt x="2454" y="1222"/>
                    </a:cubicBezTo>
                    <a:cubicBezTo>
                      <a:pt x="2454" y="1216"/>
                      <a:pt x="2460" y="1209"/>
                      <a:pt x="2464" y="1204"/>
                    </a:cubicBezTo>
                    <a:cubicBezTo>
                      <a:pt x="2468" y="1199"/>
                      <a:pt x="2474" y="1186"/>
                      <a:pt x="2474" y="1182"/>
                    </a:cubicBezTo>
                    <a:cubicBezTo>
                      <a:pt x="2474" y="1178"/>
                      <a:pt x="2478" y="1169"/>
                      <a:pt x="2478" y="1162"/>
                    </a:cubicBezTo>
                    <a:cubicBezTo>
                      <a:pt x="2479" y="1155"/>
                      <a:pt x="2473" y="1154"/>
                      <a:pt x="2471" y="1158"/>
                    </a:cubicBezTo>
                    <a:cubicBezTo>
                      <a:pt x="2469" y="1162"/>
                      <a:pt x="2455" y="1165"/>
                      <a:pt x="2445" y="1165"/>
                    </a:cubicBezTo>
                    <a:cubicBezTo>
                      <a:pt x="2436" y="1165"/>
                      <a:pt x="2431" y="1166"/>
                      <a:pt x="2427" y="1169"/>
                    </a:cubicBezTo>
                    <a:cubicBezTo>
                      <a:pt x="2424" y="1173"/>
                      <a:pt x="2416" y="1169"/>
                      <a:pt x="2413" y="1172"/>
                    </a:cubicBezTo>
                    <a:cubicBezTo>
                      <a:pt x="2410" y="1176"/>
                      <a:pt x="2398" y="1179"/>
                      <a:pt x="2394" y="1171"/>
                    </a:cubicBezTo>
                    <a:cubicBezTo>
                      <a:pt x="2390" y="1163"/>
                      <a:pt x="2383" y="1163"/>
                      <a:pt x="2382" y="1162"/>
                    </a:cubicBezTo>
                    <a:cubicBezTo>
                      <a:pt x="2381" y="1160"/>
                      <a:pt x="2386" y="1157"/>
                      <a:pt x="2389" y="1156"/>
                    </a:cubicBezTo>
                    <a:cubicBezTo>
                      <a:pt x="2392" y="1156"/>
                      <a:pt x="2390" y="1152"/>
                      <a:pt x="2388" y="1150"/>
                    </a:cubicBezTo>
                    <a:cubicBezTo>
                      <a:pt x="2385" y="1147"/>
                      <a:pt x="2381" y="1143"/>
                      <a:pt x="2374" y="1135"/>
                    </a:cubicBezTo>
                    <a:cubicBezTo>
                      <a:pt x="2368" y="1127"/>
                      <a:pt x="2360" y="1123"/>
                      <a:pt x="2356" y="1123"/>
                    </a:cubicBezTo>
                    <a:cubicBezTo>
                      <a:pt x="2352" y="1123"/>
                      <a:pt x="2352" y="1116"/>
                      <a:pt x="2349" y="1115"/>
                    </a:cubicBezTo>
                    <a:cubicBezTo>
                      <a:pt x="2347" y="1115"/>
                      <a:pt x="2341" y="1105"/>
                      <a:pt x="2341" y="1099"/>
                    </a:cubicBezTo>
                    <a:cubicBezTo>
                      <a:pt x="2341" y="1093"/>
                      <a:pt x="2332" y="1082"/>
                      <a:pt x="2328" y="1080"/>
                    </a:cubicBezTo>
                    <a:cubicBezTo>
                      <a:pt x="2324" y="1078"/>
                      <a:pt x="2321" y="1071"/>
                      <a:pt x="2321" y="1062"/>
                    </a:cubicBezTo>
                    <a:cubicBezTo>
                      <a:pt x="2321" y="1053"/>
                      <a:pt x="2319" y="1046"/>
                      <a:pt x="2318" y="1044"/>
                    </a:cubicBezTo>
                    <a:cubicBezTo>
                      <a:pt x="2318" y="1041"/>
                      <a:pt x="2314" y="1035"/>
                      <a:pt x="2309" y="1032"/>
                    </a:cubicBezTo>
                    <a:cubicBezTo>
                      <a:pt x="2303" y="1029"/>
                      <a:pt x="2301" y="1024"/>
                      <a:pt x="2302" y="1019"/>
                    </a:cubicBezTo>
                    <a:cubicBezTo>
                      <a:pt x="2303" y="1014"/>
                      <a:pt x="2299" y="1014"/>
                      <a:pt x="2297" y="1006"/>
                    </a:cubicBezTo>
                    <a:cubicBezTo>
                      <a:pt x="2295" y="999"/>
                      <a:pt x="2285" y="988"/>
                      <a:pt x="2285" y="983"/>
                    </a:cubicBezTo>
                    <a:cubicBezTo>
                      <a:pt x="2285" y="979"/>
                      <a:pt x="2280" y="977"/>
                      <a:pt x="2280" y="972"/>
                    </a:cubicBezTo>
                    <a:cubicBezTo>
                      <a:pt x="2280" y="967"/>
                      <a:pt x="2277" y="967"/>
                      <a:pt x="2272" y="959"/>
                    </a:cubicBezTo>
                    <a:cubicBezTo>
                      <a:pt x="2267" y="952"/>
                      <a:pt x="2265" y="939"/>
                      <a:pt x="2267" y="939"/>
                    </a:cubicBezTo>
                    <a:cubicBezTo>
                      <a:pt x="2268" y="938"/>
                      <a:pt x="2273" y="950"/>
                      <a:pt x="2274" y="953"/>
                    </a:cubicBezTo>
                    <a:cubicBezTo>
                      <a:pt x="2276" y="957"/>
                      <a:pt x="2282" y="968"/>
                      <a:pt x="2286" y="968"/>
                    </a:cubicBezTo>
                    <a:cubicBezTo>
                      <a:pt x="2290" y="968"/>
                      <a:pt x="2291" y="951"/>
                      <a:pt x="2293" y="952"/>
                    </a:cubicBezTo>
                    <a:cubicBezTo>
                      <a:pt x="2294" y="953"/>
                      <a:pt x="2292" y="965"/>
                      <a:pt x="2295" y="965"/>
                    </a:cubicBezTo>
                    <a:cubicBezTo>
                      <a:pt x="2297" y="966"/>
                      <a:pt x="2299" y="971"/>
                      <a:pt x="2304" y="977"/>
                    </a:cubicBezTo>
                    <a:cubicBezTo>
                      <a:pt x="2309" y="982"/>
                      <a:pt x="2320" y="998"/>
                      <a:pt x="2320" y="1002"/>
                    </a:cubicBezTo>
                    <a:cubicBezTo>
                      <a:pt x="2320" y="1006"/>
                      <a:pt x="2322" y="1010"/>
                      <a:pt x="2329" y="1014"/>
                    </a:cubicBezTo>
                    <a:cubicBezTo>
                      <a:pt x="2336" y="1019"/>
                      <a:pt x="2336" y="1024"/>
                      <a:pt x="2339" y="1027"/>
                    </a:cubicBezTo>
                    <a:cubicBezTo>
                      <a:pt x="2343" y="1030"/>
                      <a:pt x="2342" y="1033"/>
                      <a:pt x="2342" y="1040"/>
                    </a:cubicBezTo>
                    <a:cubicBezTo>
                      <a:pt x="2342" y="1046"/>
                      <a:pt x="2345" y="1055"/>
                      <a:pt x="2351" y="1059"/>
                    </a:cubicBezTo>
                    <a:cubicBezTo>
                      <a:pt x="2357" y="1062"/>
                      <a:pt x="2361" y="1066"/>
                      <a:pt x="2364" y="1073"/>
                    </a:cubicBezTo>
                    <a:cubicBezTo>
                      <a:pt x="2367" y="1081"/>
                      <a:pt x="2371" y="1087"/>
                      <a:pt x="2374" y="1091"/>
                    </a:cubicBezTo>
                    <a:cubicBezTo>
                      <a:pt x="2378" y="1094"/>
                      <a:pt x="2376" y="1096"/>
                      <a:pt x="2378" y="1099"/>
                    </a:cubicBezTo>
                    <a:cubicBezTo>
                      <a:pt x="2380" y="1102"/>
                      <a:pt x="2384" y="1109"/>
                      <a:pt x="2383" y="1113"/>
                    </a:cubicBezTo>
                    <a:cubicBezTo>
                      <a:pt x="2382" y="1117"/>
                      <a:pt x="2383" y="1126"/>
                      <a:pt x="2386" y="1131"/>
                    </a:cubicBezTo>
                    <a:cubicBezTo>
                      <a:pt x="2390" y="1136"/>
                      <a:pt x="2388" y="1145"/>
                      <a:pt x="2390" y="1147"/>
                    </a:cubicBezTo>
                    <a:cubicBezTo>
                      <a:pt x="2392" y="1149"/>
                      <a:pt x="2405" y="1149"/>
                      <a:pt x="2411" y="1145"/>
                    </a:cubicBezTo>
                    <a:cubicBezTo>
                      <a:pt x="2416" y="1141"/>
                      <a:pt x="2420" y="1140"/>
                      <a:pt x="2425" y="1140"/>
                    </a:cubicBezTo>
                    <a:cubicBezTo>
                      <a:pt x="2430" y="1140"/>
                      <a:pt x="2436" y="1136"/>
                      <a:pt x="2437" y="1134"/>
                    </a:cubicBezTo>
                    <a:cubicBezTo>
                      <a:pt x="2439" y="1132"/>
                      <a:pt x="2446" y="1132"/>
                      <a:pt x="2449" y="1133"/>
                    </a:cubicBezTo>
                    <a:cubicBezTo>
                      <a:pt x="2451" y="1133"/>
                      <a:pt x="2454" y="1130"/>
                      <a:pt x="2457" y="1127"/>
                    </a:cubicBezTo>
                    <a:cubicBezTo>
                      <a:pt x="2461" y="1123"/>
                      <a:pt x="2471" y="1122"/>
                      <a:pt x="2481" y="1119"/>
                    </a:cubicBezTo>
                    <a:cubicBezTo>
                      <a:pt x="2492" y="1115"/>
                      <a:pt x="2490" y="1110"/>
                      <a:pt x="2492" y="1107"/>
                    </a:cubicBezTo>
                    <a:cubicBezTo>
                      <a:pt x="2495" y="1104"/>
                      <a:pt x="2498" y="1106"/>
                      <a:pt x="2505" y="1102"/>
                    </a:cubicBezTo>
                    <a:cubicBezTo>
                      <a:pt x="2511" y="1099"/>
                      <a:pt x="2518" y="1101"/>
                      <a:pt x="2523" y="1099"/>
                    </a:cubicBezTo>
                    <a:cubicBezTo>
                      <a:pt x="2528" y="1098"/>
                      <a:pt x="2523" y="1094"/>
                      <a:pt x="2527" y="1090"/>
                    </a:cubicBezTo>
                    <a:cubicBezTo>
                      <a:pt x="2531" y="1087"/>
                      <a:pt x="2537" y="1090"/>
                      <a:pt x="2540" y="1088"/>
                    </a:cubicBezTo>
                    <a:cubicBezTo>
                      <a:pt x="2542" y="1087"/>
                      <a:pt x="2543" y="1080"/>
                      <a:pt x="2547" y="1078"/>
                    </a:cubicBezTo>
                    <a:cubicBezTo>
                      <a:pt x="2551" y="1077"/>
                      <a:pt x="2555" y="1078"/>
                      <a:pt x="2554" y="1074"/>
                    </a:cubicBezTo>
                    <a:cubicBezTo>
                      <a:pt x="2554" y="1071"/>
                      <a:pt x="2554" y="1060"/>
                      <a:pt x="2558" y="1059"/>
                    </a:cubicBezTo>
                    <a:cubicBezTo>
                      <a:pt x="2561" y="1059"/>
                      <a:pt x="2567" y="1055"/>
                      <a:pt x="2567" y="1053"/>
                    </a:cubicBezTo>
                    <a:cubicBezTo>
                      <a:pt x="2567" y="1051"/>
                      <a:pt x="2574" y="1043"/>
                      <a:pt x="2576" y="1040"/>
                    </a:cubicBezTo>
                    <a:cubicBezTo>
                      <a:pt x="2579" y="1036"/>
                      <a:pt x="2579" y="1034"/>
                      <a:pt x="2576" y="1034"/>
                    </a:cubicBezTo>
                    <a:cubicBezTo>
                      <a:pt x="2572" y="1033"/>
                      <a:pt x="2567" y="1024"/>
                      <a:pt x="2566" y="1022"/>
                    </a:cubicBezTo>
                    <a:cubicBezTo>
                      <a:pt x="2565" y="1019"/>
                      <a:pt x="2555" y="1021"/>
                      <a:pt x="2547" y="1015"/>
                    </a:cubicBezTo>
                    <a:cubicBezTo>
                      <a:pt x="2539" y="1009"/>
                      <a:pt x="2540" y="989"/>
                      <a:pt x="2538" y="989"/>
                    </a:cubicBezTo>
                    <a:cubicBezTo>
                      <a:pt x="2536" y="989"/>
                      <a:pt x="2528" y="997"/>
                      <a:pt x="2525" y="1004"/>
                    </a:cubicBezTo>
                    <a:cubicBezTo>
                      <a:pt x="2521" y="1010"/>
                      <a:pt x="2512" y="1015"/>
                      <a:pt x="2503" y="1014"/>
                    </a:cubicBezTo>
                    <a:cubicBezTo>
                      <a:pt x="2495" y="1012"/>
                      <a:pt x="2492" y="1016"/>
                      <a:pt x="2490" y="1017"/>
                    </a:cubicBezTo>
                    <a:cubicBezTo>
                      <a:pt x="2488" y="1019"/>
                      <a:pt x="2481" y="1010"/>
                      <a:pt x="2483" y="1006"/>
                    </a:cubicBezTo>
                    <a:cubicBezTo>
                      <a:pt x="2485" y="1003"/>
                      <a:pt x="2487" y="993"/>
                      <a:pt x="2482" y="992"/>
                    </a:cubicBezTo>
                    <a:cubicBezTo>
                      <a:pt x="2477" y="991"/>
                      <a:pt x="2474" y="1000"/>
                      <a:pt x="2474" y="1003"/>
                    </a:cubicBezTo>
                    <a:cubicBezTo>
                      <a:pt x="2474" y="1006"/>
                      <a:pt x="2465" y="994"/>
                      <a:pt x="2467" y="991"/>
                    </a:cubicBezTo>
                    <a:cubicBezTo>
                      <a:pt x="2470" y="988"/>
                      <a:pt x="2466" y="982"/>
                      <a:pt x="2462" y="979"/>
                    </a:cubicBezTo>
                    <a:cubicBezTo>
                      <a:pt x="2459" y="975"/>
                      <a:pt x="2451" y="969"/>
                      <a:pt x="2451" y="965"/>
                    </a:cubicBezTo>
                    <a:cubicBezTo>
                      <a:pt x="2451" y="962"/>
                      <a:pt x="2444" y="949"/>
                      <a:pt x="2444" y="946"/>
                    </a:cubicBezTo>
                    <a:cubicBezTo>
                      <a:pt x="2444" y="944"/>
                      <a:pt x="2450" y="941"/>
                      <a:pt x="2453" y="941"/>
                    </a:cubicBezTo>
                    <a:cubicBezTo>
                      <a:pt x="2456" y="941"/>
                      <a:pt x="2456" y="938"/>
                      <a:pt x="2458" y="940"/>
                    </a:cubicBezTo>
                    <a:cubicBezTo>
                      <a:pt x="2460" y="942"/>
                      <a:pt x="2463" y="940"/>
                      <a:pt x="2466" y="940"/>
                    </a:cubicBezTo>
                    <a:cubicBezTo>
                      <a:pt x="2468" y="940"/>
                      <a:pt x="2474" y="952"/>
                      <a:pt x="2477" y="957"/>
                    </a:cubicBezTo>
                    <a:cubicBezTo>
                      <a:pt x="2480" y="963"/>
                      <a:pt x="2480" y="965"/>
                      <a:pt x="2484" y="968"/>
                    </a:cubicBezTo>
                    <a:cubicBezTo>
                      <a:pt x="2488" y="970"/>
                      <a:pt x="2492" y="969"/>
                      <a:pt x="2497" y="975"/>
                    </a:cubicBezTo>
                    <a:cubicBezTo>
                      <a:pt x="2503" y="980"/>
                      <a:pt x="2517" y="984"/>
                      <a:pt x="2523" y="984"/>
                    </a:cubicBezTo>
                    <a:cubicBezTo>
                      <a:pt x="2529" y="985"/>
                      <a:pt x="2534" y="978"/>
                      <a:pt x="2541" y="979"/>
                    </a:cubicBezTo>
                    <a:cubicBezTo>
                      <a:pt x="2549" y="981"/>
                      <a:pt x="2547" y="991"/>
                      <a:pt x="2550" y="994"/>
                    </a:cubicBezTo>
                    <a:cubicBezTo>
                      <a:pt x="2553" y="998"/>
                      <a:pt x="2584" y="1000"/>
                      <a:pt x="2589" y="1002"/>
                    </a:cubicBezTo>
                    <a:cubicBezTo>
                      <a:pt x="2595" y="1003"/>
                      <a:pt x="2620" y="1003"/>
                      <a:pt x="2622" y="1001"/>
                    </a:cubicBezTo>
                    <a:cubicBezTo>
                      <a:pt x="2624" y="999"/>
                      <a:pt x="2628" y="998"/>
                      <a:pt x="2631" y="1000"/>
                    </a:cubicBezTo>
                    <a:cubicBezTo>
                      <a:pt x="2633" y="1001"/>
                      <a:pt x="2644" y="1002"/>
                      <a:pt x="2649" y="1000"/>
                    </a:cubicBezTo>
                    <a:cubicBezTo>
                      <a:pt x="2654" y="997"/>
                      <a:pt x="2658" y="1000"/>
                      <a:pt x="2658" y="1002"/>
                    </a:cubicBezTo>
                    <a:cubicBezTo>
                      <a:pt x="2658" y="1005"/>
                      <a:pt x="2661" y="1006"/>
                      <a:pt x="2663" y="1008"/>
                    </a:cubicBezTo>
                    <a:cubicBezTo>
                      <a:pt x="2666" y="1011"/>
                      <a:pt x="2664" y="1013"/>
                      <a:pt x="2665" y="1016"/>
                    </a:cubicBezTo>
                    <a:cubicBezTo>
                      <a:pt x="2667" y="1019"/>
                      <a:pt x="2670" y="1018"/>
                      <a:pt x="2675" y="1020"/>
                    </a:cubicBezTo>
                    <a:cubicBezTo>
                      <a:pt x="2680" y="1023"/>
                      <a:pt x="2681" y="1029"/>
                      <a:pt x="2687" y="1031"/>
                    </a:cubicBezTo>
                    <a:cubicBezTo>
                      <a:pt x="2694" y="1034"/>
                      <a:pt x="2700" y="1027"/>
                      <a:pt x="2700" y="1032"/>
                    </a:cubicBezTo>
                    <a:cubicBezTo>
                      <a:pt x="2700" y="1037"/>
                      <a:pt x="2684" y="1036"/>
                      <a:pt x="2684" y="1037"/>
                    </a:cubicBezTo>
                    <a:cubicBezTo>
                      <a:pt x="2684" y="1039"/>
                      <a:pt x="2700" y="1058"/>
                      <a:pt x="2708" y="1057"/>
                    </a:cubicBezTo>
                    <a:cubicBezTo>
                      <a:pt x="2716" y="1055"/>
                      <a:pt x="2722" y="1046"/>
                      <a:pt x="2720" y="1045"/>
                    </a:cubicBezTo>
                    <a:cubicBezTo>
                      <a:pt x="2718" y="1044"/>
                      <a:pt x="2721" y="1038"/>
                      <a:pt x="2723" y="1039"/>
                    </a:cubicBezTo>
                    <a:cubicBezTo>
                      <a:pt x="2726" y="1040"/>
                      <a:pt x="2724" y="1049"/>
                      <a:pt x="2726" y="1051"/>
                    </a:cubicBezTo>
                    <a:cubicBezTo>
                      <a:pt x="2729" y="1053"/>
                      <a:pt x="2728" y="1056"/>
                      <a:pt x="2726" y="1061"/>
                    </a:cubicBezTo>
                    <a:cubicBezTo>
                      <a:pt x="2725" y="1066"/>
                      <a:pt x="2728" y="1075"/>
                      <a:pt x="2728" y="1080"/>
                    </a:cubicBezTo>
                    <a:cubicBezTo>
                      <a:pt x="2729" y="1085"/>
                      <a:pt x="2732" y="1093"/>
                      <a:pt x="2734" y="1100"/>
                    </a:cubicBezTo>
                    <a:cubicBezTo>
                      <a:pt x="2735" y="1108"/>
                      <a:pt x="2740" y="1122"/>
                      <a:pt x="2744" y="1131"/>
                    </a:cubicBezTo>
                    <a:cubicBezTo>
                      <a:pt x="2749" y="1139"/>
                      <a:pt x="2752" y="1156"/>
                      <a:pt x="2755" y="1160"/>
                    </a:cubicBezTo>
                    <a:cubicBezTo>
                      <a:pt x="2758" y="1164"/>
                      <a:pt x="2766" y="1176"/>
                      <a:pt x="2766" y="1183"/>
                    </a:cubicBezTo>
                    <a:cubicBezTo>
                      <a:pt x="2766" y="1191"/>
                      <a:pt x="2774" y="1201"/>
                      <a:pt x="2777" y="1203"/>
                    </a:cubicBezTo>
                    <a:cubicBezTo>
                      <a:pt x="2780" y="1205"/>
                      <a:pt x="2786" y="1201"/>
                      <a:pt x="2787" y="1196"/>
                    </a:cubicBezTo>
                    <a:cubicBezTo>
                      <a:pt x="2789" y="1192"/>
                      <a:pt x="2797" y="1190"/>
                      <a:pt x="2798" y="1186"/>
                    </a:cubicBezTo>
                    <a:cubicBezTo>
                      <a:pt x="2798" y="1182"/>
                      <a:pt x="2799" y="1179"/>
                      <a:pt x="2802" y="1178"/>
                    </a:cubicBezTo>
                    <a:cubicBezTo>
                      <a:pt x="2805" y="1178"/>
                      <a:pt x="2805" y="1175"/>
                      <a:pt x="2805" y="1170"/>
                    </a:cubicBezTo>
                    <a:cubicBezTo>
                      <a:pt x="2805" y="1166"/>
                      <a:pt x="2805" y="1160"/>
                      <a:pt x="2808" y="1156"/>
                    </a:cubicBezTo>
                    <a:cubicBezTo>
                      <a:pt x="2811" y="1152"/>
                      <a:pt x="2812" y="1142"/>
                      <a:pt x="2810" y="1138"/>
                    </a:cubicBezTo>
                    <a:cubicBezTo>
                      <a:pt x="2808" y="1133"/>
                      <a:pt x="2809" y="1128"/>
                      <a:pt x="2811" y="1123"/>
                    </a:cubicBezTo>
                    <a:cubicBezTo>
                      <a:pt x="2813" y="1119"/>
                      <a:pt x="2812" y="1114"/>
                      <a:pt x="2815" y="1114"/>
                    </a:cubicBezTo>
                    <a:cubicBezTo>
                      <a:pt x="2818" y="1114"/>
                      <a:pt x="2823" y="1111"/>
                      <a:pt x="2826" y="1106"/>
                    </a:cubicBezTo>
                    <a:cubicBezTo>
                      <a:pt x="2830" y="1102"/>
                      <a:pt x="2840" y="1096"/>
                      <a:pt x="2843" y="1093"/>
                    </a:cubicBezTo>
                    <a:cubicBezTo>
                      <a:pt x="2847" y="1090"/>
                      <a:pt x="2858" y="1080"/>
                      <a:pt x="2862" y="1074"/>
                    </a:cubicBezTo>
                    <a:cubicBezTo>
                      <a:pt x="2865" y="1069"/>
                      <a:pt x="2874" y="1067"/>
                      <a:pt x="2879" y="1063"/>
                    </a:cubicBezTo>
                    <a:cubicBezTo>
                      <a:pt x="2883" y="1058"/>
                      <a:pt x="2881" y="1056"/>
                      <a:pt x="2882" y="1051"/>
                    </a:cubicBezTo>
                    <a:cubicBezTo>
                      <a:pt x="2883" y="1046"/>
                      <a:pt x="2897" y="1044"/>
                      <a:pt x="2902" y="1044"/>
                    </a:cubicBezTo>
                    <a:cubicBezTo>
                      <a:pt x="2908" y="1044"/>
                      <a:pt x="2909" y="1042"/>
                      <a:pt x="2913" y="1042"/>
                    </a:cubicBezTo>
                    <a:cubicBezTo>
                      <a:pt x="2916" y="1042"/>
                      <a:pt x="2921" y="1041"/>
                      <a:pt x="2922" y="1037"/>
                    </a:cubicBezTo>
                    <a:cubicBezTo>
                      <a:pt x="2922" y="1034"/>
                      <a:pt x="2926" y="1031"/>
                      <a:pt x="2929" y="1032"/>
                    </a:cubicBezTo>
                    <a:cubicBezTo>
                      <a:pt x="2931" y="1033"/>
                      <a:pt x="2934" y="1042"/>
                      <a:pt x="2935" y="1047"/>
                    </a:cubicBezTo>
                    <a:cubicBezTo>
                      <a:pt x="2935" y="1052"/>
                      <a:pt x="2940" y="1061"/>
                      <a:pt x="2947" y="1064"/>
                    </a:cubicBezTo>
                    <a:cubicBezTo>
                      <a:pt x="2953" y="1067"/>
                      <a:pt x="2958" y="1080"/>
                      <a:pt x="2960" y="1087"/>
                    </a:cubicBezTo>
                    <a:cubicBezTo>
                      <a:pt x="2962" y="1094"/>
                      <a:pt x="2960" y="1101"/>
                      <a:pt x="2958" y="1105"/>
                    </a:cubicBezTo>
                    <a:cubicBezTo>
                      <a:pt x="2956" y="1109"/>
                      <a:pt x="2959" y="1109"/>
                      <a:pt x="2963" y="1111"/>
                    </a:cubicBezTo>
                    <a:cubicBezTo>
                      <a:pt x="2967" y="1113"/>
                      <a:pt x="2971" y="1114"/>
                      <a:pt x="2974" y="1110"/>
                    </a:cubicBezTo>
                    <a:cubicBezTo>
                      <a:pt x="2977" y="1106"/>
                      <a:pt x="2982" y="1103"/>
                      <a:pt x="2983" y="1099"/>
                    </a:cubicBezTo>
                    <a:cubicBezTo>
                      <a:pt x="2984" y="1094"/>
                      <a:pt x="2987" y="1101"/>
                      <a:pt x="2989" y="1103"/>
                    </a:cubicBezTo>
                    <a:cubicBezTo>
                      <a:pt x="2991" y="1105"/>
                      <a:pt x="2993" y="1110"/>
                      <a:pt x="2994" y="1116"/>
                    </a:cubicBezTo>
                    <a:cubicBezTo>
                      <a:pt x="2994" y="1121"/>
                      <a:pt x="2995" y="1135"/>
                      <a:pt x="2999" y="1140"/>
                    </a:cubicBezTo>
                    <a:cubicBezTo>
                      <a:pt x="3004" y="1144"/>
                      <a:pt x="3005" y="1154"/>
                      <a:pt x="3004" y="1158"/>
                    </a:cubicBezTo>
                    <a:cubicBezTo>
                      <a:pt x="3002" y="1161"/>
                      <a:pt x="3006" y="1167"/>
                      <a:pt x="3005" y="1171"/>
                    </a:cubicBezTo>
                    <a:cubicBezTo>
                      <a:pt x="3004" y="1175"/>
                      <a:pt x="3003" y="1186"/>
                      <a:pt x="3001" y="1191"/>
                    </a:cubicBezTo>
                    <a:cubicBezTo>
                      <a:pt x="3000" y="1196"/>
                      <a:pt x="2999" y="1200"/>
                      <a:pt x="3002" y="1201"/>
                    </a:cubicBezTo>
                    <a:cubicBezTo>
                      <a:pt x="3005" y="1201"/>
                      <a:pt x="3011" y="1208"/>
                      <a:pt x="3017" y="1215"/>
                    </a:cubicBezTo>
                    <a:cubicBezTo>
                      <a:pt x="3023" y="1223"/>
                      <a:pt x="3023" y="1231"/>
                      <a:pt x="3023" y="1238"/>
                    </a:cubicBezTo>
                    <a:cubicBezTo>
                      <a:pt x="3024" y="1245"/>
                      <a:pt x="3033" y="1255"/>
                      <a:pt x="3035" y="1260"/>
                    </a:cubicBezTo>
                    <a:cubicBezTo>
                      <a:pt x="3036" y="1264"/>
                      <a:pt x="3039" y="1265"/>
                      <a:pt x="3046" y="1270"/>
                    </a:cubicBezTo>
                    <a:cubicBezTo>
                      <a:pt x="3052" y="1275"/>
                      <a:pt x="3065" y="1282"/>
                      <a:pt x="3067" y="1281"/>
                    </a:cubicBezTo>
                    <a:cubicBezTo>
                      <a:pt x="3070" y="1280"/>
                      <a:pt x="3064" y="1269"/>
                      <a:pt x="3060" y="1265"/>
                    </a:cubicBezTo>
                    <a:cubicBezTo>
                      <a:pt x="3056" y="1261"/>
                      <a:pt x="3060" y="1251"/>
                      <a:pt x="3060" y="1243"/>
                    </a:cubicBezTo>
                    <a:cubicBezTo>
                      <a:pt x="3060" y="1236"/>
                      <a:pt x="3053" y="1237"/>
                      <a:pt x="3051" y="1232"/>
                    </a:cubicBezTo>
                    <a:cubicBezTo>
                      <a:pt x="3049" y="1226"/>
                      <a:pt x="3047" y="1229"/>
                      <a:pt x="3046" y="1226"/>
                    </a:cubicBezTo>
                    <a:cubicBezTo>
                      <a:pt x="3045" y="1223"/>
                      <a:pt x="3037" y="1217"/>
                      <a:pt x="3032" y="1217"/>
                    </a:cubicBezTo>
                    <a:cubicBezTo>
                      <a:pt x="3026" y="1216"/>
                      <a:pt x="3023" y="1208"/>
                      <a:pt x="3024" y="1204"/>
                    </a:cubicBezTo>
                    <a:cubicBezTo>
                      <a:pt x="3024" y="1200"/>
                      <a:pt x="3020" y="1197"/>
                      <a:pt x="3020" y="1194"/>
                    </a:cubicBezTo>
                    <a:cubicBezTo>
                      <a:pt x="3020" y="1190"/>
                      <a:pt x="3016" y="1190"/>
                      <a:pt x="3013" y="1188"/>
                    </a:cubicBezTo>
                    <a:cubicBezTo>
                      <a:pt x="3009" y="1186"/>
                      <a:pt x="3013" y="1175"/>
                      <a:pt x="3014" y="1170"/>
                    </a:cubicBezTo>
                    <a:cubicBezTo>
                      <a:pt x="3014" y="1165"/>
                      <a:pt x="3022" y="1152"/>
                      <a:pt x="3020" y="1147"/>
                    </a:cubicBezTo>
                    <a:cubicBezTo>
                      <a:pt x="3018" y="1143"/>
                      <a:pt x="3028" y="1140"/>
                      <a:pt x="3030" y="1144"/>
                    </a:cubicBezTo>
                    <a:cubicBezTo>
                      <a:pt x="3031" y="1149"/>
                      <a:pt x="3031" y="1152"/>
                      <a:pt x="3038" y="1151"/>
                    </a:cubicBezTo>
                    <a:cubicBezTo>
                      <a:pt x="3045" y="1151"/>
                      <a:pt x="3045" y="1156"/>
                      <a:pt x="3050" y="1158"/>
                    </a:cubicBezTo>
                    <a:cubicBezTo>
                      <a:pt x="3055" y="1159"/>
                      <a:pt x="3053" y="1165"/>
                      <a:pt x="3054" y="1168"/>
                    </a:cubicBezTo>
                    <a:cubicBezTo>
                      <a:pt x="3054" y="1171"/>
                      <a:pt x="3059" y="1169"/>
                      <a:pt x="3061" y="1169"/>
                    </a:cubicBezTo>
                    <a:cubicBezTo>
                      <a:pt x="3063" y="1169"/>
                      <a:pt x="3059" y="1173"/>
                      <a:pt x="3061" y="1175"/>
                    </a:cubicBezTo>
                    <a:cubicBezTo>
                      <a:pt x="3063" y="1178"/>
                      <a:pt x="3069" y="1173"/>
                      <a:pt x="3070" y="1176"/>
                    </a:cubicBezTo>
                    <a:cubicBezTo>
                      <a:pt x="3072" y="1179"/>
                      <a:pt x="3074" y="1180"/>
                      <a:pt x="3076" y="1182"/>
                    </a:cubicBezTo>
                    <a:cubicBezTo>
                      <a:pt x="3079" y="1183"/>
                      <a:pt x="3073" y="1186"/>
                      <a:pt x="3073" y="1191"/>
                    </a:cubicBezTo>
                    <a:cubicBezTo>
                      <a:pt x="3073" y="1197"/>
                      <a:pt x="3077" y="1198"/>
                      <a:pt x="3079" y="1196"/>
                    </a:cubicBezTo>
                    <a:cubicBezTo>
                      <a:pt x="3080" y="1194"/>
                      <a:pt x="3087" y="1189"/>
                      <a:pt x="3089" y="1188"/>
                    </a:cubicBezTo>
                    <a:cubicBezTo>
                      <a:pt x="3092" y="1187"/>
                      <a:pt x="3089" y="1184"/>
                      <a:pt x="3092" y="1184"/>
                    </a:cubicBezTo>
                    <a:cubicBezTo>
                      <a:pt x="3094" y="1184"/>
                      <a:pt x="3094" y="1180"/>
                      <a:pt x="3095" y="1178"/>
                    </a:cubicBezTo>
                    <a:cubicBezTo>
                      <a:pt x="3096" y="1176"/>
                      <a:pt x="3098" y="1176"/>
                      <a:pt x="3102" y="1177"/>
                    </a:cubicBezTo>
                    <a:cubicBezTo>
                      <a:pt x="3106" y="1177"/>
                      <a:pt x="3111" y="1173"/>
                      <a:pt x="3117" y="1169"/>
                    </a:cubicBezTo>
                    <a:cubicBezTo>
                      <a:pt x="3123" y="1166"/>
                      <a:pt x="3124" y="1165"/>
                      <a:pt x="3126" y="1154"/>
                    </a:cubicBezTo>
                    <a:cubicBezTo>
                      <a:pt x="3128" y="1144"/>
                      <a:pt x="3123" y="1131"/>
                      <a:pt x="3123" y="1128"/>
                    </a:cubicBezTo>
                    <a:cubicBezTo>
                      <a:pt x="3123" y="1125"/>
                      <a:pt x="3115" y="1110"/>
                      <a:pt x="3113" y="1110"/>
                    </a:cubicBezTo>
                    <a:cubicBezTo>
                      <a:pt x="3110" y="1111"/>
                      <a:pt x="3097" y="1097"/>
                      <a:pt x="3094" y="1095"/>
                    </a:cubicBezTo>
                    <a:cubicBezTo>
                      <a:pt x="3092" y="1093"/>
                      <a:pt x="3093" y="1089"/>
                      <a:pt x="3089" y="1086"/>
                    </a:cubicBezTo>
                    <a:cubicBezTo>
                      <a:pt x="3086" y="1084"/>
                      <a:pt x="3086" y="1076"/>
                      <a:pt x="3087" y="1071"/>
                    </a:cubicBezTo>
                    <a:cubicBezTo>
                      <a:pt x="3087" y="1066"/>
                      <a:pt x="3095" y="1065"/>
                      <a:pt x="3095" y="1061"/>
                    </a:cubicBezTo>
                    <a:cubicBezTo>
                      <a:pt x="3094" y="1058"/>
                      <a:pt x="3095" y="1055"/>
                      <a:pt x="3099" y="1055"/>
                    </a:cubicBezTo>
                    <a:cubicBezTo>
                      <a:pt x="3103" y="1054"/>
                      <a:pt x="3106" y="1051"/>
                      <a:pt x="3108" y="1049"/>
                    </a:cubicBezTo>
                    <a:cubicBezTo>
                      <a:pt x="3109" y="1046"/>
                      <a:pt x="3115" y="1049"/>
                      <a:pt x="3116" y="1046"/>
                    </a:cubicBezTo>
                    <a:cubicBezTo>
                      <a:pt x="3117" y="1043"/>
                      <a:pt x="3120" y="1044"/>
                      <a:pt x="3122" y="1046"/>
                    </a:cubicBezTo>
                    <a:cubicBezTo>
                      <a:pt x="3123" y="1049"/>
                      <a:pt x="3125" y="1049"/>
                      <a:pt x="3128" y="1046"/>
                    </a:cubicBezTo>
                    <a:cubicBezTo>
                      <a:pt x="3132" y="1043"/>
                      <a:pt x="3133" y="1049"/>
                      <a:pt x="3131" y="1051"/>
                    </a:cubicBezTo>
                    <a:cubicBezTo>
                      <a:pt x="3129" y="1053"/>
                      <a:pt x="3131" y="1058"/>
                      <a:pt x="3134" y="1061"/>
                    </a:cubicBezTo>
                    <a:cubicBezTo>
                      <a:pt x="3137" y="1064"/>
                      <a:pt x="3137" y="1059"/>
                      <a:pt x="3137" y="1056"/>
                    </a:cubicBezTo>
                    <a:cubicBezTo>
                      <a:pt x="3136" y="1053"/>
                      <a:pt x="3142" y="1050"/>
                      <a:pt x="3153" y="1047"/>
                    </a:cubicBezTo>
                    <a:cubicBezTo>
                      <a:pt x="3163" y="1043"/>
                      <a:pt x="3174" y="1035"/>
                      <a:pt x="3175" y="1034"/>
                    </a:cubicBezTo>
                    <a:cubicBezTo>
                      <a:pt x="3175" y="1032"/>
                      <a:pt x="3182" y="1037"/>
                      <a:pt x="3186" y="1034"/>
                    </a:cubicBezTo>
                    <a:cubicBezTo>
                      <a:pt x="3189" y="1031"/>
                      <a:pt x="3202" y="1031"/>
                      <a:pt x="3205" y="1031"/>
                    </a:cubicBezTo>
                    <a:cubicBezTo>
                      <a:pt x="3208" y="1031"/>
                      <a:pt x="3208" y="1028"/>
                      <a:pt x="3212" y="1025"/>
                    </a:cubicBezTo>
                    <a:cubicBezTo>
                      <a:pt x="3215" y="1022"/>
                      <a:pt x="3214" y="1021"/>
                      <a:pt x="3218" y="1020"/>
                    </a:cubicBezTo>
                    <a:cubicBezTo>
                      <a:pt x="3222" y="1019"/>
                      <a:pt x="3225" y="1015"/>
                      <a:pt x="3225" y="1013"/>
                    </a:cubicBezTo>
                    <a:cubicBezTo>
                      <a:pt x="3225" y="1011"/>
                      <a:pt x="3232" y="1010"/>
                      <a:pt x="3233" y="1008"/>
                    </a:cubicBezTo>
                    <a:cubicBezTo>
                      <a:pt x="3233" y="1006"/>
                      <a:pt x="3238" y="1005"/>
                      <a:pt x="3238" y="1003"/>
                    </a:cubicBezTo>
                    <a:cubicBezTo>
                      <a:pt x="3238" y="1000"/>
                      <a:pt x="3242" y="1000"/>
                      <a:pt x="3243" y="998"/>
                    </a:cubicBezTo>
                    <a:cubicBezTo>
                      <a:pt x="3245" y="996"/>
                      <a:pt x="3242" y="991"/>
                      <a:pt x="3245" y="990"/>
                    </a:cubicBezTo>
                    <a:cubicBezTo>
                      <a:pt x="3247" y="989"/>
                      <a:pt x="3244" y="986"/>
                      <a:pt x="3243" y="984"/>
                    </a:cubicBezTo>
                    <a:cubicBezTo>
                      <a:pt x="3243" y="983"/>
                      <a:pt x="3248" y="982"/>
                      <a:pt x="3251" y="981"/>
                    </a:cubicBezTo>
                    <a:cubicBezTo>
                      <a:pt x="3254" y="979"/>
                      <a:pt x="3256" y="976"/>
                      <a:pt x="3256" y="973"/>
                    </a:cubicBezTo>
                    <a:cubicBezTo>
                      <a:pt x="3257" y="970"/>
                      <a:pt x="3261" y="967"/>
                      <a:pt x="3263" y="966"/>
                    </a:cubicBezTo>
                    <a:cubicBezTo>
                      <a:pt x="3266" y="965"/>
                      <a:pt x="3266" y="961"/>
                      <a:pt x="3266" y="957"/>
                    </a:cubicBezTo>
                    <a:cubicBezTo>
                      <a:pt x="3265" y="953"/>
                      <a:pt x="3270" y="954"/>
                      <a:pt x="3268" y="952"/>
                    </a:cubicBezTo>
                    <a:cubicBezTo>
                      <a:pt x="3266" y="951"/>
                      <a:pt x="3268" y="947"/>
                      <a:pt x="3272" y="946"/>
                    </a:cubicBezTo>
                    <a:cubicBezTo>
                      <a:pt x="3276" y="944"/>
                      <a:pt x="3270" y="943"/>
                      <a:pt x="3268" y="944"/>
                    </a:cubicBezTo>
                    <a:cubicBezTo>
                      <a:pt x="3266" y="946"/>
                      <a:pt x="3263" y="939"/>
                      <a:pt x="3261" y="942"/>
                    </a:cubicBezTo>
                    <a:cubicBezTo>
                      <a:pt x="3259" y="944"/>
                      <a:pt x="3254" y="940"/>
                      <a:pt x="3257" y="940"/>
                    </a:cubicBezTo>
                    <a:cubicBezTo>
                      <a:pt x="3261" y="939"/>
                      <a:pt x="3267" y="935"/>
                      <a:pt x="3269" y="934"/>
                    </a:cubicBezTo>
                    <a:cubicBezTo>
                      <a:pt x="3272" y="933"/>
                      <a:pt x="3265" y="927"/>
                      <a:pt x="3262" y="928"/>
                    </a:cubicBezTo>
                    <a:cubicBezTo>
                      <a:pt x="3259" y="928"/>
                      <a:pt x="3256" y="920"/>
                      <a:pt x="3252" y="920"/>
                    </a:cubicBezTo>
                    <a:cubicBezTo>
                      <a:pt x="3249" y="920"/>
                      <a:pt x="3255" y="918"/>
                      <a:pt x="3259" y="920"/>
                    </a:cubicBezTo>
                    <a:cubicBezTo>
                      <a:pt x="3262" y="922"/>
                      <a:pt x="3267" y="924"/>
                      <a:pt x="3269" y="922"/>
                    </a:cubicBezTo>
                    <a:cubicBezTo>
                      <a:pt x="3270" y="920"/>
                      <a:pt x="3262" y="914"/>
                      <a:pt x="3259" y="911"/>
                    </a:cubicBezTo>
                    <a:cubicBezTo>
                      <a:pt x="3256" y="909"/>
                      <a:pt x="3259" y="906"/>
                      <a:pt x="3257" y="904"/>
                    </a:cubicBezTo>
                    <a:cubicBezTo>
                      <a:pt x="3255" y="903"/>
                      <a:pt x="3251" y="895"/>
                      <a:pt x="3250" y="891"/>
                    </a:cubicBezTo>
                    <a:cubicBezTo>
                      <a:pt x="3249" y="887"/>
                      <a:pt x="3242" y="886"/>
                      <a:pt x="3240" y="884"/>
                    </a:cubicBezTo>
                    <a:cubicBezTo>
                      <a:pt x="3238" y="881"/>
                      <a:pt x="3240" y="875"/>
                      <a:pt x="3245" y="873"/>
                    </a:cubicBezTo>
                    <a:cubicBezTo>
                      <a:pt x="3250" y="871"/>
                      <a:pt x="3248" y="867"/>
                      <a:pt x="3251" y="867"/>
                    </a:cubicBezTo>
                    <a:cubicBezTo>
                      <a:pt x="3253" y="868"/>
                      <a:pt x="3255" y="867"/>
                      <a:pt x="3257" y="863"/>
                    </a:cubicBezTo>
                    <a:cubicBezTo>
                      <a:pt x="3259" y="859"/>
                      <a:pt x="3262" y="861"/>
                      <a:pt x="3264" y="859"/>
                    </a:cubicBezTo>
                    <a:cubicBezTo>
                      <a:pt x="3265" y="857"/>
                      <a:pt x="3274" y="858"/>
                      <a:pt x="3276" y="856"/>
                    </a:cubicBezTo>
                    <a:cubicBezTo>
                      <a:pt x="3279" y="854"/>
                      <a:pt x="3274" y="847"/>
                      <a:pt x="3270" y="848"/>
                    </a:cubicBezTo>
                    <a:cubicBezTo>
                      <a:pt x="3266" y="849"/>
                      <a:pt x="3262" y="848"/>
                      <a:pt x="3259" y="844"/>
                    </a:cubicBezTo>
                    <a:cubicBezTo>
                      <a:pt x="3256" y="840"/>
                      <a:pt x="3249" y="851"/>
                      <a:pt x="3244" y="854"/>
                    </a:cubicBezTo>
                    <a:cubicBezTo>
                      <a:pt x="3239" y="856"/>
                      <a:pt x="3235" y="849"/>
                      <a:pt x="3237" y="845"/>
                    </a:cubicBezTo>
                    <a:cubicBezTo>
                      <a:pt x="3239" y="840"/>
                      <a:pt x="3233" y="840"/>
                      <a:pt x="3225" y="841"/>
                    </a:cubicBezTo>
                    <a:cubicBezTo>
                      <a:pt x="3218" y="841"/>
                      <a:pt x="3221" y="827"/>
                      <a:pt x="3225" y="827"/>
                    </a:cubicBezTo>
                    <a:cubicBezTo>
                      <a:pt x="3230" y="826"/>
                      <a:pt x="3236" y="831"/>
                      <a:pt x="3239" y="823"/>
                    </a:cubicBezTo>
                    <a:cubicBezTo>
                      <a:pt x="3242" y="814"/>
                      <a:pt x="3246" y="821"/>
                      <a:pt x="3252" y="813"/>
                    </a:cubicBezTo>
                    <a:cubicBezTo>
                      <a:pt x="3259" y="806"/>
                      <a:pt x="3266" y="802"/>
                      <a:pt x="3271" y="806"/>
                    </a:cubicBezTo>
                    <a:cubicBezTo>
                      <a:pt x="3277" y="810"/>
                      <a:pt x="3266" y="817"/>
                      <a:pt x="3264" y="821"/>
                    </a:cubicBezTo>
                    <a:cubicBezTo>
                      <a:pt x="3262" y="825"/>
                      <a:pt x="3265" y="827"/>
                      <a:pt x="3262" y="830"/>
                    </a:cubicBezTo>
                    <a:cubicBezTo>
                      <a:pt x="3259" y="833"/>
                      <a:pt x="3263" y="834"/>
                      <a:pt x="3270" y="830"/>
                    </a:cubicBezTo>
                    <a:cubicBezTo>
                      <a:pt x="3276" y="826"/>
                      <a:pt x="3284" y="821"/>
                      <a:pt x="3291" y="818"/>
                    </a:cubicBezTo>
                    <a:cubicBezTo>
                      <a:pt x="3297" y="816"/>
                      <a:pt x="3306" y="820"/>
                      <a:pt x="3309" y="824"/>
                    </a:cubicBezTo>
                    <a:cubicBezTo>
                      <a:pt x="3312" y="828"/>
                      <a:pt x="3305" y="832"/>
                      <a:pt x="3302" y="836"/>
                    </a:cubicBezTo>
                    <a:cubicBezTo>
                      <a:pt x="3299" y="840"/>
                      <a:pt x="3304" y="840"/>
                      <a:pt x="3304" y="843"/>
                    </a:cubicBezTo>
                    <a:cubicBezTo>
                      <a:pt x="3305" y="846"/>
                      <a:pt x="3309" y="848"/>
                      <a:pt x="3310" y="846"/>
                    </a:cubicBezTo>
                    <a:cubicBezTo>
                      <a:pt x="3312" y="843"/>
                      <a:pt x="3314" y="844"/>
                      <a:pt x="3319" y="844"/>
                    </a:cubicBezTo>
                    <a:cubicBezTo>
                      <a:pt x="3323" y="844"/>
                      <a:pt x="3321" y="851"/>
                      <a:pt x="3325" y="851"/>
                    </a:cubicBezTo>
                    <a:cubicBezTo>
                      <a:pt x="3328" y="852"/>
                      <a:pt x="3328" y="857"/>
                      <a:pt x="3324" y="856"/>
                    </a:cubicBezTo>
                    <a:cubicBezTo>
                      <a:pt x="3320" y="855"/>
                      <a:pt x="3320" y="861"/>
                      <a:pt x="3324" y="867"/>
                    </a:cubicBezTo>
                    <a:cubicBezTo>
                      <a:pt x="3327" y="872"/>
                      <a:pt x="3317" y="878"/>
                      <a:pt x="3320" y="880"/>
                    </a:cubicBezTo>
                    <a:cubicBezTo>
                      <a:pt x="3323" y="883"/>
                      <a:pt x="3321" y="886"/>
                      <a:pt x="3322" y="888"/>
                    </a:cubicBezTo>
                    <a:cubicBezTo>
                      <a:pt x="3323" y="889"/>
                      <a:pt x="3337" y="887"/>
                      <a:pt x="3343" y="881"/>
                    </a:cubicBezTo>
                    <a:cubicBezTo>
                      <a:pt x="3349" y="874"/>
                      <a:pt x="3351" y="875"/>
                      <a:pt x="3354" y="876"/>
                    </a:cubicBezTo>
                    <a:cubicBezTo>
                      <a:pt x="3357" y="877"/>
                      <a:pt x="3361" y="874"/>
                      <a:pt x="3359" y="871"/>
                    </a:cubicBezTo>
                    <a:cubicBezTo>
                      <a:pt x="3357" y="869"/>
                      <a:pt x="3355" y="863"/>
                      <a:pt x="3356" y="855"/>
                    </a:cubicBezTo>
                    <a:cubicBezTo>
                      <a:pt x="3356" y="847"/>
                      <a:pt x="3338" y="829"/>
                      <a:pt x="3334" y="827"/>
                    </a:cubicBezTo>
                    <a:cubicBezTo>
                      <a:pt x="3330" y="824"/>
                      <a:pt x="3333" y="818"/>
                      <a:pt x="3337" y="817"/>
                    </a:cubicBezTo>
                    <a:cubicBezTo>
                      <a:pt x="3342" y="815"/>
                      <a:pt x="3354" y="807"/>
                      <a:pt x="3357" y="805"/>
                    </a:cubicBezTo>
                    <a:cubicBezTo>
                      <a:pt x="3361" y="803"/>
                      <a:pt x="3358" y="796"/>
                      <a:pt x="3361" y="791"/>
                    </a:cubicBezTo>
                    <a:cubicBezTo>
                      <a:pt x="3364" y="786"/>
                      <a:pt x="3382" y="772"/>
                      <a:pt x="3386" y="772"/>
                    </a:cubicBezTo>
                    <a:cubicBezTo>
                      <a:pt x="3390" y="772"/>
                      <a:pt x="3394" y="779"/>
                      <a:pt x="3399" y="779"/>
                    </a:cubicBezTo>
                    <a:cubicBezTo>
                      <a:pt x="3403" y="779"/>
                      <a:pt x="3425" y="765"/>
                      <a:pt x="3425" y="763"/>
                    </a:cubicBezTo>
                    <a:cubicBezTo>
                      <a:pt x="3425" y="760"/>
                      <a:pt x="3437" y="748"/>
                      <a:pt x="3443" y="742"/>
                    </a:cubicBezTo>
                    <a:cubicBezTo>
                      <a:pt x="3449" y="736"/>
                      <a:pt x="3457" y="727"/>
                      <a:pt x="3460" y="720"/>
                    </a:cubicBezTo>
                    <a:cubicBezTo>
                      <a:pt x="3461" y="716"/>
                      <a:pt x="3470" y="707"/>
                      <a:pt x="3472" y="704"/>
                    </a:cubicBezTo>
                    <a:cubicBezTo>
                      <a:pt x="3474" y="701"/>
                      <a:pt x="3475" y="700"/>
                      <a:pt x="3479" y="693"/>
                    </a:cubicBezTo>
                    <a:cubicBezTo>
                      <a:pt x="3482" y="685"/>
                      <a:pt x="3482" y="664"/>
                      <a:pt x="3483" y="663"/>
                    </a:cubicBezTo>
                    <a:cubicBezTo>
                      <a:pt x="3485" y="662"/>
                      <a:pt x="3484" y="658"/>
                      <a:pt x="3486" y="656"/>
                    </a:cubicBezTo>
                    <a:cubicBezTo>
                      <a:pt x="3487" y="654"/>
                      <a:pt x="3486" y="651"/>
                      <a:pt x="3490" y="648"/>
                    </a:cubicBezTo>
                    <a:cubicBezTo>
                      <a:pt x="3493" y="645"/>
                      <a:pt x="3492" y="643"/>
                      <a:pt x="3492" y="640"/>
                    </a:cubicBezTo>
                    <a:cubicBezTo>
                      <a:pt x="3491" y="638"/>
                      <a:pt x="3492" y="633"/>
                      <a:pt x="3491" y="632"/>
                    </a:cubicBezTo>
                    <a:cubicBezTo>
                      <a:pt x="3490" y="630"/>
                      <a:pt x="3490" y="630"/>
                      <a:pt x="3492" y="629"/>
                    </a:cubicBezTo>
                    <a:cubicBezTo>
                      <a:pt x="3494" y="627"/>
                      <a:pt x="3491" y="624"/>
                      <a:pt x="3488" y="623"/>
                    </a:cubicBezTo>
                    <a:cubicBezTo>
                      <a:pt x="3485" y="622"/>
                      <a:pt x="3482" y="621"/>
                      <a:pt x="3481" y="617"/>
                    </a:cubicBezTo>
                    <a:cubicBezTo>
                      <a:pt x="3481" y="614"/>
                      <a:pt x="3476" y="610"/>
                      <a:pt x="3472" y="611"/>
                    </a:cubicBezTo>
                    <a:cubicBezTo>
                      <a:pt x="3469" y="611"/>
                      <a:pt x="3462" y="609"/>
                      <a:pt x="3463" y="611"/>
                    </a:cubicBezTo>
                    <a:cubicBezTo>
                      <a:pt x="3464" y="613"/>
                      <a:pt x="3462" y="615"/>
                      <a:pt x="3461" y="615"/>
                    </a:cubicBezTo>
                    <a:cubicBezTo>
                      <a:pt x="3459" y="614"/>
                      <a:pt x="3458" y="616"/>
                      <a:pt x="3456" y="619"/>
                    </a:cubicBezTo>
                    <a:cubicBezTo>
                      <a:pt x="3454" y="623"/>
                      <a:pt x="3446" y="623"/>
                      <a:pt x="3449" y="620"/>
                    </a:cubicBezTo>
                    <a:cubicBezTo>
                      <a:pt x="3453" y="617"/>
                      <a:pt x="3448" y="616"/>
                      <a:pt x="3449" y="613"/>
                    </a:cubicBezTo>
                    <a:cubicBezTo>
                      <a:pt x="3450" y="610"/>
                      <a:pt x="3452" y="606"/>
                      <a:pt x="3449" y="609"/>
                    </a:cubicBezTo>
                    <a:cubicBezTo>
                      <a:pt x="3445" y="611"/>
                      <a:pt x="3445" y="616"/>
                      <a:pt x="3442" y="617"/>
                    </a:cubicBezTo>
                    <a:cubicBezTo>
                      <a:pt x="3438" y="617"/>
                      <a:pt x="3439" y="608"/>
                      <a:pt x="3440" y="605"/>
                    </a:cubicBezTo>
                    <a:cubicBezTo>
                      <a:pt x="3441" y="603"/>
                      <a:pt x="3434" y="605"/>
                      <a:pt x="3427" y="605"/>
                    </a:cubicBezTo>
                    <a:cubicBezTo>
                      <a:pt x="3420" y="604"/>
                      <a:pt x="3422" y="599"/>
                      <a:pt x="3428" y="596"/>
                    </a:cubicBezTo>
                    <a:cubicBezTo>
                      <a:pt x="3434" y="593"/>
                      <a:pt x="3433" y="591"/>
                      <a:pt x="3435" y="589"/>
                    </a:cubicBezTo>
                    <a:cubicBezTo>
                      <a:pt x="3438" y="588"/>
                      <a:pt x="3446" y="583"/>
                      <a:pt x="3450" y="581"/>
                    </a:cubicBezTo>
                    <a:cubicBezTo>
                      <a:pt x="3454" y="578"/>
                      <a:pt x="3455" y="576"/>
                      <a:pt x="3456" y="573"/>
                    </a:cubicBezTo>
                    <a:cubicBezTo>
                      <a:pt x="3457" y="570"/>
                      <a:pt x="3465" y="566"/>
                      <a:pt x="3472" y="561"/>
                    </a:cubicBezTo>
                    <a:cubicBezTo>
                      <a:pt x="3479" y="555"/>
                      <a:pt x="3483" y="551"/>
                      <a:pt x="3485" y="548"/>
                    </a:cubicBezTo>
                    <a:cubicBezTo>
                      <a:pt x="3486" y="544"/>
                      <a:pt x="3497" y="540"/>
                      <a:pt x="3497" y="537"/>
                    </a:cubicBezTo>
                    <a:cubicBezTo>
                      <a:pt x="3497" y="535"/>
                      <a:pt x="3510" y="528"/>
                      <a:pt x="3518" y="526"/>
                    </a:cubicBezTo>
                    <a:cubicBezTo>
                      <a:pt x="3527" y="525"/>
                      <a:pt x="3540" y="527"/>
                      <a:pt x="3543" y="529"/>
                    </a:cubicBezTo>
                    <a:cubicBezTo>
                      <a:pt x="3545" y="532"/>
                      <a:pt x="3547" y="531"/>
                      <a:pt x="3549" y="529"/>
                    </a:cubicBezTo>
                    <a:cubicBezTo>
                      <a:pt x="3550" y="528"/>
                      <a:pt x="3553" y="528"/>
                      <a:pt x="3559" y="529"/>
                    </a:cubicBezTo>
                    <a:cubicBezTo>
                      <a:pt x="3565" y="530"/>
                      <a:pt x="3566" y="526"/>
                      <a:pt x="3570" y="528"/>
                    </a:cubicBezTo>
                    <a:cubicBezTo>
                      <a:pt x="3574" y="529"/>
                      <a:pt x="3577" y="529"/>
                      <a:pt x="3579" y="525"/>
                    </a:cubicBezTo>
                    <a:cubicBezTo>
                      <a:pt x="3582" y="520"/>
                      <a:pt x="3593" y="521"/>
                      <a:pt x="3595" y="523"/>
                    </a:cubicBezTo>
                    <a:cubicBezTo>
                      <a:pt x="3598" y="525"/>
                      <a:pt x="3600" y="527"/>
                      <a:pt x="3604" y="525"/>
                    </a:cubicBezTo>
                    <a:cubicBezTo>
                      <a:pt x="3608" y="522"/>
                      <a:pt x="3608" y="528"/>
                      <a:pt x="3611" y="529"/>
                    </a:cubicBezTo>
                    <a:cubicBezTo>
                      <a:pt x="3615" y="529"/>
                      <a:pt x="3613" y="533"/>
                      <a:pt x="3609" y="532"/>
                    </a:cubicBezTo>
                    <a:cubicBezTo>
                      <a:pt x="3606" y="532"/>
                      <a:pt x="3602" y="534"/>
                      <a:pt x="3606" y="536"/>
                    </a:cubicBezTo>
                    <a:cubicBezTo>
                      <a:pt x="3610" y="538"/>
                      <a:pt x="3614" y="534"/>
                      <a:pt x="3617" y="534"/>
                    </a:cubicBezTo>
                    <a:cubicBezTo>
                      <a:pt x="3620" y="535"/>
                      <a:pt x="3625" y="535"/>
                      <a:pt x="3629" y="532"/>
                    </a:cubicBezTo>
                    <a:cubicBezTo>
                      <a:pt x="3633" y="530"/>
                      <a:pt x="3634" y="535"/>
                      <a:pt x="3637" y="532"/>
                    </a:cubicBezTo>
                    <a:cubicBezTo>
                      <a:pt x="3640" y="530"/>
                      <a:pt x="3646" y="529"/>
                      <a:pt x="3649" y="529"/>
                    </a:cubicBezTo>
                    <a:cubicBezTo>
                      <a:pt x="3652" y="530"/>
                      <a:pt x="3649" y="526"/>
                      <a:pt x="3644" y="526"/>
                    </a:cubicBezTo>
                    <a:cubicBezTo>
                      <a:pt x="3639" y="526"/>
                      <a:pt x="3639" y="523"/>
                      <a:pt x="3643" y="516"/>
                    </a:cubicBezTo>
                    <a:cubicBezTo>
                      <a:pt x="3647" y="510"/>
                      <a:pt x="3655" y="506"/>
                      <a:pt x="3660" y="502"/>
                    </a:cubicBezTo>
                    <a:cubicBezTo>
                      <a:pt x="3665" y="498"/>
                      <a:pt x="3668" y="500"/>
                      <a:pt x="3668" y="497"/>
                    </a:cubicBezTo>
                    <a:cubicBezTo>
                      <a:pt x="3668" y="494"/>
                      <a:pt x="3670" y="487"/>
                      <a:pt x="3674" y="487"/>
                    </a:cubicBezTo>
                    <a:cubicBezTo>
                      <a:pt x="3678" y="486"/>
                      <a:pt x="3687" y="488"/>
                      <a:pt x="3693" y="485"/>
                    </a:cubicBezTo>
                    <a:cubicBezTo>
                      <a:pt x="3698" y="482"/>
                      <a:pt x="3698" y="487"/>
                      <a:pt x="3700" y="488"/>
                    </a:cubicBezTo>
                    <a:cubicBezTo>
                      <a:pt x="3702" y="489"/>
                      <a:pt x="3706" y="483"/>
                      <a:pt x="3708" y="485"/>
                    </a:cubicBezTo>
                    <a:cubicBezTo>
                      <a:pt x="3711" y="487"/>
                      <a:pt x="3704" y="491"/>
                      <a:pt x="3703" y="495"/>
                    </a:cubicBezTo>
                    <a:cubicBezTo>
                      <a:pt x="3701" y="500"/>
                      <a:pt x="3706" y="498"/>
                      <a:pt x="3709" y="500"/>
                    </a:cubicBezTo>
                    <a:cubicBezTo>
                      <a:pt x="3712" y="501"/>
                      <a:pt x="3705" y="503"/>
                      <a:pt x="3706" y="504"/>
                    </a:cubicBezTo>
                    <a:cubicBezTo>
                      <a:pt x="3707" y="506"/>
                      <a:pt x="3712" y="506"/>
                      <a:pt x="3720" y="498"/>
                    </a:cubicBezTo>
                    <a:cubicBezTo>
                      <a:pt x="3727" y="491"/>
                      <a:pt x="3734" y="489"/>
                      <a:pt x="3738" y="490"/>
                    </a:cubicBezTo>
                    <a:cubicBezTo>
                      <a:pt x="3743" y="490"/>
                      <a:pt x="3740" y="485"/>
                      <a:pt x="3741" y="479"/>
                    </a:cubicBezTo>
                    <a:cubicBezTo>
                      <a:pt x="3741" y="472"/>
                      <a:pt x="3755" y="470"/>
                      <a:pt x="3760" y="472"/>
                    </a:cubicBezTo>
                    <a:cubicBezTo>
                      <a:pt x="3765" y="474"/>
                      <a:pt x="3764" y="476"/>
                      <a:pt x="3760" y="474"/>
                    </a:cubicBezTo>
                    <a:cubicBezTo>
                      <a:pt x="3755" y="473"/>
                      <a:pt x="3751" y="477"/>
                      <a:pt x="3751" y="483"/>
                    </a:cubicBezTo>
                    <a:cubicBezTo>
                      <a:pt x="3752" y="489"/>
                      <a:pt x="3747" y="490"/>
                      <a:pt x="3750" y="493"/>
                    </a:cubicBezTo>
                    <a:cubicBezTo>
                      <a:pt x="3752" y="495"/>
                      <a:pt x="3746" y="495"/>
                      <a:pt x="3746" y="498"/>
                    </a:cubicBezTo>
                    <a:cubicBezTo>
                      <a:pt x="3746" y="500"/>
                      <a:pt x="3746" y="502"/>
                      <a:pt x="3743" y="503"/>
                    </a:cubicBezTo>
                    <a:cubicBezTo>
                      <a:pt x="3740" y="504"/>
                      <a:pt x="3728" y="505"/>
                      <a:pt x="3728" y="509"/>
                    </a:cubicBezTo>
                    <a:cubicBezTo>
                      <a:pt x="3728" y="514"/>
                      <a:pt x="3722" y="514"/>
                      <a:pt x="3719" y="519"/>
                    </a:cubicBezTo>
                    <a:cubicBezTo>
                      <a:pt x="3716" y="525"/>
                      <a:pt x="3705" y="528"/>
                      <a:pt x="3698" y="539"/>
                    </a:cubicBezTo>
                    <a:cubicBezTo>
                      <a:pt x="3691" y="549"/>
                      <a:pt x="3680" y="549"/>
                      <a:pt x="3680" y="551"/>
                    </a:cubicBezTo>
                    <a:cubicBezTo>
                      <a:pt x="3680" y="553"/>
                      <a:pt x="3672" y="553"/>
                      <a:pt x="3669" y="553"/>
                    </a:cubicBezTo>
                    <a:cubicBezTo>
                      <a:pt x="3666" y="554"/>
                      <a:pt x="3672" y="560"/>
                      <a:pt x="3665" y="567"/>
                    </a:cubicBezTo>
                    <a:cubicBezTo>
                      <a:pt x="3659" y="574"/>
                      <a:pt x="3655" y="583"/>
                      <a:pt x="3655" y="593"/>
                    </a:cubicBezTo>
                    <a:cubicBezTo>
                      <a:pt x="3655" y="602"/>
                      <a:pt x="3658" y="630"/>
                      <a:pt x="3661" y="635"/>
                    </a:cubicBezTo>
                    <a:cubicBezTo>
                      <a:pt x="3664" y="639"/>
                      <a:pt x="3662" y="651"/>
                      <a:pt x="3665" y="654"/>
                    </a:cubicBezTo>
                    <a:cubicBezTo>
                      <a:pt x="3667" y="656"/>
                      <a:pt x="3666" y="660"/>
                      <a:pt x="3668" y="662"/>
                    </a:cubicBezTo>
                    <a:cubicBezTo>
                      <a:pt x="3669" y="663"/>
                      <a:pt x="3675" y="655"/>
                      <a:pt x="3679" y="652"/>
                    </a:cubicBezTo>
                    <a:cubicBezTo>
                      <a:pt x="3684" y="648"/>
                      <a:pt x="3682" y="647"/>
                      <a:pt x="3685" y="645"/>
                    </a:cubicBezTo>
                    <a:cubicBezTo>
                      <a:pt x="3688" y="643"/>
                      <a:pt x="3687" y="636"/>
                      <a:pt x="3688" y="634"/>
                    </a:cubicBezTo>
                    <a:cubicBezTo>
                      <a:pt x="3688" y="632"/>
                      <a:pt x="3694" y="631"/>
                      <a:pt x="3695" y="629"/>
                    </a:cubicBezTo>
                    <a:cubicBezTo>
                      <a:pt x="3697" y="626"/>
                      <a:pt x="3701" y="628"/>
                      <a:pt x="3704" y="627"/>
                    </a:cubicBezTo>
                    <a:cubicBezTo>
                      <a:pt x="3706" y="626"/>
                      <a:pt x="3703" y="621"/>
                      <a:pt x="3703" y="617"/>
                    </a:cubicBezTo>
                    <a:cubicBezTo>
                      <a:pt x="3702" y="614"/>
                      <a:pt x="3709" y="610"/>
                      <a:pt x="3713" y="607"/>
                    </a:cubicBezTo>
                    <a:cubicBezTo>
                      <a:pt x="3717" y="604"/>
                      <a:pt x="3722" y="609"/>
                      <a:pt x="3727" y="605"/>
                    </a:cubicBezTo>
                    <a:cubicBezTo>
                      <a:pt x="3731" y="601"/>
                      <a:pt x="3727" y="596"/>
                      <a:pt x="3725" y="594"/>
                    </a:cubicBezTo>
                    <a:cubicBezTo>
                      <a:pt x="3723" y="591"/>
                      <a:pt x="3729" y="581"/>
                      <a:pt x="3733" y="580"/>
                    </a:cubicBezTo>
                    <a:cubicBezTo>
                      <a:pt x="3736" y="579"/>
                      <a:pt x="3738" y="582"/>
                      <a:pt x="3742" y="579"/>
                    </a:cubicBezTo>
                    <a:cubicBezTo>
                      <a:pt x="3745" y="576"/>
                      <a:pt x="3739" y="572"/>
                      <a:pt x="3736" y="572"/>
                    </a:cubicBezTo>
                    <a:cubicBezTo>
                      <a:pt x="3734" y="572"/>
                      <a:pt x="3733" y="563"/>
                      <a:pt x="3739" y="559"/>
                    </a:cubicBezTo>
                    <a:cubicBezTo>
                      <a:pt x="3744" y="555"/>
                      <a:pt x="3742" y="554"/>
                      <a:pt x="3738" y="553"/>
                    </a:cubicBezTo>
                    <a:cubicBezTo>
                      <a:pt x="3735" y="552"/>
                      <a:pt x="3734" y="554"/>
                      <a:pt x="3731" y="554"/>
                    </a:cubicBezTo>
                    <a:cubicBezTo>
                      <a:pt x="3728" y="554"/>
                      <a:pt x="3725" y="548"/>
                      <a:pt x="3730" y="542"/>
                    </a:cubicBezTo>
                    <a:cubicBezTo>
                      <a:pt x="3734" y="536"/>
                      <a:pt x="3738" y="537"/>
                      <a:pt x="3739" y="532"/>
                    </a:cubicBezTo>
                    <a:cubicBezTo>
                      <a:pt x="3740" y="527"/>
                      <a:pt x="3746" y="520"/>
                      <a:pt x="3748" y="518"/>
                    </a:cubicBezTo>
                    <a:cubicBezTo>
                      <a:pt x="3749" y="515"/>
                      <a:pt x="3755" y="518"/>
                      <a:pt x="3758" y="517"/>
                    </a:cubicBezTo>
                    <a:cubicBezTo>
                      <a:pt x="3760" y="517"/>
                      <a:pt x="3759" y="522"/>
                      <a:pt x="3762" y="519"/>
                    </a:cubicBezTo>
                    <a:cubicBezTo>
                      <a:pt x="3765" y="517"/>
                      <a:pt x="3769" y="509"/>
                      <a:pt x="3773" y="509"/>
                    </a:cubicBezTo>
                    <a:cubicBezTo>
                      <a:pt x="3777" y="509"/>
                      <a:pt x="3775" y="515"/>
                      <a:pt x="3776" y="518"/>
                    </a:cubicBezTo>
                    <a:cubicBezTo>
                      <a:pt x="3777" y="522"/>
                      <a:pt x="3779" y="517"/>
                      <a:pt x="3786" y="512"/>
                    </a:cubicBezTo>
                    <a:cubicBezTo>
                      <a:pt x="3793" y="507"/>
                      <a:pt x="3809" y="508"/>
                      <a:pt x="3814" y="510"/>
                    </a:cubicBezTo>
                    <a:cubicBezTo>
                      <a:pt x="3819" y="513"/>
                      <a:pt x="3820" y="518"/>
                      <a:pt x="3823" y="517"/>
                    </a:cubicBezTo>
                    <a:cubicBezTo>
                      <a:pt x="3827" y="516"/>
                      <a:pt x="3823" y="512"/>
                      <a:pt x="3827" y="511"/>
                    </a:cubicBezTo>
                    <a:cubicBezTo>
                      <a:pt x="3831" y="510"/>
                      <a:pt x="3838" y="505"/>
                      <a:pt x="3844" y="502"/>
                    </a:cubicBezTo>
                    <a:cubicBezTo>
                      <a:pt x="3849" y="498"/>
                      <a:pt x="3847" y="501"/>
                      <a:pt x="3850" y="497"/>
                    </a:cubicBezTo>
                    <a:cubicBezTo>
                      <a:pt x="3853" y="494"/>
                      <a:pt x="3856" y="495"/>
                      <a:pt x="3857" y="493"/>
                    </a:cubicBezTo>
                    <a:cubicBezTo>
                      <a:pt x="3858" y="490"/>
                      <a:pt x="3865" y="487"/>
                      <a:pt x="3876" y="484"/>
                    </a:cubicBezTo>
                    <a:cubicBezTo>
                      <a:pt x="3886" y="482"/>
                      <a:pt x="3900" y="475"/>
                      <a:pt x="3899" y="473"/>
                    </a:cubicBezTo>
                    <a:cubicBezTo>
                      <a:pt x="3899" y="471"/>
                      <a:pt x="3903" y="470"/>
                      <a:pt x="3904" y="472"/>
                    </a:cubicBezTo>
                    <a:cubicBezTo>
                      <a:pt x="3904" y="474"/>
                      <a:pt x="3908" y="473"/>
                      <a:pt x="3914" y="474"/>
                    </a:cubicBezTo>
                    <a:cubicBezTo>
                      <a:pt x="3919" y="475"/>
                      <a:pt x="3922" y="478"/>
                      <a:pt x="3926" y="473"/>
                    </a:cubicBezTo>
                    <a:cubicBezTo>
                      <a:pt x="3930" y="469"/>
                      <a:pt x="3926" y="467"/>
                      <a:pt x="3926" y="464"/>
                    </a:cubicBezTo>
                    <a:cubicBezTo>
                      <a:pt x="3926" y="461"/>
                      <a:pt x="3918" y="457"/>
                      <a:pt x="3919" y="454"/>
                    </a:cubicBezTo>
                    <a:cubicBezTo>
                      <a:pt x="3920" y="450"/>
                      <a:pt x="3914" y="441"/>
                      <a:pt x="3912" y="443"/>
                    </a:cubicBezTo>
                    <a:cubicBezTo>
                      <a:pt x="3910" y="445"/>
                      <a:pt x="3905" y="441"/>
                      <a:pt x="3905" y="439"/>
                    </a:cubicBezTo>
                    <a:cubicBezTo>
                      <a:pt x="3905" y="436"/>
                      <a:pt x="3905" y="433"/>
                      <a:pt x="3901" y="435"/>
                    </a:cubicBezTo>
                    <a:cubicBezTo>
                      <a:pt x="3898" y="437"/>
                      <a:pt x="3893" y="436"/>
                      <a:pt x="3892" y="433"/>
                    </a:cubicBezTo>
                    <a:cubicBezTo>
                      <a:pt x="3891" y="430"/>
                      <a:pt x="3898" y="428"/>
                      <a:pt x="3903" y="430"/>
                    </a:cubicBezTo>
                    <a:cubicBezTo>
                      <a:pt x="3908" y="432"/>
                      <a:pt x="3907" y="434"/>
                      <a:pt x="3909" y="435"/>
                    </a:cubicBezTo>
                    <a:cubicBezTo>
                      <a:pt x="3912" y="437"/>
                      <a:pt x="3918" y="436"/>
                      <a:pt x="3922" y="434"/>
                    </a:cubicBezTo>
                    <a:cubicBezTo>
                      <a:pt x="3925" y="433"/>
                      <a:pt x="3935" y="429"/>
                      <a:pt x="3937" y="427"/>
                    </a:cubicBezTo>
                    <a:cubicBezTo>
                      <a:pt x="3939" y="424"/>
                      <a:pt x="3937" y="422"/>
                      <a:pt x="3940" y="421"/>
                    </a:cubicBezTo>
                    <a:cubicBezTo>
                      <a:pt x="3943" y="419"/>
                      <a:pt x="3941" y="416"/>
                      <a:pt x="3938" y="414"/>
                    </a:cubicBezTo>
                    <a:cubicBezTo>
                      <a:pt x="3935" y="413"/>
                      <a:pt x="3936" y="409"/>
                      <a:pt x="3939" y="409"/>
                    </a:cubicBezTo>
                    <a:cubicBezTo>
                      <a:pt x="3942" y="409"/>
                      <a:pt x="3941" y="405"/>
                      <a:pt x="3943" y="405"/>
                    </a:cubicBezTo>
                    <a:cubicBezTo>
                      <a:pt x="3945" y="405"/>
                      <a:pt x="3945" y="406"/>
                      <a:pt x="3949" y="405"/>
                    </a:cubicBezTo>
                    <a:cubicBezTo>
                      <a:pt x="3953" y="403"/>
                      <a:pt x="3949" y="407"/>
                      <a:pt x="3948" y="411"/>
                    </a:cubicBezTo>
                    <a:cubicBezTo>
                      <a:pt x="3946" y="414"/>
                      <a:pt x="3951" y="416"/>
                      <a:pt x="3952" y="418"/>
                    </a:cubicBezTo>
                    <a:cubicBezTo>
                      <a:pt x="3952" y="420"/>
                      <a:pt x="3959" y="421"/>
                      <a:pt x="3963" y="419"/>
                    </a:cubicBezTo>
                    <a:cubicBezTo>
                      <a:pt x="3967" y="416"/>
                      <a:pt x="3980" y="421"/>
                      <a:pt x="3981" y="424"/>
                    </a:cubicBezTo>
                    <a:cubicBezTo>
                      <a:pt x="3982" y="428"/>
                      <a:pt x="3984" y="431"/>
                      <a:pt x="3989" y="434"/>
                    </a:cubicBezTo>
                    <a:cubicBezTo>
                      <a:pt x="3994" y="437"/>
                      <a:pt x="3999" y="436"/>
                      <a:pt x="4000" y="438"/>
                    </a:cubicBezTo>
                    <a:cubicBezTo>
                      <a:pt x="4001" y="441"/>
                      <a:pt x="4003" y="442"/>
                      <a:pt x="4006" y="441"/>
                    </a:cubicBezTo>
                    <a:cubicBezTo>
                      <a:pt x="4009" y="441"/>
                      <a:pt x="4011" y="444"/>
                      <a:pt x="4013" y="442"/>
                    </a:cubicBezTo>
                    <a:cubicBezTo>
                      <a:pt x="4015" y="440"/>
                      <a:pt x="4016" y="443"/>
                      <a:pt x="4019" y="441"/>
                    </a:cubicBezTo>
                    <a:cubicBezTo>
                      <a:pt x="4022" y="438"/>
                      <a:pt x="4013" y="436"/>
                      <a:pt x="4014" y="434"/>
                    </a:cubicBezTo>
                    <a:cubicBezTo>
                      <a:pt x="4015" y="432"/>
                      <a:pt x="4017" y="436"/>
                      <a:pt x="4020" y="436"/>
                    </a:cubicBezTo>
                    <a:cubicBezTo>
                      <a:pt x="4022" y="436"/>
                      <a:pt x="4019" y="431"/>
                      <a:pt x="4021" y="430"/>
                    </a:cubicBezTo>
                    <a:cubicBezTo>
                      <a:pt x="4023" y="430"/>
                      <a:pt x="4021" y="420"/>
                      <a:pt x="4019" y="419"/>
                    </a:cubicBezTo>
                    <a:cubicBezTo>
                      <a:pt x="4017" y="418"/>
                      <a:pt x="4019" y="415"/>
                      <a:pt x="4023" y="418"/>
                    </a:cubicBezTo>
                    <a:close/>
                    <a:moveTo>
                      <a:pt x="2248" y="1389"/>
                    </a:moveTo>
                    <a:cubicBezTo>
                      <a:pt x="2243" y="1392"/>
                      <a:pt x="2239" y="1376"/>
                      <a:pt x="2233" y="1373"/>
                    </a:cubicBezTo>
                    <a:cubicBezTo>
                      <a:pt x="2228" y="1370"/>
                      <a:pt x="2226" y="1332"/>
                      <a:pt x="2228" y="1331"/>
                    </a:cubicBezTo>
                    <a:cubicBezTo>
                      <a:pt x="2231" y="1330"/>
                      <a:pt x="2233" y="1360"/>
                      <a:pt x="2239" y="1366"/>
                    </a:cubicBezTo>
                    <a:cubicBezTo>
                      <a:pt x="2245" y="1371"/>
                      <a:pt x="2244" y="1377"/>
                      <a:pt x="2245" y="1380"/>
                    </a:cubicBezTo>
                    <a:cubicBezTo>
                      <a:pt x="2246" y="1384"/>
                      <a:pt x="2251" y="1388"/>
                      <a:pt x="2248" y="1389"/>
                    </a:cubicBezTo>
                    <a:close/>
                    <a:moveTo>
                      <a:pt x="2295" y="1455"/>
                    </a:moveTo>
                    <a:cubicBezTo>
                      <a:pt x="2292" y="1459"/>
                      <a:pt x="2284" y="1446"/>
                      <a:pt x="2283" y="1438"/>
                    </a:cubicBezTo>
                    <a:cubicBezTo>
                      <a:pt x="2282" y="1429"/>
                      <a:pt x="2288" y="1425"/>
                      <a:pt x="2284" y="1418"/>
                    </a:cubicBezTo>
                    <a:cubicBezTo>
                      <a:pt x="2281" y="1410"/>
                      <a:pt x="2279" y="1402"/>
                      <a:pt x="2283" y="1402"/>
                    </a:cubicBezTo>
                    <a:cubicBezTo>
                      <a:pt x="2288" y="1402"/>
                      <a:pt x="2293" y="1423"/>
                      <a:pt x="2291" y="1429"/>
                    </a:cubicBezTo>
                    <a:cubicBezTo>
                      <a:pt x="2288" y="1436"/>
                      <a:pt x="2298" y="1452"/>
                      <a:pt x="2295" y="1455"/>
                    </a:cubicBezTo>
                    <a:close/>
                    <a:moveTo>
                      <a:pt x="2267" y="1291"/>
                    </a:moveTo>
                    <a:cubicBezTo>
                      <a:pt x="2276" y="1289"/>
                      <a:pt x="2290" y="1293"/>
                      <a:pt x="2290" y="1296"/>
                    </a:cubicBezTo>
                    <a:cubicBezTo>
                      <a:pt x="2289" y="1299"/>
                      <a:pt x="2282" y="1297"/>
                      <a:pt x="2282" y="1303"/>
                    </a:cubicBezTo>
                    <a:cubicBezTo>
                      <a:pt x="2282" y="1309"/>
                      <a:pt x="2279" y="1313"/>
                      <a:pt x="2276" y="1315"/>
                    </a:cubicBezTo>
                    <a:cubicBezTo>
                      <a:pt x="2273" y="1316"/>
                      <a:pt x="2281" y="1321"/>
                      <a:pt x="2277" y="1322"/>
                    </a:cubicBezTo>
                    <a:cubicBezTo>
                      <a:pt x="2273" y="1323"/>
                      <a:pt x="2265" y="1318"/>
                      <a:pt x="2259" y="1321"/>
                    </a:cubicBezTo>
                    <a:cubicBezTo>
                      <a:pt x="2252" y="1324"/>
                      <a:pt x="2259" y="1294"/>
                      <a:pt x="2267" y="1291"/>
                    </a:cubicBezTo>
                    <a:close/>
                    <a:moveTo>
                      <a:pt x="2522" y="803"/>
                    </a:moveTo>
                    <a:cubicBezTo>
                      <a:pt x="2518" y="803"/>
                      <a:pt x="2514" y="807"/>
                      <a:pt x="2510" y="806"/>
                    </a:cubicBezTo>
                    <a:cubicBezTo>
                      <a:pt x="2506" y="804"/>
                      <a:pt x="2501" y="801"/>
                      <a:pt x="2500" y="806"/>
                    </a:cubicBezTo>
                    <a:cubicBezTo>
                      <a:pt x="2499" y="810"/>
                      <a:pt x="2497" y="815"/>
                      <a:pt x="2502" y="815"/>
                    </a:cubicBezTo>
                    <a:cubicBezTo>
                      <a:pt x="2508" y="815"/>
                      <a:pt x="2507" y="818"/>
                      <a:pt x="2503" y="822"/>
                    </a:cubicBezTo>
                    <a:cubicBezTo>
                      <a:pt x="2499" y="826"/>
                      <a:pt x="2509" y="821"/>
                      <a:pt x="2509" y="825"/>
                    </a:cubicBezTo>
                    <a:cubicBezTo>
                      <a:pt x="2510" y="828"/>
                      <a:pt x="2513" y="828"/>
                      <a:pt x="2512" y="834"/>
                    </a:cubicBezTo>
                    <a:cubicBezTo>
                      <a:pt x="2510" y="839"/>
                      <a:pt x="2513" y="853"/>
                      <a:pt x="2511" y="855"/>
                    </a:cubicBezTo>
                    <a:cubicBezTo>
                      <a:pt x="2509" y="857"/>
                      <a:pt x="2497" y="860"/>
                      <a:pt x="2487" y="860"/>
                    </a:cubicBezTo>
                    <a:cubicBezTo>
                      <a:pt x="2477" y="860"/>
                      <a:pt x="2477" y="848"/>
                      <a:pt x="2466" y="848"/>
                    </a:cubicBezTo>
                    <a:cubicBezTo>
                      <a:pt x="2456" y="848"/>
                      <a:pt x="2449" y="835"/>
                      <a:pt x="2455" y="828"/>
                    </a:cubicBezTo>
                    <a:cubicBezTo>
                      <a:pt x="2460" y="821"/>
                      <a:pt x="2465" y="810"/>
                      <a:pt x="2461" y="804"/>
                    </a:cubicBezTo>
                    <a:cubicBezTo>
                      <a:pt x="2458" y="798"/>
                      <a:pt x="2438" y="777"/>
                      <a:pt x="2438" y="771"/>
                    </a:cubicBezTo>
                    <a:cubicBezTo>
                      <a:pt x="2439" y="765"/>
                      <a:pt x="2441" y="762"/>
                      <a:pt x="2434" y="756"/>
                    </a:cubicBezTo>
                    <a:cubicBezTo>
                      <a:pt x="2427" y="750"/>
                      <a:pt x="2435" y="746"/>
                      <a:pt x="2440" y="739"/>
                    </a:cubicBezTo>
                    <a:cubicBezTo>
                      <a:pt x="2445" y="733"/>
                      <a:pt x="2456" y="731"/>
                      <a:pt x="2462" y="726"/>
                    </a:cubicBezTo>
                    <a:cubicBezTo>
                      <a:pt x="2467" y="721"/>
                      <a:pt x="2478" y="716"/>
                      <a:pt x="2485" y="718"/>
                    </a:cubicBezTo>
                    <a:cubicBezTo>
                      <a:pt x="2493" y="720"/>
                      <a:pt x="2499" y="717"/>
                      <a:pt x="2503" y="721"/>
                    </a:cubicBezTo>
                    <a:cubicBezTo>
                      <a:pt x="2506" y="726"/>
                      <a:pt x="2503" y="735"/>
                      <a:pt x="2504" y="738"/>
                    </a:cubicBezTo>
                    <a:cubicBezTo>
                      <a:pt x="2505" y="741"/>
                      <a:pt x="2498" y="742"/>
                      <a:pt x="2493" y="741"/>
                    </a:cubicBezTo>
                    <a:cubicBezTo>
                      <a:pt x="2488" y="740"/>
                      <a:pt x="2478" y="743"/>
                      <a:pt x="2479" y="746"/>
                    </a:cubicBezTo>
                    <a:cubicBezTo>
                      <a:pt x="2480" y="749"/>
                      <a:pt x="2484" y="756"/>
                      <a:pt x="2477" y="752"/>
                    </a:cubicBezTo>
                    <a:cubicBezTo>
                      <a:pt x="2471" y="749"/>
                      <a:pt x="2468" y="756"/>
                      <a:pt x="2472" y="756"/>
                    </a:cubicBezTo>
                    <a:cubicBezTo>
                      <a:pt x="2475" y="756"/>
                      <a:pt x="2480" y="760"/>
                      <a:pt x="2480" y="763"/>
                    </a:cubicBezTo>
                    <a:cubicBezTo>
                      <a:pt x="2480" y="766"/>
                      <a:pt x="2481" y="773"/>
                      <a:pt x="2484" y="772"/>
                    </a:cubicBezTo>
                    <a:cubicBezTo>
                      <a:pt x="2487" y="771"/>
                      <a:pt x="2487" y="777"/>
                      <a:pt x="2492" y="777"/>
                    </a:cubicBezTo>
                    <a:cubicBezTo>
                      <a:pt x="2497" y="776"/>
                      <a:pt x="2501" y="778"/>
                      <a:pt x="2497" y="782"/>
                    </a:cubicBezTo>
                    <a:cubicBezTo>
                      <a:pt x="2494" y="787"/>
                      <a:pt x="2500" y="799"/>
                      <a:pt x="2501" y="796"/>
                    </a:cubicBezTo>
                    <a:cubicBezTo>
                      <a:pt x="2502" y="793"/>
                      <a:pt x="2500" y="786"/>
                      <a:pt x="2508" y="786"/>
                    </a:cubicBezTo>
                    <a:cubicBezTo>
                      <a:pt x="2516" y="787"/>
                      <a:pt x="2512" y="796"/>
                      <a:pt x="2516" y="797"/>
                    </a:cubicBezTo>
                    <a:cubicBezTo>
                      <a:pt x="2521" y="797"/>
                      <a:pt x="2526" y="804"/>
                      <a:pt x="2522" y="803"/>
                    </a:cubicBezTo>
                    <a:close/>
                    <a:moveTo>
                      <a:pt x="2587" y="757"/>
                    </a:moveTo>
                    <a:cubicBezTo>
                      <a:pt x="2579" y="763"/>
                      <a:pt x="2571" y="762"/>
                      <a:pt x="2573" y="754"/>
                    </a:cubicBezTo>
                    <a:cubicBezTo>
                      <a:pt x="2576" y="747"/>
                      <a:pt x="2576" y="738"/>
                      <a:pt x="2572" y="738"/>
                    </a:cubicBezTo>
                    <a:cubicBezTo>
                      <a:pt x="2568" y="738"/>
                      <a:pt x="2571" y="754"/>
                      <a:pt x="2567" y="755"/>
                    </a:cubicBezTo>
                    <a:cubicBezTo>
                      <a:pt x="2564" y="756"/>
                      <a:pt x="2563" y="741"/>
                      <a:pt x="2567" y="735"/>
                    </a:cubicBezTo>
                    <a:cubicBezTo>
                      <a:pt x="2570" y="730"/>
                      <a:pt x="2575" y="734"/>
                      <a:pt x="2577" y="736"/>
                    </a:cubicBezTo>
                    <a:cubicBezTo>
                      <a:pt x="2578" y="737"/>
                      <a:pt x="2578" y="730"/>
                      <a:pt x="2582" y="730"/>
                    </a:cubicBezTo>
                    <a:cubicBezTo>
                      <a:pt x="2586" y="731"/>
                      <a:pt x="2581" y="737"/>
                      <a:pt x="2584" y="737"/>
                    </a:cubicBezTo>
                    <a:cubicBezTo>
                      <a:pt x="2587" y="737"/>
                      <a:pt x="2595" y="751"/>
                      <a:pt x="2587" y="757"/>
                    </a:cubicBezTo>
                    <a:close/>
                    <a:moveTo>
                      <a:pt x="2599" y="728"/>
                    </a:moveTo>
                    <a:cubicBezTo>
                      <a:pt x="2598" y="730"/>
                      <a:pt x="2584" y="727"/>
                      <a:pt x="2583" y="724"/>
                    </a:cubicBezTo>
                    <a:cubicBezTo>
                      <a:pt x="2582" y="721"/>
                      <a:pt x="2602" y="724"/>
                      <a:pt x="2599" y="728"/>
                    </a:cubicBezTo>
                    <a:close/>
                    <a:moveTo>
                      <a:pt x="2788" y="727"/>
                    </a:moveTo>
                    <a:cubicBezTo>
                      <a:pt x="2779" y="727"/>
                      <a:pt x="2758" y="722"/>
                      <a:pt x="2750" y="731"/>
                    </a:cubicBezTo>
                    <a:cubicBezTo>
                      <a:pt x="2742" y="740"/>
                      <a:pt x="2748" y="745"/>
                      <a:pt x="2744" y="746"/>
                    </a:cubicBezTo>
                    <a:cubicBezTo>
                      <a:pt x="2740" y="746"/>
                      <a:pt x="2738" y="732"/>
                      <a:pt x="2743" y="727"/>
                    </a:cubicBezTo>
                    <a:cubicBezTo>
                      <a:pt x="2747" y="723"/>
                      <a:pt x="2762" y="721"/>
                      <a:pt x="2772" y="723"/>
                    </a:cubicBezTo>
                    <a:cubicBezTo>
                      <a:pt x="2781" y="725"/>
                      <a:pt x="2798" y="721"/>
                      <a:pt x="2800" y="722"/>
                    </a:cubicBezTo>
                    <a:cubicBezTo>
                      <a:pt x="2802" y="722"/>
                      <a:pt x="2798" y="727"/>
                      <a:pt x="2788" y="727"/>
                    </a:cubicBezTo>
                    <a:close/>
                    <a:moveTo>
                      <a:pt x="3119" y="626"/>
                    </a:moveTo>
                    <a:cubicBezTo>
                      <a:pt x="3109" y="635"/>
                      <a:pt x="3090" y="637"/>
                      <a:pt x="3090" y="644"/>
                    </a:cubicBezTo>
                    <a:cubicBezTo>
                      <a:pt x="3090" y="651"/>
                      <a:pt x="3067" y="654"/>
                      <a:pt x="3065" y="651"/>
                    </a:cubicBezTo>
                    <a:cubicBezTo>
                      <a:pt x="3064" y="649"/>
                      <a:pt x="3082" y="648"/>
                      <a:pt x="3087" y="638"/>
                    </a:cubicBezTo>
                    <a:cubicBezTo>
                      <a:pt x="3091" y="628"/>
                      <a:pt x="3108" y="623"/>
                      <a:pt x="3117" y="609"/>
                    </a:cubicBezTo>
                    <a:cubicBezTo>
                      <a:pt x="3123" y="600"/>
                      <a:pt x="3128" y="585"/>
                      <a:pt x="3131" y="586"/>
                    </a:cubicBezTo>
                    <a:cubicBezTo>
                      <a:pt x="3135" y="587"/>
                      <a:pt x="3128" y="618"/>
                      <a:pt x="3119" y="626"/>
                    </a:cubicBezTo>
                    <a:close/>
                    <a:moveTo>
                      <a:pt x="2045" y="118"/>
                    </a:moveTo>
                    <a:cubicBezTo>
                      <a:pt x="2049" y="119"/>
                      <a:pt x="2040" y="124"/>
                      <a:pt x="2038" y="129"/>
                    </a:cubicBezTo>
                    <a:cubicBezTo>
                      <a:pt x="2037" y="134"/>
                      <a:pt x="2046" y="138"/>
                      <a:pt x="2049" y="141"/>
                    </a:cubicBezTo>
                    <a:cubicBezTo>
                      <a:pt x="2053" y="145"/>
                      <a:pt x="2062" y="144"/>
                      <a:pt x="2065" y="142"/>
                    </a:cubicBezTo>
                    <a:cubicBezTo>
                      <a:pt x="2069" y="140"/>
                      <a:pt x="2068" y="133"/>
                      <a:pt x="2072" y="134"/>
                    </a:cubicBezTo>
                    <a:cubicBezTo>
                      <a:pt x="2076" y="134"/>
                      <a:pt x="2074" y="130"/>
                      <a:pt x="2077" y="129"/>
                    </a:cubicBezTo>
                    <a:cubicBezTo>
                      <a:pt x="2081" y="127"/>
                      <a:pt x="2081" y="132"/>
                      <a:pt x="2078" y="135"/>
                    </a:cubicBezTo>
                    <a:cubicBezTo>
                      <a:pt x="2075" y="139"/>
                      <a:pt x="2084" y="139"/>
                      <a:pt x="2088" y="134"/>
                    </a:cubicBezTo>
                    <a:cubicBezTo>
                      <a:pt x="2093" y="130"/>
                      <a:pt x="2094" y="134"/>
                      <a:pt x="2093" y="138"/>
                    </a:cubicBezTo>
                    <a:cubicBezTo>
                      <a:pt x="2092" y="142"/>
                      <a:pt x="2082" y="140"/>
                      <a:pt x="2079" y="144"/>
                    </a:cubicBezTo>
                    <a:cubicBezTo>
                      <a:pt x="2076" y="149"/>
                      <a:pt x="2066" y="145"/>
                      <a:pt x="2061" y="150"/>
                    </a:cubicBezTo>
                    <a:cubicBezTo>
                      <a:pt x="2057" y="155"/>
                      <a:pt x="2065" y="156"/>
                      <a:pt x="2072" y="154"/>
                    </a:cubicBezTo>
                    <a:cubicBezTo>
                      <a:pt x="2078" y="153"/>
                      <a:pt x="2090" y="152"/>
                      <a:pt x="2094" y="153"/>
                    </a:cubicBezTo>
                    <a:cubicBezTo>
                      <a:pt x="2099" y="154"/>
                      <a:pt x="2091" y="156"/>
                      <a:pt x="2084" y="156"/>
                    </a:cubicBezTo>
                    <a:cubicBezTo>
                      <a:pt x="2076" y="156"/>
                      <a:pt x="2074" y="158"/>
                      <a:pt x="2074" y="160"/>
                    </a:cubicBezTo>
                    <a:cubicBezTo>
                      <a:pt x="2074" y="162"/>
                      <a:pt x="2064" y="158"/>
                      <a:pt x="2063" y="162"/>
                    </a:cubicBezTo>
                    <a:cubicBezTo>
                      <a:pt x="2063" y="167"/>
                      <a:pt x="2073" y="169"/>
                      <a:pt x="2074" y="171"/>
                    </a:cubicBezTo>
                    <a:cubicBezTo>
                      <a:pt x="2076" y="174"/>
                      <a:pt x="2083" y="172"/>
                      <a:pt x="2085" y="173"/>
                    </a:cubicBezTo>
                    <a:cubicBezTo>
                      <a:pt x="2088" y="174"/>
                      <a:pt x="2081" y="176"/>
                      <a:pt x="2080" y="177"/>
                    </a:cubicBezTo>
                    <a:cubicBezTo>
                      <a:pt x="2079" y="178"/>
                      <a:pt x="2088" y="180"/>
                      <a:pt x="2089" y="182"/>
                    </a:cubicBezTo>
                    <a:cubicBezTo>
                      <a:pt x="2091" y="185"/>
                      <a:pt x="2097" y="184"/>
                      <a:pt x="2097" y="180"/>
                    </a:cubicBezTo>
                    <a:cubicBezTo>
                      <a:pt x="2096" y="176"/>
                      <a:pt x="2102" y="163"/>
                      <a:pt x="2110" y="160"/>
                    </a:cubicBezTo>
                    <a:cubicBezTo>
                      <a:pt x="2117" y="157"/>
                      <a:pt x="2113" y="155"/>
                      <a:pt x="2114" y="150"/>
                    </a:cubicBezTo>
                    <a:cubicBezTo>
                      <a:pt x="2115" y="146"/>
                      <a:pt x="2121" y="150"/>
                      <a:pt x="2119" y="146"/>
                    </a:cubicBezTo>
                    <a:cubicBezTo>
                      <a:pt x="2117" y="143"/>
                      <a:pt x="2118" y="141"/>
                      <a:pt x="2123" y="137"/>
                    </a:cubicBezTo>
                    <a:cubicBezTo>
                      <a:pt x="2128" y="132"/>
                      <a:pt x="2131" y="135"/>
                      <a:pt x="2137" y="133"/>
                    </a:cubicBezTo>
                    <a:cubicBezTo>
                      <a:pt x="2142" y="130"/>
                      <a:pt x="2145" y="135"/>
                      <a:pt x="2139" y="135"/>
                    </a:cubicBezTo>
                    <a:cubicBezTo>
                      <a:pt x="2133" y="136"/>
                      <a:pt x="2136" y="142"/>
                      <a:pt x="2141" y="144"/>
                    </a:cubicBezTo>
                    <a:cubicBezTo>
                      <a:pt x="2145" y="145"/>
                      <a:pt x="2141" y="147"/>
                      <a:pt x="2145" y="148"/>
                    </a:cubicBezTo>
                    <a:cubicBezTo>
                      <a:pt x="2148" y="148"/>
                      <a:pt x="2147" y="154"/>
                      <a:pt x="2143" y="158"/>
                    </a:cubicBezTo>
                    <a:cubicBezTo>
                      <a:pt x="2138" y="163"/>
                      <a:pt x="2144" y="164"/>
                      <a:pt x="2153" y="161"/>
                    </a:cubicBezTo>
                    <a:cubicBezTo>
                      <a:pt x="2163" y="157"/>
                      <a:pt x="2157" y="164"/>
                      <a:pt x="2160" y="166"/>
                    </a:cubicBezTo>
                    <a:cubicBezTo>
                      <a:pt x="2162" y="169"/>
                      <a:pt x="2170" y="164"/>
                      <a:pt x="2174" y="160"/>
                    </a:cubicBezTo>
                    <a:cubicBezTo>
                      <a:pt x="2178" y="155"/>
                      <a:pt x="2184" y="156"/>
                      <a:pt x="2184" y="153"/>
                    </a:cubicBezTo>
                    <a:cubicBezTo>
                      <a:pt x="2183" y="150"/>
                      <a:pt x="2179" y="150"/>
                      <a:pt x="2176" y="151"/>
                    </a:cubicBezTo>
                    <a:cubicBezTo>
                      <a:pt x="2172" y="153"/>
                      <a:pt x="2163" y="152"/>
                      <a:pt x="2166" y="149"/>
                    </a:cubicBezTo>
                    <a:cubicBezTo>
                      <a:pt x="2169" y="146"/>
                      <a:pt x="2169" y="144"/>
                      <a:pt x="2164" y="144"/>
                    </a:cubicBezTo>
                    <a:cubicBezTo>
                      <a:pt x="2160" y="145"/>
                      <a:pt x="2152" y="143"/>
                      <a:pt x="2156" y="141"/>
                    </a:cubicBezTo>
                    <a:cubicBezTo>
                      <a:pt x="2159" y="140"/>
                      <a:pt x="2153" y="135"/>
                      <a:pt x="2149" y="135"/>
                    </a:cubicBezTo>
                    <a:cubicBezTo>
                      <a:pt x="2146" y="135"/>
                      <a:pt x="2147" y="131"/>
                      <a:pt x="2147" y="128"/>
                    </a:cubicBezTo>
                    <a:cubicBezTo>
                      <a:pt x="2147" y="126"/>
                      <a:pt x="2137" y="124"/>
                      <a:pt x="2139" y="123"/>
                    </a:cubicBezTo>
                    <a:cubicBezTo>
                      <a:pt x="2141" y="122"/>
                      <a:pt x="2135" y="120"/>
                      <a:pt x="2133" y="122"/>
                    </a:cubicBezTo>
                    <a:cubicBezTo>
                      <a:pt x="2132" y="124"/>
                      <a:pt x="2129" y="124"/>
                      <a:pt x="2129" y="121"/>
                    </a:cubicBezTo>
                    <a:cubicBezTo>
                      <a:pt x="2129" y="118"/>
                      <a:pt x="2121" y="118"/>
                      <a:pt x="2118" y="119"/>
                    </a:cubicBezTo>
                    <a:cubicBezTo>
                      <a:pt x="2115" y="119"/>
                      <a:pt x="2117" y="112"/>
                      <a:pt x="2114" y="110"/>
                    </a:cubicBezTo>
                    <a:cubicBezTo>
                      <a:pt x="2111" y="108"/>
                      <a:pt x="2107" y="114"/>
                      <a:pt x="2105" y="114"/>
                    </a:cubicBezTo>
                    <a:cubicBezTo>
                      <a:pt x="2102" y="113"/>
                      <a:pt x="2106" y="109"/>
                      <a:pt x="2108" y="106"/>
                    </a:cubicBezTo>
                    <a:cubicBezTo>
                      <a:pt x="2109" y="103"/>
                      <a:pt x="2097" y="99"/>
                      <a:pt x="2096" y="102"/>
                    </a:cubicBezTo>
                    <a:cubicBezTo>
                      <a:pt x="2095" y="105"/>
                      <a:pt x="2092" y="97"/>
                      <a:pt x="2090" y="97"/>
                    </a:cubicBezTo>
                    <a:cubicBezTo>
                      <a:pt x="2087" y="96"/>
                      <a:pt x="2089" y="102"/>
                      <a:pt x="2087" y="102"/>
                    </a:cubicBezTo>
                    <a:cubicBezTo>
                      <a:pt x="2085" y="103"/>
                      <a:pt x="2082" y="105"/>
                      <a:pt x="2086" y="107"/>
                    </a:cubicBezTo>
                    <a:cubicBezTo>
                      <a:pt x="2089" y="110"/>
                      <a:pt x="2093" y="122"/>
                      <a:pt x="2093" y="124"/>
                    </a:cubicBezTo>
                    <a:cubicBezTo>
                      <a:pt x="2092" y="126"/>
                      <a:pt x="2081" y="115"/>
                      <a:pt x="2080" y="110"/>
                    </a:cubicBezTo>
                    <a:cubicBezTo>
                      <a:pt x="2080" y="105"/>
                      <a:pt x="2074" y="101"/>
                      <a:pt x="2072" y="104"/>
                    </a:cubicBezTo>
                    <a:cubicBezTo>
                      <a:pt x="2071" y="108"/>
                      <a:pt x="2067" y="110"/>
                      <a:pt x="2068" y="113"/>
                    </a:cubicBezTo>
                    <a:cubicBezTo>
                      <a:pt x="2069" y="117"/>
                      <a:pt x="2065" y="118"/>
                      <a:pt x="2065" y="115"/>
                    </a:cubicBezTo>
                    <a:cubicBezTo>
                      <a:pt x="2065" y="112"/>
                      <a:pt x="2059" y="109"/>
                      <a:pt x="2056" y="109"/>
                    </a:cubicBezTo>
                    <a:cubicBezTo>
                      <a:pt x="2054" y="108"/>
                      <a:pt x="2062" y="107"/>
                      <a:pt x="2066" y="105"/>
                    </a:cubicBezTo>
                    <a:cubicBezTo>
                      <a:pt x="2070" y="103"/>
                      <a:pt x="2063" y="101"/>
                      <a:pt x="2059" y="103"/>
                    </a:cubicBezTo>
                    <a:cubicBezTo>
                      <a:pt x="2056" y="105"/>
                      <a:pt x="2052" y="102"/>
                      <a:pt x="2050" y="104"/>
                    </a:cubicBezTo>
                    <a:cubicBezTo>
                      <a:pt x="2048" y="107"/>
                      <a:pt x="2045" y="104"/>
                      <a:pt x="2042" y="104"/>
                    </a:cubicBezTo>
                    <a:cubicBezTo>
                      <a:pt x="2038" y="103"/>
                      <a:pt x="2035" y="109"/>
                      <a:pt x="2033" y="108"/>
                    </a:cubicBezTo>
                    <a:cubicBezTo>
                      <a:pt x="2030" y="107"/>
                      <a:pt x="2029" y="113"/>
                      <a:pt x="2033" y="119"/>
                    </a:cubicBezTo>
                    <a:cubicBezTo>
                      <a:pt x="2037" y="125"/>
                      <a:pt x="2040" y="117"/>
                      <a:pt x="2045" y="118"/>
                    </a:cubicBezTo>
                    <a:close/>
                    <a:moveTo>
                      <a:pt x="2034" y="138"/>
                    </a:moveTo>
                    <a:cubicBezTo>
                      <a:pt x="2037" y="139"/>
                      <a:pt x="2040" y="144"/>
                      <a:pt x="2042" y="144"/>
                    </a:cubicBezTo>
                    <a:cubicBezTo>
                      <a:pt x="2044" y="144"/>
                      <a:pt x="2038" y="137"/>
                      <a:pt x="2035" y="134"/>
                    </a:cubicBezTo>
                    <a:cubicBezTo>
                      <a:pt x="2032" y="130"/>
                      <a:pt x="2032" y="127"/>
                      <a:pt x="2027" y="128"/>
                    </a:cubicBezTo>
                    <a:cubicBezTo>
                      <a:pt x="2023" y="129"/>
                      <a:pt x="2031" y="137"/>
                      <a:pt x="2034" y="138"/>
                    </a:cubicBezTo>
                    <a:close/>
                    <a:moveTo>
                      <a:pt x="2114" y="98"/>
                    </a:moveTo>
                    <a:cubicBezTo>
                      <a:pt x="2116" y="99"/>
                      <a:pt x="2110" y="99"/>
                      <a:pt x="2113" y="102"/>
                    </a:cubicBezTo>
                    <a:cubicBezTo>
                      <a:pt x="2120" y="109"/>
                      <a:pt x="2150" y="101"/>
                      <a:pt x="2154" y="103"/>
                    </a:cubicBezTo>
                    <a:cubicBezTo>
                      <a:pt x="2158" y="105"/>
                      <a:pt x="2129" y="108"/>
                      <a:pt x="2130" y="111"/>
                    </a:cubicBezTo>
                    <a:cubicBezTo>
                      <a:pt x="2131" y="114"/>
                      <a:pt x="2155" y="117"/>
                      <a:pt x="2157" y="115"/>
                    </a:cubicBezTo>
                    <a:cubicBezTo>
                      <a:pt x="2158" y="113"/>
                      <a:pt x="2162" y="119"/>
                      <a:pt x="2170" y="119"/>
                    </a:cubicBezTo>
                    <a:cubicBezTo>
                      <a:pt x="2178" y="120"/>
                      <a:pt x="2177" y="116"/>
                      <a:pt x="2183" y="116"/>
                    </a:cubicBezTo>
                    <a:cubicBezTo>
                      <a:pt x="2189" y="116"/>
                      <a:pt x="2197" y="113"/>
                      <a:pt x="2197" y="110"/>
                    </a:cubicBezTo>
                    <a:cubicBezTo>
                      <a:pt x="2198" y="106"/>
                      <a:pt x="2214" y="102"/>
                      <a:pt x="2213" y="97"/>
                    </a:cubicBezTo>
                    <a:cubicBezTo>
                      <a:pt x="2211" y="91"/>
                      <a:pt x="2195" y="95"/>
                      <a:pt x="2191" y="93"/>
                    </a:cubicBezTo>
                    <a:cubicBezTo>
                      <a:pt x="2186" y="91"/>
                      <a:pt x="2176" y="88"/>
                      <a:pt x="2174" y="91"/>
                    </a:cubicBezTo>
                    <a:cubicBezTo>
                      <a:pt x="2172" y="95"/>
                      <a:pt x="2169" y="96"/>
                      <a:pt x="2168" y="94"/>
                    </a:cubicBezTo>
                    <a:cubicBezTo>
                      <a:pt x="2166" y="93"/>
                      <a:pt x="2168" y="85"/>
                      <a:pt x="2161" y="87"/>
                    </a:cubicBezTo>
                    <a:cubicBezTo>
                      <a:pt x="2154" y="89"/>
                      <a:pt x="2161" y="97"/>
                      <a:pt x="2159" y="98"/>
                    </a:cubicBezTo>
                    <a:cubicBezTo>
                      <a:pt x="2158" y="99"/>
                      <a:pt x="2151" y="96"/>
                      <a:pt x="2150" y="93"/>
                    </a:cubicBezTo>
                    <a:cubicBezTo>
                      <a:pt x="2150" y="89"/>
                      <a:pt x="2142" y="97"/>
                      <a:pt x="2141" y="92"/>
                    </a:cubicBezTo>
                    <a:cubicBezTo>
                      <a:pt x="2140" y="88"/>
                      <a:pt x="2131" y="85"/>
                      <a:pt x="2129" y="85"/>
                    </a:cubicBezTo>
                    <a:cubicBezTo>
                      <a:pt x="2127" y="86"/>
                      <a:pt x="2131" y="88"/>
                      <a:pt x="2129" y="90"/>
                    </a:cubicBezTo>
                    <a:cubicBezTo>
                      <a:pt x="2128" y="92"/>
                      <a:pt x="2123" y="88"/>
                      <a:pt x="2121" y="88"/>
                    </a:cubicBezTo>
                    <a:cubicBezTo>
                      <a:pt x="2119" y="88"/>
                      <a:pt x="2122" y="92"/>
                      <a:pt x="2121" y="94"/>
                    </a:cubicBezTo>
                    <a:cubicBezTo>
                      <a:pt x="2120" y="96"/>
                      <a:pt x="2116" y="88"/>
                      <a:pt x="2113" y="88"/>
                    </a:cubicBezTo>
                    <a:cubicBezTo>
                      <a:pt x="2109" y="88"/>
                      <a:pt x="2111" y="92"/>
                      <a:pt x="2108" y="93"/>
                    </a:cubicBezTo>
                    <a:cubicBezTo>
                      <a:pt x="2106" y="93"/>
                      <a:pt x="2112" y="96"/>
                      <a:pt x="2114" y="98"/>
                    </a:cubicBezTo>
                    <a:close/>
                    <a:moveTo>
                      <a:pt x="2452" y="351"/>
                    </a:moveTo>
                    <a:cubicBezTo>
                      <a:pt x="2461" y="359"/>
                      <a:pt x="2468" y="347"/>
                      <a:pt x="2473" y="347"/>
                    </a:cubicBezTo>
                    <a:cubicBezTo>
                      <a:pt x="2477" y="346"/>
                      <a:pt x="2470" y="341"/>
                      <a:pt x="2463" y="339"/>
                    </a:cubicBezTo>
                    <a:cubicBezTo>
                      <a:pt x="2455" y="337"/>
                      <a:pt x="2445" y="345"/>
                      <a:pt x="2452" y="351"/>
                    </a:cubicBezTo>
                    <a:close/>
                    <a:moveTo>
                      <a:pt x="2510" y="262"/>
                    </a:moveTo>
                    <a:cubicBezTo>
                      <a:pt x="2511" y="265"/>
                      <a:pt x="2509" y="267"/>
                      <a:pt x="2502" y="267"/>
                    </a:cubicBezTo>
                    <a:cubicBezTo>
                      <a:pt x="2496" y="267"/>
                      <a:pt x="2505" y="271"/>
                      <a:pt x="2506" y="275"/>
                    </a:cubicBezTo>
                    <a:cubicBezTo>
                      <a:pt x="2507" y="279"/>
                      <a:pt x="2500" y="276"/>
                      <a:pt x="2499" y="282"/>
                    </a:cubicBezTo>
                    <a:cubicBezTo>
                      <a:pt x="2499" y="287"/>
                      <a:pt x="2487" y="282"/>
                      <a:pt x="2485" y="289"/>
                    </a:cubicBezTo>
                    <a:cubicBezTo>
                      <a:pt x="2484" y="296"/>
                      <a:pt x="2491" y="295"/>
                      <a:pt x="2497" y="296"/>
                    </a:cubicBezTo>
                    <a:cubicBezTo>
                      <a:pt x="2502" y="296"/>
                      <a:pt x="2495" y="301"/>
                      <a:pt x="2499" y="304"/>
                    </a:cubicBezTo>
                    <a:cubicBezTo>
                      <a:pt x="2503" y="307"/>
                      <a:pt x="2506" y="306"/>
                      <a:pt x="2503" y="300"/>
                    </a:cubicBezTo>
                    <a:cubicBezTo>
                      <a:pt x="2500" y="295"/>
                      <a:pt x="2517" y="302"/>
                      <a:pt x="2512" y="307"/>
                    </a:cubicBezTo>
                    <a:cubicBezTo>
                      <a:pt x="2507" y="311"/>
                      <a:pt x="2520" y="314"/>
                      <a:pt x="2526" y="315"/>
                    </a:cubicBezTo>
                    <a:cubicBezTo>
                      <a:pt x="2533" y="315"/>
                      <a:pt x="2555" y="320"/>
                      <a:pt x="2556" y="315"/>
                    </a:cubicBezTo>
                    <a:cubicBezTo>
                      <a:pt x="2556" y="311"/>
                      <a:pt x="2547" y="308"/>
                      <a:pt x="2540" y="301"/>
                    </a:cubicBezTo>
                    <a:cubicBezTo>
                      <a:pt x="2533" y="294"/>
                      <a:pt x="2528" y="282"/>
                      <a:pt x="2536" y="277"/>
                    </a:cubicBezTo>
                    <a:cubicBezTo>
                      <a:pt x="2544" y="272"/>
                      <a:pt x="2537" y="269"/>
                      <a:pt x="2545" y="264"/>
                    </a:cubicBezTo>
                    <a:cubicBezTo>
                      <a:pt x="2553" y="258"/>
                      <a:pt x="2549" y="253"/>
                      <a:pt x="2555" y="252"/>
                    </a:cubicBezTo>
                    <a:cubicBezTo>
                      <a:pt x="2562" y="251"/>
                      <a:pt x="2555" y="245"/>
                      <a:pt x="2561" y="244"/>
                    </a:cubicBezTo>
                    <a:cubicBezTo>
                      <a:pt x="2568" y="243"/>
                      <a:pt x="2569" y="236"/>
                      <a:pt x="2568" y="233"/>
                    </a:cubicBezTo>
                    <a:cubicBezTo>
                      <a:pt x="2567" y="231"/>
                      <a:pt x="2575" y="234"/>
                      <a:pt x="2579" y="230"/>
                    </a:cubicBezTo>
                    <a:cubicBezTo>
                      <a:pt x="2583" y="226"/>
                      <a:pt x="2591" y="228"/>
                      <a:pt x="2594" y="223"/>
                    </a:cubicBezTo>
                    <a:cubicBezTo>
                      <a:pt x="2597" y="217"/>
                      <a:pt x="2635" y="204"/>
                      <a:pt x="2657" y="199"/>
                    </a:cubicBezTo>
                    <a:cubicBezTo>
                      <a:pt x="2678" y="194"/>
                      <a:pt x="2693" y="185"/>
                      <a:pt x="2686" y="179"/>
                    </a:cubicBezTo>
                    <a:cubicBezTo>
                      <a:pt x="2678" y="173"/>
                      <a:pt x="2656" y="181"/>
                      <a:pt x="2651" y="186"/>
                    </a:cubicBezTo>
                    <a:cubicBezTo>
                      <a:pt x="2646" y="190"/>
                      <a:pt x="2638" y="187"/>
                      <a:pt x="2633" y="190"/>
                    </a:cubicBezTo>
                    <a:cubicBezTo>
                      <a:pt x="2627" y="193"/>
                      <a:pt x="2616" y="196"/>
                      <a:pt x="2610" y="192"/>
                    </a:cubicBezTo>
                    <a:cubicBezTo>
                      <a:pt x="2605" y="188"/>
                      <a:pt x="2598" y="196"/>
                      <a:pt x="2594" y="196"/>
                    </a:cubicBezTo>
                    <a:cubicBezTo>
                      <a:pt x="2589" y="196"/>
                      <a:pt x="2584" y="200"/>
                      <a:pt x="2580" y="200"/>
                    </a:cubicBezTo>
                    <a:cubicBezTo>
                      <a:pt x="2575" y="200"/>
                      <a:pt x="2566" y="204"/>
                      <a:pt x="2565" y="206"/>
                    </a:cubicBezTo>
                    <a:cubicBezTo>
                      <a:pt x="2564" y="209"/>
                      <a:pt x="2556" y="208"/>
                      <a:pt x="2556" y="212"/>
                    </a:cubicBezTo>
                    <a:cubicBezTo>
                      <a:pt x="2556" y="215"/>
                      <a:pt x="2550" y="218"/>
                      <a:pt x="2547" y="215"/>
                    </a:cubicBezTo>
                    <a:cubicBezTo>
                      <a:pt x="2543" y="212"/>
                      <a:pt x="2539" y="218"/>
                      <a:pt x="2544" y="223"/>
                    </a:cubicBezTo>
                    <a:cubicBezTo>
                      <a:pt x="2549" y="227"/>
                      <a:pt x="2535" y="227"/>
                      <a:pt x="2538" y="230"/>
                    </a:cubicBezTo>
                    <a:cubicBezTo>
                      <a:pt x="2540" y="233"/>
                      <a:pt x="2533" y="234"/>
                      <a:pt x="2534" y="237"/>
                    </a:cubicBezTo>
                    <a:cubicBezTo>
                      <a:pt x="2536" y="240"/>
                      <a:pt x="2530" y="241"/>
                      <a:pt x="2525" y="242"/>
                    </a:cubicBezTo>
                    <a:cubicBezTo>
                      <a:pt x="2520" y="243"/>
                      <a:pt x="2517" y="250"/>
                      <a:pt x="2523" y="250"/>
                    </a:cubicBezTo>
                    <a:cubicBezTo>
                      <a:pt x="2530" y="251"/>
                      <a:pt x="2520" y="252"/>
                      <a:pt x="2520" y="257"/>
                    </a:cubicBezTo>
                    <a:cubicBezTo>
                      <a:pt x="2521" y="262"/>
                      <a:pt x="2510" y="258"/>
                      <a:pt x="2510" y="262"/>
                    </a:cubicBezTo>
                    <a:close/>
                    <a:moveTo>
                      <a:pt x="2702" y="266"/>
                    </a:moveTo>
                    <a:cubicBezTo>
                      <a:pt x="2706" y="266"/>
                      <a:pt x="2718" y="264"/>
                      <a:pt x="2719" y="262"/>
                    </a:cubicBezTo>
                    <a:cubicBezTo>
                      <a:pt x="2720" y="259"/>
                      <a:pt x="2714" y="257"/>
                      <a:pt x="2707" y="257"/>
                    </a:cubicBezTo>
                    <a:cubicBezTo>
                      <a:pt x="2699" y="257"/>
                      <a:pt x="2698" y="265"/>
                      <a:pt x="2702" y="266"/>
                    </a:cubicBezTo>
                    <a:close/>
                    <a:moveTo>
                      <a:pt x="2799" y="271"/>
                    </a:moveTo>
                    <a:cubicBezTo>
                      <a:pt x="2804" y="273"/>
                      <a:pt x="2808" y="272"/>
                      <a:pt x="2808" y="267"/>
                    </a:cubicBezTo>
                    <a:cubicBezTo>
                      <a:pt x="2807" y="262"/>
                      <a:pt x="2795" y="268"/>
                      <a:pt x="2799" y="271"/>
                    </a:cubicBezTo>
                    <a:close/>
                    <a:moveTo>
                      <a:pt x="2435" y="85"/>
                    </a:moveTo>
                    <a:cubicBezTo>
                      <a:pt x="2442" y="78"/>
                      <a:pt x="2452" y="84"/>
                      <a:pt x="2454" y="81"/>
                    </a:cubicBezTo>
                    <a:cubicBezTo>
                      <a:pt x="2455" y="78"/>
                      <a:pt x="2439" y="77"/>
                      <a:pt x="2434" y="80"/>
                    </a:cubicBezTo>
                    <a:cubicBezTo>
                      <a:pt x="2428" y="83"/>
                      <a:pt x="2415" y="80"/>
                      <a:pt x="2416" y="84"/>
                    </a:cubicBezTo>
                    <a:cubicBezTo>
                      <a:pt x="2417" y="86"/>
                      <a:pt x="2427" y="92"/>
                      <a:pt x="2435" y="85"/>
                    </a:cubicBezTo>
                    <a:close/>
                    <a:moveTo>
                      <a:pt x="2466" y="82"/>
                    </a:moveTo>
                    <a:cubicBezTo>
                      <a:pt x="2471" y="85"/>
                      <a:pt x="2453" y="84"/>
                      <a:pt x="2451" y="87"/>
                    </a:cubicBezTo>
                    <a:cubicBezTo>
                      <a:pt x="2448" y="91"/>
                      <a:pt x="2438" y="89"/>
                      <a:pt x="2440" y="93"/>
                    </a:cubicBezTo>
                    <a:cubicBezTo>
                      <a:pt x="2442" y="97"/>
                      <a:pt x="2459" y="98"/>
                      <a:pt x="2459" y="94"/>
                    </a:cubicBezTo>
                    <a:cubicBezTo>
                      <a:pt x="2459" y="91"/>
                      <a:pt x="2467" y="94"/>
                      <a:pt x="2468" y="91"/>
                    </a:cubicBezTo>
                    <a:cubicBezTo>
                      <a:pt x="2468" y="88"/>
                      <a:pt x="2472" y="85"/>
                      <a:pt x="2481" y="84"/>
                    </a:cubicBezTo>
                    <a:cubicBezTo>
                      <a:pt x="2490" y="83"/>
                      <a:pt x="2490" y="80"/>
                      <a:pt x="2482" y="76"/>
                    </a:cubicBezTo>
                    <a:cubicBezTo>
                      <a:pt x="2473" y="72"/>
                      <a:pt x="2461" y="78"/>
                      <a:pt x="2466" y="82"/>
                    </a:cubicBezTo>
                    <a:close/>
                    <a:moveTo>
                      <a:pt x="2560" y="77"/>
                    </a:moveTo>
                    <a:cubicBezTo>
                      <a:pt x="2561" y="70"/>
                      <a:pt x="2549" y="75"/>
                      <a:pt x="2541" y="72"/>
                    </a:cubicBezTo>
                    <a:cubicBezTo>
                      <a:pt x="2532" y="68"/>
                      <a:pt x="2527" y="68"/>
                      <a:pt x="2533" y="73"/>
                    </a:cubicBezTo>
                    <a:cubicBezTo>
                      <a:pt x="2535" y="76"/>
                      <a:pt x="2518" y="77"/>
                      <a:pt x="2521" y="80"/>
                    </a:cubicBezTo>
                    <a:cubicBezTo>
                      <a:pt x="2527" y="87"/>
                      <a:pt x="2559" y="84"/>
                      <a:pt x="2560" y="77"/>
                    </a:cubicBezTo>
                    <a:close/>
                    <a:moveTo>
                      <a:pt x="2554" y="70"/>
                    </a:moveTo>
                    <a:cubicBezTo>
                      <a:pt x="2562" y="70"/>
                      <a:pt x="2560" y="65"/>
                      <a:pt x="2565" y="66"/>
                    </a:cubicBezTo>
                    <a:cubicBezTo>
                      <a:pt x="2571" y="67"/>
                      <a:pt x="2578" y="66"/>
                      <a:pt x="2575" y="63"/>
                    </a:cubicBezTo>
                    <a:cubicBezTo>
                      <a:pt x="2572" y="60"/>
                      <a:pt x="2553" y="61"/>
                      <a:pt x="2555" y="64"/>
                    </a:cubicBezTo>
                    <a:cubicBezTo>
                      <a:pt x="2557" y="66"/>
                      <a:pt x="2539" y="65"/>
                      <a:pt x="2540" y="66"/>
                    </a:cubicBezTo>
                    <a:cubicBezTo>
                      <a:pt x="2540" y="68"/>
                      <a:pt x="2546" y="70"/>
                      <a:pt x="2554" y="70"/>
                    </a:cubicBezTo>
                    <a:close/>
                    <a:moveTo>
                      <a:pt x="2513" y="93"/>
                    </a:moveTo>
                    <a:cubicBezTo>
                      <a:pt x="2513" y="87"/>
                      <a:pt x="2495" y="93"/>
                      <a:pt x="2499" y="94"/>
                    </a:cubicBezTo>
                    <a:cubicBezTo>
                      <a:pt x="2502" y="95"/>
                      <a:pt x="2513" y="98"/>
                      <a:pt x="2513" y="93"/>
                    </a:cubicBezTo>
                    <a:close/>
                    <a:moveTo>
                      <a:pt x="2556" y="88"/>
                    </a:moveTo>
                    <a:cubicBezTo>
                      <a:pt x="2557" y="91"/>
                      <a:pt x="2554" y="91"/>
                      <a:pt x="2548" y="91"/>
                    </a:cubicBezTo>
                    <a:cubicBezTo>
                      <a:pt x="2541" y="91"/>
                      <a:pt x="2537" y="95"/>
                      <a:pt x="2541" y="98"/>
                    </a:cubicBezTo>
                    <a:cubicBezTo>
                      <a:pt x="2545" y="101"/>
                      <a:pt x="2563" y="100"/>
                      <a:pt x="2566" y="96"/>
                    </a:cubicBezTo>
                    <a:cubicBezTo>
                      <a:pt x="2569" y="92"/>
                      <a:pt x="2576" y="95"/>
                      <a:pt x="2578" y="91"/>
                    </a:cubicBezTo>
                    <a:cubicBezTo>
                      <a:pt x="2579" y="87"/>
                      <a:pt x="2555" y="86"/>
                      <a:pt x="2556" y="88"/>
                    </a:cubicBezTo>
                    <a:close/>
                    <a:moveTo>
                      <a:pt x="2613" y="82"/>
                    </a:moveTo>
                    <a:cubicBezTo>
                      <a:pt x="2615" y="79"/>
                      <a:pt x="2609" y="79"/>
                      <a:pt x="2608" y="76"/>
                    </a:cubicBezTo>
                    <a:cubicBezTo>
                      <a:pt x="2607" y="73"/>
                      <a:pt x="2589" y="72"/>
                      <a:pt x="2590" y="76"/>
                    </a:cubicBezTo>
                    <a:cubicBezTo>
                      <a:pt x="2591" y="79"/>
                      <a:pt x="2577" y="83"/>
                      <a:pt x="2581" y="86"/>
                    </a:cubicBezTo>
                    <a:cubicBezTo>
                      <a:pt x="2589" y="92"/>
                      <a:pt x="2611" y="85"/>
                      <a:pt x="2613" y="82"/>
                    </a:cubicBezTo>
                    <a:close/>
                    <a:moveTo>
                      <a:pt x="2637" y="80"/>
                    </a:moveTo>
                    <a:cubicBezTo>
                      <a:pt x="2650" y="79"/>
                      <a:pt x="2650" y="72"/>
                      <a:pt x="2643" y="71"/>
                    </a:cubicBezTo>
                    <a:cubicBezTo>
                      <a:pt x="2636" y="69"/>
                      <a:pt x="2635" y="75"/>
                      <a:pt x="2632" y="74"/>
                    </a:cubicBezTo>
                    <a:cubicBezTo>
                      <a:pt x="2629" y="74"/>
                      <a:pt x="2616" y="76"/>
                      <a:pt x="2619" y="79"/>
                    </a:cubicBezTo>
                    <a:cubicBezTo>
                      <a:pt x="2622" y="83"/>
                      <a:pt x="2631" y="81"/>
                      <a:pt x="2637" y="80"/>
                    </a:cubicBezTo>
                    <a:close/>
                    <a:moveTo>
                      <a:pt x="2948" y="95"/>
                    </a:moveTo>
                    <a:cubicBezTo>
                      <a:pt x="2954" y="98"/>
                      <a:pt x="2952" y="100"/>
                      <a:pt x="2945" y="100"/>
                    </a:cubicBezTo>
                    <a:cubicBezTo>
                      <a:pt x="2939" y="100"/>
                      <a:pt x="2933" y="102"/>
                      <a:pt x="2937" y="104"/>
                    </a:cubicBezTo>
                    <a:cubicBezTo>
                      <a:pt x="2941" y="105"/>
                      <a:pt x="2940" y="109"/>
                      <a:pt x="2947" y="110"/>
                    </a:cubicBezTo>
                    <a:cubicBezTo>
                      <a:pt x="2954" y="112"/>
                      <a:pt x="2961" y="106"/>
                      <a:pt x="2961" y="102"/>
                    </a:cubicBezTo>
                    <a:cubicBezTo>
                      <a:pt x="2960" y="98"/>
                      <a:pt x="2985" y="95"/>
                      <a:pt x="2992" y="93"/>
                    </a:cubicBezTo>
                    <a:cubicBezTo>
                      <a:pt x="2998" y="91"/>
                      <a:pt x="2987" y="84"/>
                      <a:pt x="2995" y="84"/>
                    </a:cubicBezTo>
                    <a:cubicBezTo>
                      <a:pt x="3002" y="83"/>
                      <a:pt x="2999" y="80"/>
                      <a:pt x="2990" y="78"/>
                    </a:cubicBezTo>
                    <a:cubicBezTo>
                      <a:pt x="2981" y="77"/>
                      <a:pt x="2985" y="69"/>
                      <a:pt x="2982" y="67"/>
                    </a:cubicBezTo>
                    <a:cubicBezTo>
                      <a:pt x="2979" y="64"/>
                      <a:pt x="2977" y="70"/>
                      <a:pt x="2965" y="72"/>
                    </a:cubicBezTo>
                    <a:cubicBezTo>
                      <a:pt x="2954" y="75"/>
                      <a:pt x="2948" y="78"/>
                      <a:pt x="2953" y="80"/>
                    </a:cubicBezTo>
                    <a:cubicBezTo>
                      <a:pt x="2957" y="82"/>
                      <a:pt x="2953" y="88"/>
                      <a:pt x="2948" y="88"/>
                    </a:cubicBezTo>
                    <a:cubicBezTo>
                      <a:pt x="2943" y="87"/>
                      <a:pt x="2942" y="93"/>
                      <a:pt x="2948" y="95"/>
                    </a:cubicBezTo>
                    <a:close/>
                    <a:moveTo>
                      <a:pt x="2966" y="105"/>
                    </a:moveTo>
                    <a:cubicBezTo>
                      <a:pt x="2966" y="108"/>
                      <a:pt x="2955" y="112"/>
                      <a:pt x="2958" y="115"/>
                    </a:cubicBezTo>
                    <a:cubicBezTo>
                      <a:pt x="2961" y="117"/>
                      <a:pt x="2963" y="116"/>
                      <a:pt x="2966" y="117"/>
                    </a:cubicBezTo>
                    <a:cubicBezTo>
                      <a:pt x="2970" y="118"/>
                      <a:pt x="2971" y="126"/>
                      <a:pt x="2977" y="125"/>
                    </a:cubicBezTo>
                    <a:cubicBezTo>
                      <a:pt x="2983" y="123"/>
                      <a:pt x="3000" y="131"/>
                      <a:pt x="3009" y="131"/>
                    </a:cubicBezTo>
                    <a:cubicBezTo>
                      <a:pt x="3019" y="131"/>
                      <a:pt x="3020" y="123"/>
                      <a:pt x="3017" y="123"/>
                    </a:cubicBezTo>
                    <a:cubicBezTo>
                      <a:pt x="3014" y="123"/>
                      <a:pt x="3017" y="118"/>
                      <a:pt x="3022" y="110"/>
                    </a:cubicBezTo>
                    <a:cubicBezTo>
                      <a:pt x="3027" y="103"/>
                      <a:pt x="3005" y="97"/>
                      <a:pt x="3005" y="103"/>
                    </a:cubicBezTo>
                    <a:cubicBezTo>
                      <a:pt x="3005" y="109"/>
                      <a:pt x="2999" y="102"/>
                      <a:pt x="2997" y="98"/>
                    </a:cubicBezTo>
                    <a:cubicBezTo>
                      <a:pt x="2995" y="94"/>
                      <a:pt x="2966" y="101"/>
                      <a:pt x="2966" y="105"/>
                    </a:cubicBezTo>
                    <a:close/>
                    <a:moveTo>
                      <a:pt x="3017" y="152"/>
                    </a:moveTo>
                    <a:cubicBezTo>
                      <a:pt x="3022" y="154"/>
                      <a:pt x="3037" y="148"/>
                      <a:pt x="3047" y="149"/>
                    </a:cubicBezTo>
                    <a:cubicBezTo>
                      <a:pt x="3057" y="149"/>
                      <a:pt x="3085" y="141"/>
                      <a:pt x="3086" y="136"/>
                    </a:cubicBezTo>
                    <a:cubicBezTo>
                      <a:pt x="3087" y="130"/>
                      <a:pt x="3076" y="131"/>
                      <a:pt x="3071" y="126"/>
                    </a:cubicBezTo>
                    <a:cubicBezTo>
                      <a:pt x="3067" y="121"/>
                      <a:pt x="3057" y="125"/>
                      <a:pt x="3055" y="129"/>
                    </a:cubicBezTo>
                    <a:cubicBezTo>
                      <a:pt x="3053" y="133"/>
                      <a:pt x="3050" y="130"/>
                      <a:pt x="3056" y="123"/>
                    </a:cubicBezTo>
                    <a:cubicBezTo>
                      <a:pt x="3063" y="117"/>
                      <a:pt x="3050" y="112"/>
                      <a:pt x="3050" y="116"/>
                    </a:cubicBezTo>
                    <a:cubicBezTo>
                      <a:pt x="3049" y="120"/>
                      <a:pt x="3038" y="117"/>
                      <a:pt x="3038" y="120"/>
                    </a:cubicBezTo>
                    <a:cubicBezTo>
                      <a:pt x="3038" y="124"/>
                      <a:pt x="3033" y="126"/>
                      <a:pt x="3034" y="129"/>
                    </a:cubicBezTo>
                    <a:cubicBezTo>
                      <a:pt x="3034" y="133"/>
                      <a:pt x="3026" y="127"/>
                      <a:pt x="3025" y="136"/>
                    </a:cubicBezTo>
                    <a:cubicBezTo>
                      <a:pt x="3025" y="144"/>
                      <a:pt x="3012" y="149"/>
                      <a:pt x="3017" y="152"/>
                    </a:cubicBezTo>
                    <a:close/>
                    <a:moveTo>
                      <a:pt x="2939" y="72"/>
                    </a:moveTo>
                    <a:cubicBezTo>
                      <a:pt x="2941" y="67"/>
                      <a:pt x="2918" y="69"/>
                      <a:pt x="2924" y="74"/>
                    </a:cubicBezTo>
                    <a:cubicBezTo>
                      <a:pt x="2926" y="75"/>
                      <a:pt x="2938" y="77"/>
                      <a:pt x="2939" y="72"/>
                    </a:cubicBezTo>
                    <a:close/>
                    <a:moveTo>
                      <a:pt x="3161" y="235"/>
                    </a:moveTo>
                    <a:cubicBezTo>
                      <a:pt x="3160" y="238"/>
                      <a:pt x="3153" y="238"/>
                      <a:pt x="3155" y="240"/>
                    </a:cubicBezTo>
                    <a:cubicBezTo>
                      <a:pt x="3158" y="245"/>
                      <a:pt x="3175" y="242"/>
                      <a:pt x="3175" y="237"/>
                    </a:cubicBezTo>
                    <a:cubicBezTo>
                      <a:pt x="3175" y="232"/>
                      <a:pt x="3163" y="232"/>
                      <a:pt x="3161" y="235"/>
                    </a:cubicBezTo>
                    <a:close/>
                    <a:moveTo>
                      <a:pt x="3517" y="263"/>
                    </a:moveTo>
                    <a:cubicBezTo>
                      <a:pt x="3523" y="262"/>
                      <a:pt x="3513" y="251"/>
                      <a:pt x="3502" y="249"/>
                    </a:cubicBezTo>
                    <a:cubicBezTo>
                      <a:pt x="3492" y="247"/>
                      <a:pt x="3482" y="256"/>
                      <a:pt x="3484" y="258"/>
                    </a:cubicBezTo>
                    <a:cubicBezTo>
                      <a:pt x="3487" y="262"/>
                      <a:pt x="3511" y="264"/>
                      <a:pt x="3517" y="263"/>
                    </a:cubicBezTo>
                    <a:close/>
                    <a:moveTo>
                      <a:pt x="3490" y="241"/>
                    </a:moveTo>
                    <a:cubicBezTo>
                      <a:pt x="3490" y="236"/>
                      <a:pt x="3472" y="243"/>
                      <a:pt x="3480" y="245"/>
                    </a:cubicBezTo>
                    <a:cubicBezTo>
                      <a:pt x="3484" y="247"/>
                      <a:pt x="3490" y="246"/>
                      <a:pt x="3490" y="241"/>
                    </a:cubicBezTo>
                    <a:close/>
                    <a:moveTo>
                      <a:pt x="3447" y="220"/>
                    </a:moveTo>
                    <a:cubicBezTo>
                      <a:pt x="3452" y="223"/>
                      <a:pt x="3454" y="225"/>
                      <a:pt x="3456" y="228"/>
                    </a:cubicBezTo>
                    <a:cubicBezTo>
                      <a:pt x="3459" y="230"/>
                      <a:pt x="3469" y="226"/>
                      <a:pt x="3473" y="225"/>
                    </a:cubicBezTo>
                    <a:cubicBezTo>
                      <a:pt x="3477" y="224"/>
                      <a:pt x="3477" y="231"/>
                      <a:pt x="3484" y="227"/>
                    </a:cubicBezTo>
                    <a:cubicBezTo>
                      <a:pt x="3490" y="223"/>
                      <a:pt x="3496" y="225"/>
                      <a:pt x="3504" y="225"/>
                    </a:cubicBezTo>
                    <a:cubicBezTo>
                      <a:pt x="3511" y="225"/>
                      <a:pt x="3502" y="216"/>
                      <a:pt x="3503" y="212"/>
                    </a:cubicBezTo>
                    <a:cubicBezTo>
                      <a:pt x="3503" y="208"/>
                      <a:pt x="3511" y="211"/>
                      <a:pt x="3509" y="214"/>
                    </a:cubicBezTo>
                    <a:cubicBezTo>
                      <a:pt x="3506" y="217"/>
                      <a:pt x="3513" y="225"/>
                      <a:pt x="3523" y="224"/>
                    </a:cubicBezTo>
                    <a:cubicBezTo>
                      <a:pt x="3534" y="224"/>
                      <a:pt x="3526" y="217"/>
                      <a:pt x="3531" y="215"/>
                    </a:cubicBezTo>
                    <a:cubicBezTo>
                      <a:pt x="3537" y="212"/>
                      <a:pt x="3536" y="210"/>
                      <a:pt x="3528" y="205"/>
                    </a:cubicBezTo>
                    <a:cubicBezTo>
                      <a:pt x="3521" y="200"/>
                      <a:pt x="3511" y="203"/>
                      <a:pt x="3504" y="200"/>
                    </a:cubicBezTo>
                    <a:cubicBezTo>
                      <a:pt x="3497" y="197"/>
                      <a:pt x="3488" y="197"/>
                      <a:pt x="3488" y="204"/>
                    </a:cubicBezTo>
                    <a:cubicBezTo>
                      <a:pt x="3488" y="212"/>
                      <a:pt x="3474" y="196"/>
                      <a:pt x="3466" y="194"/>
                    </a:cubicBezTo>
                    <a:cubicBezTo>
                      <a:pt x="3459" y="192"/>
                      <a:pt x="3436" y="215"/>
                      <a:pt x="3447" y="220"/>
                    </a:cubicBezTo>
                    <a:close/>
                    <a:moveTo>
                      <a:pt x="3548" y="220"/>
                    </a:moveTo>
                    <a:cubicBezTo>
                      <a:pt x="3556" y="221"/>
                      <a:pt x="3560" y="228"/>
                      <a:pt x="3576" y="229"/>
                    </a:cubicBezTo>
                    <a:cubicBezTo>
                      <a:pt x="3591" y="230"/>
                      <a:pt x="3602" y="227"/>
                      <a:pt x="3603" y="224"/>
                    </a:cubicBezTo>
                    <a:cubicBezTo>
                      <a:pt x="3603" y="221"/>
                      <a:pt x="3589" y="216"/>
                      <a:pt x="3584" y="218"/>
                    </a:cubicBezTo>
                    <a:cubicBezTo>
                      <a:pt x="3580" y="221"/>
                      <a:pt x="3577" y="214"/>
                      <a:pt x="3571" y="216"/>
                    </a:cubicBezTo>
                    <a:cubicBezTo>
                      <a:pt x="3566" y="217"/>
                      <a:pt x="3559" y="217"/>
                      <a:pt x="3556" y="212"/>
                    </a:cubicBezTo>
                    <a:cubicBezTo>
                      <a:pt x="3553" y="208"/>
                      <a:pt x="3544" y="220"/>
                      <a:pt x="3548" y="220"/>
                    </a:cubicBezTo>
                    <a:close/>
                    <a:moveTo>
                      <a:pt x="3920" y="313"/>
                    </a:moveTo>
                    <a:cubicBezTo>
                      <a:pt x="3927" y="317"/>
                      <a:pt x="3931" y="309"/>
                      <a:pt x="3936" y="313"/>
                    </a:cubicBezTo>
                    <a:cubicBezTo>
                      <a:pt x="3942" y="317"/>
                      <a:pt x="3955" y="311"/>
                      <a:pt x="3960" y="310"/>
                    </a:cubicBezTo>
                    <a:cubicBezTo>
                      <a:pt x="3965" y="309"/>
                      <a:pt x="3963" y="303"/>
                      <a:pt x="3948" y="301"/>
                    </a:cubicBezTo>
                    <a:cubicBezTo>
                      <a:pt x="3933" y="299"/>
                      <a:pt x="3913" y="310"/>
                      <a:pt x="3920" y="313"/>
                    </a:cubicBezTo>
                    <a:close/>
                    <a:moveTo>
                      <a:pt x="4042" y="455"/>
                    </a:moveTo>
                    <a:cubicBezTo>
                      <a:pt x="4039" y="457"/>
                      <a:pt x="4024" y="456"/>
                      <a:pt x="4028" y="459"/>
                    </a:cubicBezTo>
                    <a:cubicBezTo>
                      <a:pt x="4030" y="462"/>
                      <a:pt x="4043" y="461"/>
                      <a:pt x="4049" y="464"/>
                    </a:cubicBezTo>
                    <a:cubicBezTo>
                      <a:pt x="4054" y="467"/>
                      <a:pt x="4062" y="465"/>
                      <a:pt x="4062" y="462"/>
                    </a:cubicBezTo>
                    <a:cubicBezTo>
                      <a:pt x="4062" y="459"/>
                      <a:pt x="4044" y="453"/>
                      <a:pt x="4042" y="455"/>
                    </a:cubicBezTo>
                    <a:close/>
                    <a:moveTo>
                      <a:pt x="3502" y="657"/>
                    </a:moveTo>
                    <a:cubicBezTo>
                      <a:pt x="3504" y="663"/>
                      <a:pt x="3498" y="695"/>
                      <a:pt x="3501" y="700"/>
                    </a:cubicBezTo>
                    <a:cubicBezTo>
                      <a:pt x="3503" y="706"/>
                      <a:pt x="3496" y="729"/>
                      <a:pt x="3499" y="732"/>
                    </a:cubicBezTo>
                    <a:cubicBezTo>
                      <a:pt x="3503" y="737"/>
                      <a:pt x="3500" y="726"/>
                      <a:pt x="3506" y="725"/>
                    </a:cubicBezTo>
                    <a:cubicBezTo>
                      <a:pt x="3512" y="724"/>
                      <a:pt x="3512" y="731"/>
                      <a:pt x="3516" y="733"/>
                    </a:cubicBezTo>
                    <a:cubicBezTo>
                      <a:pt x="3519" y="735"/>
                      <a:pt x="3517" y="722"/>
                      <a:pt x="3514" y="723"/>
                    </a:cubicBezTo>
                    <a:cubicBezTo>
                      <a:pt x="3510" y="724"/>
                      <a:pt x="3508" y="715"/>
                      <a:pt x="3506" y="710"/>
                    </a:cubicBezTo>
                    <a:cubicBezTo>
                      <a:pt x="3504" y="704"/>
                      <a:pt x="3509" y="698"/>
                      <a:pt x="3509" y="691"/>
                    </a:cubicBezTo>
                    <a:cubicBezTo>
                      <a:pt x="3509" y="685"/>
                      <a:pt x="3518" y="685"/>
                      <a:pt x="3523" y="690"/>
                    </a:cubicBezTo>
                    <a:cubicBezTo>
                      <a:pt x="3528" y="695"/>
                      <a:pt x="3528" y="692"/>
                      <a:pt x="3526" y="688"/>
                    </a:cubicBezTo>
                    <a:cubicBezTo>
                      <a:pt x="3524" y="684"/>
                      <a:pt x="3518" y="658"/>
                      <a:pt x="3514" y="648"/>
                    </a:cubicBezTo>
                    <a:cubicBezTo>
                      <a:pt x="3511" y="638"/>
                      <a:pt x="3520" y="629"/>
                      <a:pt x="3513" y="624"/>
                    </a:cubicBezTo>
                    <a:cubicBezTo>
                      <a:pt x="3506" y="619"/>
                      <a:pt x="3509" y="609"/>
                      <a:pt x="3506" y="611"/>
                    </a:cubicBezTo>
                    <a:cubicBezTo>
                      <a:pt x="3502" y="613"/>
                      <a:pt x="3506" y="622"/>
                      <a:pt x="3500" y="622"/>
                    </a:cubicBezTo>
                    <a:cubicBezTo>
                      <a:pt x="3495" y="623"/>
                      <a:pt x="3500" y="628"/>
                      <a:pt x="3498" y="635"/>
                    </a:cubicBezTo>
                    <a:cubicBezTo>
                      <a:pt x="3496" y="641"/>
                      <a:pt x="3499" y="651"/>
                      <a:pt x="3502" y="657"/>
                    </a:cubicBezTo>
                    <a:close/>
                    <a:moveTo>
                      <a:pt x="3482" y="773"/>
                    </a:moveTo>
                    <a:cubicBezTo>
                      <a:pt x="3478" y="774"/>
                      <a:pt x="3483" y="778"/>
                      <a:pt x="3478" y="780"/>
                    </a:cubicBezTo>
                    <a:cubicBezTo>
                      <a:pt x="3473" y="782"/>
                      <a:pt x="3474" y="785"/>
                      <a:pt x="3476" y="786"/>
                    </a:cubicBezTo>
                    <a:cubicBezTo>
                      <a:pt x="3478" y="788"/>
                      <a:pt x="3477" y="792"/>
                      <a:pt x="3476" y="795"/>
                    </a:cubicBezTo>
                    <a:cubicBezTo>
                      <a:pt x="3475" y="798"/>
                      <a:pt x="3479" y="796"/>
                      <a:pt x="3482" y="793"/>
                    </a:cubicBezTo>
                    <a:cubicBezTo>
                      <a:pt x="3484" y="790"/>
                      <a:pt x="3487" y="794"/>
                      <a:pt x="3488" y="791"/>
                    </a:cubicBezTo>
                    <a:cubicBezTo>
                      <a:pt x="3488" y="788"/>
                      <a:pt x="3481" y="786"/>
                      <a:pt x="3481" y="783"/>
                    </a:cubicBezTo>
                    <a:cubicBezTo>
                      <a:pt x="3481" y="780"/>
                      <a:pt x="3486" y="784"/>
                      <a:pt x="3490" y="782"/>
                    </a:cubicBezTo>
                    <a:cubicBezTo>
                      <a:pt x="3494" y="780"/>
                      <a:pt x="3502" y="782"/>
                      <a:pt x="3507" y="786"/>
                    </a:cubicBezTo>
                    <a:cubicBezTo>
                      <a:pt x="3512" y="790"/>
                      <a:pt x="3514" y="789"/>
                      <a:pt x="3515" y="783"/>
                    </a:cubicBezTo>
                    <a:cubicBezTo>
                      <a:pt x="3516" y="778"/>
                      <a:pt x="3523" y="776"/>
                      <a:pt x="3531" y="776"/>
                    </a:cubicBezTo>
                    <a:cubicBezTo>
                      <a:pt x="3539" y="776"/>
                      <a:pt x="3539" y="772"/>
                      <a:pt x="3537" y="770"/>
                    </a:cubicBezTo>
                    <a:cubicBezTo>
                      <a:pt x="3535" y="769"/>
                      <a:pt x="3550" y="759"/>
                      <a:pt x="3549" y="756"/>
                    </a:cubicBezTo>
                    <a:cubicBezTo>
                      <a:pt x="3549" y="754"/>
                      <a:pt x="3541" y="762"/>
                      <a:pt x="3539" y="759"/>
                    </a:cubicBezTo>
                    <a:cubicBezTo>
                      <a:pt x="3537" y="756"/>
                      <a:pt x="3533" y="761"/>
                      <a:pt x="3528" y="762"/>
                    </a:cubicBezTo>
                    <a:cubicBezTo>
                      <a:pt x="3523" y="763"/>
                      <a:pt x="3507" y="750"/>
                      <a:pt x="3503" y="744"/>
                    </a:cubicBezTo>
                    <a:cubicBezTo>
                      <a:pt x="3499" y="738"/>
                      <a:pt x="3492" y="743"/>
                      <a:pt x="3496" y="747"/>
                    </a:cubicBezTo>
                    <a:cubicBezTo>
                      <a:pt x="3499" y="752"/>
                      <a:pt x="3495" y="753"/>
                      <a:pt x="3495" y="759"/>
                    </a:cubicBezTo>
                    <a:cubicBezTo>
                      <a:pt x="3495" y="765"/>
                      <a:pt x="3491" y="765"/>
                      <a:pt x="3492" y="769"/>
                    </a:cubicBezTo>
                    <a:cubicBezTo>
                      <a:pt x="3492" y="773"/>
                      <a:pt x="3486" y="772"/>
                      <a:pt x="3482" y="773"/>
                    </a:cubicBezTo>
                    <a:close/>
                    <a:moveTo>
                      <a:pt x="3423" y="873"/>
                    </a:moveTo>
                    <a:cubicBezTo>
                      <a:pt x="3423" y="870"/>
                      <a:pt x="3417" y="872"/>
                      <a:pt x="3409" y="875"/>
                    </a:cubicBezTo>
                    <a:cubicBezTo>
                      <a:pt x="3402" y="878"/>
                      <a:pt x="3397" y="871"/>
                      <a:pt x="3393" y="876"/>
                    </a:cubicBezTo>
                    <a:cubicBezTo>
                      <a:pt x="3388" y="880"/>
                      <a:pt x="3381" y="888"/>
                      <a:pt x="3375" y="889"/>
                    </a:cubicBezTo>
                    <a:cubicBezTo>
                      <a:pt x="3370" y="890"/>
                      <a:pt x="3373" y="896"/>
                      <a:pt x="3375" y="895"/>
                    </a:cubicBezTo>
                    <a:cubicBezTo>
                      <a:pt x="3379" y="893"/>
                      <a:pt x="3386" y="895"/>
                      <a:pt x="3388" y="892"/>
                    </a:cubicBezTo>
                    <a:cubicBezTo>
                      <a:pt x="3390" y="889"/>
                      <a:pt x="3406" y="886"/>
                      <a:pt x="3416" y="885"/>
                    </a:cubicBezTo>
                    <a:cubicBezTo>
                      <a:pt x="3426" y="885"/>
                      <a:pt x="3420" y="890"/>
                      <a:pt x="3421" y="895"/>
                    </a:cubicBezTo>
                    <a:cubicBezTo>
                      <a:pt x="3421" y="901"/>
                      <a:pt x="3430" y="900"/>
                      <a:pt x="3434" y="895"/>
                    </a:cubicBezTo>
                    <a:cubicBezTo>
                      <a:pt x="3438" y="890"/>
                      <a:pt x="3442" y="890"/>
                      <a:pt x="3438" y="887"/>
                    </a:cubicBezTo>
                    <a:cubicBezTo>
                      <a:pt x="3434" y="884"/>
                      <a:pt x="3439" y="881"/>
                      <a:pt x="3441" y="885"/>
                    </a:cubicBezTo>
                    <a:cubicBezTo>
                      <a:pt x="3444" y="889"/>
                      <a:pt x="3452" y="890"/>
                      <a:pt x="3456" y="884"/>
                    </a:cubicBezTo>
                    <a:cubicBezTo>
                      <a:pt x="3459" y="879"/>
                      <a:pt x="3460" y="885"/>
                      <a:pt x="3464" y="885"/>
                    </a:cubicBezTo>
                    <a:cubicBezTo>
                      <a:pt x="3468" y="885"/>
                      <a:pt x="3470" y="875"/>
                      <a:pt x="3471" y="878"/>
                    </a:cubicBezTo>
                    <a:cubicBezTo>
                      <a:pt x="3471" y="882"/>
                      <a:pt x="3477" y="881"/>
                      <a:pt x="3481" y="877"/>
                    </a:cubicBezTo>
                    <a:cubicBezTo>
                      <a:pt x="3485" y="872"/>
                      <a:pt x="3482" y="865"/>
                      <a:pt x="3484" y="861"/>
                    </a:cubicBezTo>
                    <a:cubicBezTo>
                      <a:pt x="3487" y="857"/>
                      <a:pt x="3490" y="848"/>
                      <a:pt x="3487" y="843"/>
                    </a:cubicBezTo>
                    <a:cubicBezTo>
                      <a:pt x="3484" y="838"/>
                      <a:pt x="3493" y="835"/>
                      <a:pt x="3497" y="831"/>
                    </a:cubicBezTo>
                    <a:cubicBezTo>
                      <a:pt x="3502" y="827"/>
                      <a:pt x="3492" y="807"/>
                      <a:pt x="3492" y="801"/>
                    </a:cubicBezTo>
                    <a:cubicBezTo>
                      <a:pt x="3492" y="795"/>
                      <a:pt x="3481" y="803"/>
                      <a:pt x="3478" y="805"/>
                    </a:cubicBezTo>
                    <a:cubicBezTo>
                      <a:pt x="3474" y="807"/>
                      <a:pt x="3472" y="817"/>
                      <a:pt x="3476" y="820"/>
                    </a:cubicBezTo>
                    <a:cubicBezTo>
                      <a:pt x="3479" y="823"/>
                      <a:pt x="3470" y="829"/>
                      <a:pt x="3470" y="835"/>
                    </a:cubicBezTo>
                    <a:cubicBezTo>
                      <a:pt x="3470" y="841"/>
                      <a:pt x="3464" y="841"/>
                      <a:pt x="3463" y="846"/>
                    </a:cubicBezTo>
                    <a:cubicBezTo>
                      <a:pt x="3462" y="851"/>
                      <a:pt x="3458" y="850"/>
                      <a:pt x="3453" y="854"/>
                    </a:cubicBezTo>
                    <a:cubicBezTo>
                      <a:pt x="3447" y="858"/>
                      <a:pt x="3444" y="853"/>
                      <a:pt x="3445" y="850"/>
                    </a:cubicBezTo>
                    <a:cubicBezTo>
                      <a:pt x="3447" y="847"/>
                      <a:pt x="3437" y="852"/>
                      <a:pt x="3437" y="859"/>
                    </a:cubicBezTo>
                    <a:cubicBezTo>
                      <a:pt x="3437" y="867"/>
                      <a:pt x="3428" y="867"/>
                      <a:pt x="3430" y="871"/>
                    </a:cubicBezTo>
                    <a:cubicBezTo>
                      <a:pt x="3432" y="874"/>
                      <a:pt x="3423" y="876"/>
                      <a:pt x="3423" y="873"/>
                    </a:cubicBezTo>
                    <a:close/>
                    <a:moveTo>
                      <a:pt x="3398" y="907"/>
                    </a:moveTo>
                    <a:cubicBezTo>
                      <a:pt x="3399" y="903"/>
                      <a:pt x="3405" y="901"/>
                      <a:pt x="3408" y="903"/>
                    </a:cubicBezTo>
                    <a:cubicBezTo>
                      <a:pt x="3411" y="905"/>
                      <a:pt x="3416" y="898"/>
                      <a:pt x="3416" y="893"/>
                    </a:cubicBezTo>
                    <a:cubicBezTo>
                      <a:pt x="3416" y="888"/>
                      <a:pt x="3406" y="888"/>
                      <a:pt x="3404" y="892"/>
                    </a:cubicBezTo>
                    <a:cubicBezTo>
                      <a:pt x="3403" y="895"/>
                      <a:pt x="3399" y="894"/>
                      <a:pt x="3394" y="895"/>
                    </a:cubicBezTo>
                    <a:cubicBezTo>
                      <a:pt x="3388" y="896"/>
                      <a:pt x="3388" y="908"/>
                      <a:pt x="3392" y="910"/>
                    </a:cubicBezTo>
                    <a:cubicBezTo>
                      <a:pt x="3395" y="911"/>
                      <a:pt x="3397" y="911"/>
                      <a:pt x="3398" y="907"/>
                    </a:cubicBezTo>
                    <a:close/>
                    <a:moveTo>
                      <a:pt x="3363" y="901"/>
                    </a:moveTo>
                    <a:cubicBezTo>
                      <a:pt x="3358" y="905"/>
                      <a:pt x="3357" y="906"/>
                      <a:pt x="3359" y="909"/>
                    </a:cubicBezTo>
                    <a:cubicBezTo>
                      <a:pt x="3361" y="913"/>
                      <a:pt x="3364" y="910"/>
                      <a:pt x="3365" y="906"/>
                    </a:cubicBezTo>
                    <a:cubicBezTo>
                      <a:pt x="3366" y="902"/>
                      <a:pt x="3370" y="911"/>
                      <a:pt x="3367" y="917"/>
                    </a:cubicBezTo>
                    <a:cubicBezTo>
                      <a:pt x="3364" y="923"/>
                      <a:pt x="3367" y="932"/>
                      <a:pt x="3371" y="931"/>
                    </a:cubicBezTo>
                    <a:cubicBezTo>
                      <a:pt x="3374" y="930"/>
                      <a:pt x="3379" y="918"/>
                      <a:pt x="3384" y="912"/>
                    </a:cubicBezTo>
                    <a:cubicBezTo>
                      <a:pt x="3389" y="906"/>
                      <a:pt x="3381" y="908"/>
                      <a:pt x="3381" y="905"/>
                    </a:cubicBezTo>
                    <a:cubicBezTo>
                      <a:pt x="3381" y="901"/>
                      <a:pt x="3374" y="902"/>
                      <a:pt x="3374" y="899"/>
                    </a:cubicBezTo>
                    <a:cubicBezTo>
                      <a:pt x="3373" y="896"/>
                      <a:pt x="3368" y="898"/>
                      <a:pt x="3363" y="901"/>
                    </a:cubicBezTo>
                    <a:close/>
                    <a:moveTo>
                      <a:pt x="3256" y="1040"/>
                    </a:moveTo>
                    <a:cubicBezTo>
                      <a:pt x="3260" y="1037"/>
                      <a:pt x="3273" y="1009"/>
                      <a:pt x="3270" y="1005"/>
                    </a:cubicBezTo>
                    <a:cubicBezTo>
                      <a:pt x="3267" y="1001"/>
                      <a:pt x="3254" y="1007"/>
                      <a:pt x="3250" y="1020"/>
                    </a:cubicBezTo>
                    <a:cubicBezTo>
                      <a:pt x="3247" y="1034"/>
                      <a:pt x="3255" y="1040"/>
                      <a:pt x="3256" y="1040"/>
                    </a:cubicBezTo>
                    <a:close/>
                    <a:moveTo>
                      <a:pt x="3139" y="1080"/>
                    </a:moveTo>
                    <a:cubicBezTo>
                      <a:pt x="3140" y="1076"/>
                      <a:pt x="3146" y="1070"/>
                      <a:pt x="3145" y="1067"/>
                    </a:cubicBezTo>
                    <a:cubicBezTo>
                      <a:pt x="3145" y="1064"/>
                      <a:pt x="3136" y="1066"/>
                      <a:pt x="3131" y="1066"/>
                    </a:cubicBezTo>
                    <a:cubicBezTo>
                      <a:pt x="3127" y="1066"/>
                      <a:pt x="3116" y="1072"/>
                      <a:pt x="3120" y="1081"/>
                    </a:cubicBezTo>
                    <a:cubicBezTo>
                      <a:pt x="3125" y="1090"/>
                      <a:pt x="3139" y="1084"/>
                      <a:pt x="3139" y="1080"/>
                    </a:cubicBezTo>
                    <a:close/>
                    <a:moveTo>
                      <a:pt x="3246" y="1109"/>
                    </a:moveTo>
                    <a:cubicBezTo>
                      <a:pt x="3245" y="1112"/>
                      <a:pt x="3246" y="1125"/>
                      <a:pt x="3249" y="1125"/>
                    </a:cubicBezTo>
                    <a:cubicBezTo>
                      <a:pt x="3252" y="1125"/>
                      <a:pt x="3254" y="1128"/>
                      <a:pt x="3252" y="1133"/>
                    </a:cubicBezTo>
                    <a:cubicBezTo>
                      <a:pt x="3250" y="1139"/>
                      <a:pt x="3257" y="1139"/>
                      <a:pt x="3263" y="1137"/>
                    </a:cubicBezTo>
                    <a:cubicBezTo>
                      <a:pt x="3270" y="1135"/>
                      <a:pt x="3267" y="1141"/>
                      <a:pt x="3274" y="1140"/>
                    </a:cubicBezTo>
                    <a:cubicBezTo>
                      <a:pt x="3280" y="1139"/>
                      <a:pt x="3289" y="1147"/>
                      <a:pt x="3287" y="1150"/>
                    </a:cubicBezTo>
                    <a:cubicBezTo>
                      <a:pt x="3286" y="1153"/>
                      <a:pt x="3288" y="1163"/>
                      <a:pt x="3291" y="1160"/>
                    </a:cubicBezTo>
                    <a:cubicBezTo>
                      <a:pt x="3294" y="1158"/>
                      <a:pt x="3298" y="1161"/>
                      <a:pt x="3295" y="1165"/>
                    </a:cubicBezTo>
                    <a:cubicBezTo>
                      <a:pt x="3292" y="1170"/>
                      <a:pt x="3300" y="1174"/>
                      <a:pt x="3301" y="1179"/>
                    </a:cubicBezTo>
                    <a:cubicBezTo>
                      <a:pt x="3302" y="1185"/>
                      <a:pt x="3305" y="1180"/>
                      <a:pt x="3305" y="1176"/>
                    </a:cubicBezTo>
                    <a:cubicBezTo>
                      <a:pt x="3304" y="1172"/>
                      <a:pt x="3305" y="1173"/>
                      <a:pt x="3310" y="1170"/>
                    </a:cubicBezTo>
                    <a:cubicBezTo>
                      <a:pt x="3314" y="1167"/>
                      <a:pt x="3309" y="1162"/>
                      <a:pt x="3307" y="1156"/>
                    </a:cubicBezTo>
                    <a:cubicBezTo>
                      <a:pt x="3304" y="1150"/>
                      <a:pt x="3294" y="1152"/>
                      <a:pt x="3294" y="1147"/>
                    </a:cubicBezTo>
                    <a:cubicBezTo>
                      <a:pt x="3294" y="1142"/>
                      <a:pt x="3287" y="1140"/>
                      <a:pt x="3286" y="1137"/>
                    </a:cubicBezTo>
                    <a:cubicBezTo>
                      <a:pt x="3286" y="1134"/>
                      <a:pt x="3276" y="1131"/>
                      <a:pt x="3271" y="1134"/>
                    </a:cubicBezTo>
                    <a:cubicBezTo>
                      <a:pt x="3265" y="1138"/>
                      <a:pt x="3269" y="1128"/>
                      <a:pt x="3265" y="1124"/>
                    </a:cubicBezTo>
                    <a:cubicBezTo>
                      <a:pt x="3261" y="1120"/>
                      <a:pt x="3268" y="1113"/>
                      <a:pt x="3273" y="1108"/>
                    </a:cubicBezTo>
                    <a:cubicBezTo>
                      <a:pt x="3277" y="1103"/>
                      <a:pt x="3271" y="1094"/>
                      <a:pt x="3272" y="1090"/>
                    </a:cubicBezTo>
                    <a:cubicBezTo>
                      <a:pt x="3273" y="1086"/>
                      <a:pt x="3272" y="1084"/>
                      <a:pt x="3270" y="1086"/>
                    </a:cubicBezTo>
                    <a:cubicBezTo>
                      <a:pt x="3268" y="1087"/>
                      <a:pt x="3258" y="1082"/>
                      <a:pt x="3254" y="1084"/>
                    </a:cubicBezTo>
                    <a:cubicBezTo>
                      <a:pt x="3249" y="1087"/>
                      <a:pt x="3253" y="1109"/>
                      <a:pt x="3251" y="1111"/>
                    </a:cubicBezTo>
                    <a:cubicBezTo>
                      <a:pt x="3249" y="1112"/>
                      <a:pt x="3247" y="1107"/>
                      <a:pt x="3246" y="1109"/>
                    </a:cubicBezTo>
                    <a:close/>
                    <a:moveTo>
                      <a:pt x="3252" y="1143"/>
                    </a:moveTo>
                    <a:cubicBezTo>
                      <a:pt x="3253" y="1148"/>
                      <a:pt x="3256" y="1158"/>
                      <a:pt x="3263" y="1155"/>
                    </a:cubicBezTo>
                    <a:cubicBezTo>
                      <a:pt x="3270" y="1153"/>
                      <a:pt x="3251" y="1140"/>
                      <a:pt x="3252" y="1143"/>
                    </a:cubicBezTo>
                    <a:close/>
                    <a:moveTo>
                      <a:pt x="3270" y="1160"/>
                    </a:moveTo>
                    <a:cubicBezTo>
                      <a:pt x="3265" y="1161"/>
                      <a:pt x="3267" y="1176"/>
                      <a:pt x="3271" y="1176"/>
                    </a:cubicBezTo>
                    <a:cubicBezTo>
                      <a:pt x="3273" y="1175"/>
                      <a:pt x="3277" y="1176"/>
                      <a:pt x="3277" y="1172"/>
                    </a:cubicBezTo>
                    <a:cubicBezTo>
                      <a:pt x="3277" y="1169"/>
                      <a:pt x="3281" y="1178"/>
                      <a:pt x="3278" y="1181"/>
                    </a:cubicBezTo>
                    <a:cubicBezTo>
                      <a:pt x="3275" y="1184"/>
                      <a:pt x="3275" y="1193"/>
                      <a:pt x="3280" y="1194"/>
                    </a:cubicBezTo>
                    <a:cubicBezTo>
                      <a:pt x="3284" y="1195"/>
                      <a:pt x="3293" y="1179"/>
                      <a:pt x="3292" y="1176"/>
                    </a:cubicBezTo>
                    <a:cubicBezTo>
                      <a:pt x="3290" y="1173"/>
                      <a:pt x="3286" y="1178"/>
                      <a:pt x="3287" y="1174"/>
                    </a:cubicBezTo>
                    <a:cubicBezTo>
                      <a:pt x="3288" y="1170"/>
                      <a:pt x="3275" y="1159"/>
                      <a:pt x="3270" y="1160"/>
                    </a:cubicBezTo>
                    <a:close/>
                    <a:moveTo>
                      <a:pt x="3232" y="1182"/>
                    </a:moveTo>
                    <a:cubicBezTo>
                      <a:pt x="3227" y="1188"/>
                      <a:pt x="3216" y="1198"/>
                      <a:pt x="3217" y="1201"/>
                    </a:cubicBezTo>
                    <a:cubicBezTo>
                      <a:pt x="3219" y="1204"/>
                      <a:pt x="3232" y="1186"/>
                      <a:pt x="3238" y="1182"/>
                    </a:cubicBezTo>
                    <a:cubicBezTo>
                      <a:pt x="3244" y="1177"/>
                      <a:pt x="3243" y="1174"/>
                      <a:pt x="3241" y="1170"/>
                    </a:cubicBezTo>
                    <a:cubicBezTo>
                      <a:pt x="3239" y="1166"/>
                      <a:pt x="3236" y="1176"/>
                      <a:pt x="3232" y="1182"/>
                    </a:cubicBezTo>
                    <a:close/>
                    <a:moveTo>
                      <a:pt x="3299" y="1183"/>
                    </a:moveTo>
                    <a:cubicBezTo>
                      <a:pt x="3297" y="1180"/>
                      <a:pt x="3290" y="1186"/>
                      <a:pt x="3291" y="1189"/>
                    </a:cubicBezTo>
                    <a:cubicBezTo>
                      <a:pt x="3292" y="1192"/>
                      <a:pt x="3302" y="1187"/>
                      <a:pt x="3299" y="1183"/>
                    </a:cubicBezTo>
                    <a:close/>
                    <a:moveTo>
                      <a:pt x="3310" y="1189"/>
                    </a:moveTo>
                    <a:cubicBezTo>
                      <a:pt x="3313" y="1194"/>
                      <a:pt x="3305" y="1190"/>
                      <a:pt x="3304" y="1195"/>
                    </a:cubicBezTo>
                    <a:cubicBezTo>
                      <a:pt x="3303" y="1200"/>
                      <a:pt x="3297" y="1196"/>
                      <a:pt x="3297" y="1200"/>
                    </a:cubicBezTo>
                    <a:cubicBezTo>
                      <a:pt x="3298" y="1204"/>
                      <a:pt x="3291" y="1200"/>
                      <a:pt x="3287" y="1198"/>
                    </a:cubicBezTo>
                    <a:cubicBezTo>
                      <a:pt x="3284" y="1195"/>
                      <a:pt x="3279" y="1204"/>
                      <a:pt x="3274" y="1205"/>
                    </a:cubicBezTo>
                    <a:cubicBezTo>
                      <a:pt x="3269" y="1207"/>
                      <a:pt x="3267" y="1217"/>
                      <a:pt x="3270" y="1217"/>
                    </a:cubicBezTo>
                    <a:cubicBezTo>
                      <a:pt x="3274" y="1217"/>
                      <a:pt x="3276" y="1211"/>
                      <a:pt x="3280" y="1212"/>
                    </a:cubicBezTo>
                    <a:cubicBezTo>
                      <a:pt x="3284" y="1212"/>
                      <a:pt x="3283" y="1208"/>
                      <a:pt x="3288" y="1209"/>
                    </a:cubicBezTo>
                    <a:cubicBezTo>
                      <a:pt x="3294" y="1210"/>
                      <a:pt x="3290" y="1227"/>
                      <a:pt x="3298" y="1228"/>
                    </a:cubicBezTo>
                    <a:cubicBezTo>
                      <a:pt x="3305" y="1229"/>
                      <a:pt x="3306" y="1234"/>
                      <a:pt x="3309" y="1234"/>
                    </a:cubicBezTo>
                    <a:cubicBezTo>
                      <a:pt x="3313" y="1234"/>
                      <a:pt x="3309" y="1223"/>
                      <a:pt x="3309" y="1220"/>
                    </a:cubicBezTo>
                    <a:cubicBezTo>
                      <a:pt x="3309" y="1216"/>
                      <a:pt x="3317" y="1219"/>
                      <a:pt x="3321" y="1215"/>
                    </a:cubicBezTo>
                    <a:cubicBezTo>
                      <a:pt x="3325" y="1210"/>
                      <a:pt x="3318" y="1198"/>
                      <a:pt x="3318" y="1190"/>
                    </a:cubicBezTo>
                    <a:cubicBezTo>
                      <a:pt x="3318" y="1182"/>
                      <a:pt x="3307" y="1184"/>
                      <a:pt x="3310" y="1189"/>
                    </a:cubicBezTo>
                    <a:close/>
                    <a:moveTo>
                      <a:pt x="2988" y="1280"/>
                    </a:moveTo>
                    <a:cubicBezTo>
                      <a:pt x="2988" y="1283"/>
                      <a:pt x="2991" y="1293"/>
                      <a:pt x="2995" y="1289"/>
                    </a:cubicBezTo>
                    <a:cubicBezTo>
                      <a:pt x="2999" y="1285"/>
                      <a:pt x="2989" y="1277"/>
                      <a:pt x="2988" y="1280"/>
                    </a:cubicBezTo>
                    <a:close/>
                    <a:moveTo>
                      <a:pt x="3005" y="1309"/>
                    </a:moveTo>
                    <a:cubicBezTo>
                      <a:pt x="3004" y="1310"/>
                      <a:pt x="3008" y="1317"/>
                      <a:pt x="3010" y="1315"/>
                    </a:cubicBezTo>
                    <a:cubicBezTo>
                      <a:pt x="3012" y="1313"/>
                      <a:pt x="3007" y="1303"/>
                      <a:pt x="3005" y="1309"/>
                    </a:cubicBezTo>
                    <a:close/>
                    <a:moveTo>
                      <a:pt x="3088" y="1346"/>
                    </a:moveTo>
                    <a:cubicBezTo>
                      <a:pt x="3087" y="1341"/>
                      <a:pt x="3089" y="1336"/>
                      <a:pt x="3089" y="1334"/>
                    </a:cubicBezTo>
                    <a:cubicBezTo>
                      <a:pt x="3089" y="1332"/>
                      <a:pt x="3091" y="1331"/>
                      <a:pt x="3094" y="1331"/>
                    </a:cubicBezTo>
                    <a:cubicBezTo>
                      <a:pt x="3097" y="1332"/>
                      <a:pt x="3097" y="1325"/>
                      <a:pt x="3094" y="1324"/>
                    </a:cubicBezTo>
                    <a:cubicBezTo>
                      <a:pt x="3092" y="1324"/>
                      <a:pt x="3091" y="1315"/>
                      <a:pt x="3085" y="1315"/>
                    </a:cubicBezTo>
                    <a:cubicBezTo>
                      <a:pt x="3079" y="1315"/>
                      <a:pt x="3080" y="1320"/>
                      <a:pt x="3084" y="1320"/>
                    </a:cubicBezTo>
                    <a:cubicBezTo>
                      <a:pt x="3087" y="1321"/>
                      <a:pt x="3089" y="1323"/>
                      <a:pt x="3088" y="1326"/>
                    </a:cubicBezTo>
                    <a:cubicBezTo>
                      <a:pt x="3087" y="1328"/>
                      <a:pt x="3086" y="1323"/>
                      <a:pt x="3081" y="1324"/>
                    </a:cubicBezTo>
                    <a:cubicBezTo>
                      <a:pt x="3076" y="1324"/>
                      <a:pt x="3079" y="1318"/>
                      <a:pt x="3074" y="1318"/>
                    </a:cubicBezTo>
                    <a:cubicBezTo>
                      <a:pt x="3069" y="1317"/>
                      <a:pt x="3070" y="1308"/>
                      <a:pt x="3064" y="1308"/>
                    </a:cubicBezTo>
                    <a:cubicBezTo>
                      <a:pt x="3058" y="1308"/>
                      <a:pt x="3058" y="1303"/>
                      <a:pt x="3062" y="1300"/>
                    </a:cubicBezTo>
                    <a:cubicBezTo>
                      <a:pt x="3065" y="1296"/>
                      <a:pt x="3056" y="1293"/>
                      <a:pt x="3056" y="1289"/>
                    </a:cubicBezTo>
                    <a:cubicBezTo>
                      <a:pt x="3056" y="1285"/>
                      <a:pt x="3050" y="1288"/>
                      <a:pt x="3050" y="1284"/>
                    </a:cubicBezTo>
                    <a:cubicBezTo>
                      <a:pt x="3050" y="1281"/>
                      <a:pt x="3047" y="1283"/>
                      <a:pt x="3044" y="1279"/>
                    </a:cubicBezTo>
                    <a:cubicBezTo>
                      <a:pt x="3041" y="1275"/>
                      <a:pt x="3040" y="1278"/>
                      <a:pt x="3037" y="1275"/>
                    </a:cubicBezTo>
                    <a:cubicBezTo>
                      <a:pt x="3035" y="1272"/>
                      <a:pt x="3031" y="1271"/>
                      <a:pt x="3029" y="1272"/>
                    </a:cubicBezTo>
                    <a:cubicBezTo>
                      <a:pt x="3026" y="1273"/>
                      <a:pt x="3021" y="1267"/>
                      <a:pt x="3019" y="1262"/>
                    </a:cubicBezTo>
                    <a:cubicBezTo>
                      <a:pt x="3017" y="1258"/>
                      <a:pt x="3002" y="1251"/>
                      <a:pt x="3000" y="1245"/>
                    </a:cubicBezTo>
                    <a:cubicBezTo>
                      <a:pt x="2998" y="1239"/>
                      <a:pt x="2993" y="1237"/>
                      <a:pt x="2984" y="1237"/>
                    </a:cubicBezTo>
                    <a:cubicBezTo>
                      <a:pt x="2975" y="1238"/>
                      <a:pt x="2971" y="1228"/>
                      <a:pt x="2969" y="1233"/>
                    </a:cubicBezTo>
                    <a:cubicBezTo>
                      <a:pt x="2966" y="1239"/>
                      <a:pt x="2979" y="1251"/>
                      <a:pt x="2984" y="1255"/>
                    </a:cubicBezTo>
                    <a:cubicBezTo>
                      <a:pt x="2990" y="1258"/>
                      <a:pt x="2993" y="1270"/>
                      <a:pt x="3000" y="1271"/>
                    </a:cubicBezTo>
                    <a:cubicBezTo>
                      <a:pt x="3006" y="1271"/>
                      <a:pt x="3007" y="1292"/>
                      <a:pt x="3012" y="1293"/>
                    </a:cubicBezTo>
                    <a:cubicBezTo>
                      <a:pt x="3017" y="1294"/>
                      <a:pt x="3028" y="1311"/>
                      <a:pt x="3029" y="1319"/>
                    </a:cubicBezTo>
                    <a:cubicBezTo>
                      <a:pt x="3031" y="1328"/>
                      <a:pt x="3042" y="1332"/>
                      <a:pt x="3046" y="1339"/>
                    </a:cubicBezTo>
                    <a:cubicBezTo>
                      <a:pt x="3049" y="1345"/>
                      <a:pt x="3064" y="1354"/>
                      <a:pt x="3066" y="1356"/>
                    </a:cubicBezTo>
                    <a:cubicBezTo>
                      <a:pt x="3068" y="1359"/>
                      <a:pt x="3070" y="1365"/>
                      <a:pt x="3072" y="1362"/>
                    </a:cubicBezTo>
                    <a:cubicBezTo>
                      <a:pt x="3073" y="1359"/>
                      <a:pt x="3080" y="1362"/>
                      <a:pt x="3084" y="1362"/>
                    </a:cubicBezTo>
                    <a:cubicBezTo>
                      <a:pt x="3087" y="1363"/>
                      <a:pt x="3088" y="1350"/>
                      <a:pt x="3088" y="1346"/>
                    </a:cubicBezTo>
                    <a:close/>
                    <a:moveTo>
                      <a:pt x="3120" y="1289"/>
                    </a:moveTo>
                    <a:cubicBezTo>
                      <a:pt x="3125" y="1294"/>
                      <a:pt x="3124" y="1301"/>
                      <a:pt x="3126" y="1305"/>
                    </a:cubicBezTo>
                    <a:cubicBezTo>
                      <a:pt x="3128" y="1308"/>
                      <a:pt x="3136" y="1309"/>
                      <a:pt x="3136" y="1316"/>
                    </a:cubicBezTo>
                    <a:cubicBezTo>
                      <a:pt x="3136" y="1323"/>
                      <a:pt x="3142" y="1334"/>
                      <a:pt x="3146" y="1331"/>
                    </a:cubicBezTo>
                    <a:cubicBezTo>
                      <a:pt x="3151" y="1328"/>
                      <a:pt x="3154" y="1332"/>
                      <a:pt x="3155" y="1335"/>
                    </a:cubicBezTo>
                    <a:cubicBezTo>
                      <a:pt x="3157" y="1338"/>
                      <a:pt x="3167" y="1333"/>
                      <a:pt x="3170" y="1334"/>
                    </a:cubicBezTo>
                    <a:cubicBezTo>
                      <a:pt x="3174" y="1334"/>
                      <a:pt x="3184" y="1336"/>
                      <a:pt x="3185" y="1340"/>
                    </a:cubicBezTo>
                    <a:cubicBezTo>
                      <a:pt x="3185" y="1344"/>
                      <a:pt x="3195" y="1340"/>
                      <a:pt x="3201" y="1338"/>
                    </a:cubicBezTo>
                    <a:cubicBezTo>
                      <a:pt x="3207" y="1335"/>
                      <a:pt x="3204" y="1316"/>
                      <a:pt x="3210" y="1313"/>
                    </a:cubicBezTo>
                    <a:cubicBezTo>
                      <a:pt x="3216" y="1309"/>
                      <a:pt x="3217" y="1302"/>
                      <a:pt x="3216" y="1295"/>
                    </a:cubicBezTo>
                    <a:cubicBezTo>
                      <a:pt x="3216" y="1289"/>
                      <a:pt x="3231" y="1288"/>
                      <a:pt x="3233" y="1286"/>
                    </a:cubicBezTo>
                    <a:cubicBezTo>
                      <a:pt x="3236" y="1283"/>
                      <a:pt x="3230" y="1279"/>
                      <a:pt x="3226" y="1277"/>
                    </a:cubicBezTo>
                    <a:cubicBezTo>
                      <a:pt x="3221" y="1275"/>
                      <a:pt x="3225" y="1270"/>
                      <a:pt x="3222" y="1268"/>
                    </a:cubicBezTo>
                    <a:cubicBezTo>
                      <a:pt x="3219" y="1265"/>
                      <a:pt x="3214" y="1258"/>
                      <a:pt x="3218" y="1258"/>
                    </a:cubicBezTo>
                    <a:cubicBezTo>
                      <a:pt x="3223" y="1257"/>
                      <a:pt x="3215" y="1251"/>
                      <a:pt x="3219" y="1249"/>
                    </a:cubicBezTo>
                    <a:cubicBezTo>
                      <a:pt x="3223" y="1247"/>
                      <a:pt x="3231" y="1244"/>
                      <a:pt x="3228" y="1242"/>
                    </a:cubicBezTo>
                    <a:cubicBezTo>
                      <a:pt x="3225" y="1239"/>
                      <a:pt x="3237" y="1241"/>
                      <a:pt x="3238" y="1237"/>
                    </a:cubicBezTo>
                    <a:cubicBezTo>
                      <a:pt x="3239" y="1233"/>
                      <a:pt x="3233" y="1230"/>
                      <a:pt x="3230" y="1231"/>
                    </a:cubicBezTo>
                    <a:cubicBezTo>
                      <a:pt x="3227" y="1231"/>
                      <a:pt x="3220" y="1231"/>
                      <a:pt x="3220" y="1228"/>
                    </a:cubicBezTo>
                    <a:cubicBezTo>
                      <a:pt x="3220" y="1225"/>
                      <a:pt x="3214" y="1219"/>
                      <a:pt x="3210" y="1219"/>
                    </a:cubicBezTo>
                    <a:cubicBezTo>
                      <a:pt x="3206" y="1219"/>
                      <a:pt x="3201" y="1227"/>
                      <a:pt x="3201" y="1231"/>
                    </a:cubicBezTo>
                    <a:cubicBezTo>
                      <a:pt x="3201" y="1234"/>
                      <a:pt x="3194" y="1234"/>
                      <a:pt x="3195" y="1238"/>
                    </a:cubicBezTo>
                    <a:cubicBezTo>
                      <a:pt x="3196" y="1243"/>
                      <a:pt x="3187" y="1241"/>
                      <a:pt x="3187" y="1244"/>
                    </a:cubicBezTo>
                    <a:cubicBezTo>
                      <a:pt x="3187" y="1247"/>
                      <a:pt x="3182" y="1243"/>
                      <a:pt x="3179" y="1243"/>
                    </a:cubicBezTo>
                    <a:cubicBezTo>
                      <a:pt x="3176" y="1243"/>
                      <a:pt x="3170" y="1252"/>
                      <a:pt x="3169" y="1258"/>
                    </a:cubicBezTo>
                    <a:cubicBezTo>
                      <a:pt x="3168" y="1265"/>
                      <a:pt x="3162" y="1263"/>
                      <a:pt x="3153" y="1263"/>
                    </a:cubicBezTo>
                    <a:cubicBezTo>
                      <a:pt x="3144" y="1264"/>
                      <a:pt x="3147" y="1273"/>
                      <a:pt x="3145" y="1278"/>
                    </a:cubicBezTo>
                    <a:cubicBezTo>
                      <a:pt x="3143" y="1282"/>
                      <a:pt x="3132" y="1273"/>
                      <a:pt x="3127" y="1273"/>
                    </a:cubicBezTo>
                    <a:cubicBezTo>
                      <a:pt x="3123" y="1274"/>
                      <a:pt x="3116" y="1285"/>
                      <a:pt x="3120" y="1289"/>
                    </a:cubicBezTo>
                    <a:close/>
                    <a:moveTo>
                      <a:pt x="3114" y="1329"/>
                    </a:moveTo>
                    <a:cubicBezTo>
                      <a:pt x="3114" y="1326"/>
                      <a:pt x="3105" y="1327"/>
                      <a:pt x="3108" y="1332"/>
                    </a:cubicBezTo>
                    <a:cubicBezTo>
                      <a:pt x="3110" y="1336"/>
                      <a:pt x="3114" y="1332"/>
                      <a:pt x="3114" y="1329"/>
                    </a:cubicBezTo>
                    <a:close/>
                    <a:moveTo>
                      <a:pt x="3182" y="1393"/>
                    </a:moveTo>
                    <a:cubicBezTo>
                      <a:pt x="3185" y="1390"/>
                      <a:pt x="3189" y="1399"/>
                      <a:pt x="3196" y="1394"/>
                    </a:cubicBezTo>
                    <a:cubicBezTo>
                      <a:pt x="3202" y="1389"/>
                      <a:pt x="3185" y="1391"/>
                      <a:pt x="3184" y="1387"/>
                    </a:cubicBezTo>
                    <a:cubicBezTo>
                      <a:pt x="3184" y="1383"/>
                      <a:pt x="3171" y="1386"/>
                      <a:pt x="3165" y="1384"/>
                    </a:cubicBezTo>
                    <a:cubicBezTo>
                      <a:pt x="3158" y="1381"/>
                      <a:pt x="3172" y="1379"/>
                      <a:pt x="3176" y="1376"/>
                    </a:cubicBezTo>
                    <a:cubicBezTo>
                      <a:pt x="3180" y="1373"/>
                      <a:pt x="3173" y="1372"/>
                      <a:pt x="3163" y="1376"/>
                    </a:cubicBezTo>
                    <a:cubicBezTo>
                      <a:pt x="3152" y="1379"/>
                      <a:pt x="3140" y="1368"/>
                      <a:pt x="3139" y="1373"/>
                    </a:cubicBezTo>
                    <a:cubicBezTo>
                      <a:pt x="3139" y="1378"/>
                      <a:pt x="3120" y="1371"/>
                      <a:pt x="3115" y="1368"/>
                    </a:cubicBezTo>
                    <a:cubicBezTo>
                      <a:pt x="3111" y="1364"/>
                      <a:pt x="3093" y="1360"/>
                      <a:pt x="3089" y="1366"/>
                    </a:cubicBezTo>
                    <a:cubicBezTo>
                      <a:pt x="3085" y="1373"/>
                      <a:pt x="3082" y="1367"/>
                      <a:pt x="3084" y="1373"/>
                    </a:cubicBezTo>
                    <a:cubicBezTo>
                      <a:pt x="3085" y="1377"/>
                      <a:pt x="3089" y="1375"/>
                      <a:pt x="3092" y="1375"/>
                    </a:cubicBezTo>
                    <a:cubicBezTo>
                      <a:pt x="3095" y="1375"/>
                      <a:pt x="3094" y="1380"/>
                      <a:pt x="3098" y="1381"/>
                    </a:cubicBezTo>
                    <a:cubicBezTo>
                      <a:pt x="3102" y="1382"/>
                      <a:pt x="3117" y="1386"/>
                      <a:pt x="3118" y="1383"/>
                    </a:cubicBezTo>
                    <a:cubicBezTo>
                      <a:pt x="3119" y="1380"/>
                      <a:pt x="3133" y="1383"/>
                      <a:pt x="3139" y="1388"/>
                    </a:cubicBezTo>
                    <a:cubicBezTo>
                      <a:pt x="3146" y="1393"/>
                      <a:pt x="3161" y="1394"/>
                      <a:pt x="3167" y="1393"/>
                    </a:cubicBezTo>
                    <a:cubicBezTo>
                      <a:pt x="3173" y="1392"/>
                      <a:pt x="3180" y="1397"/>
                      <a:pt x="3182" y="1393"/>
                    </a:cubicBezTo>
                    <a:close/>
                    <a:moveTo>
                      <a:pt x="3218" y="1390"/>
                    </a:moveTo>
                    <a:cubicBezTo>
                      <a:pt x="3217" y="1393"/>
                      <a:pt x="3211" y="1393"/>
                      <a:pt x="3208" y="1391"/>
                    </a:cubicBezTo>
                    <a:cubicBezTo>
                      <a:pt x="3204" y="1389"/>
                      <a:pt x="3200" y="1394"/>
                      <a:pt x="3202" y="1397"/>
                    </a:cubicBezTo>
                    <a:cubicBezTo>
                      <a:pt x="3203" y="1398"/>
                      <a:pt x="3210" y="1404"/>
                      <a:pt x="3219" y="1400"/>
                    </a:cubicBezTo>
                    <a:cubicBezTo>
                      <a:pt x="3227" y="1396"/>
                      <a:pt x="3233" y="1399"/>
                      <a:pt x="3235" y="1395"/>
                    </a:cubicBezTo>
                    <a:cubicBezTo>
                      <a:pt x="3237" y="1391"/>
                      <a:pt x="3219" y="1387"/>
                      <a:pt x="3218" y="1390"/>
                    </a:cubicBezTo>
                    <a:close/>
                    <a:moveTo>
                      <a:pt x="3285" y="1394"/>
                    </a:moveTo>
                    <a:cubicBezTo>
                      <a:pt x="3291" y="1393"/>
                      <a:pt x="3298" y="1392"/>
                      <a:pt x="3289" y="1390"/>
                    </a:cubicBezTo>
                    <a:cubicBezTo>
                      <a:pt x="3280" y="1389"/>
                      <a:pt x="3274" y="1396"/>
                      <a:pt x="3265" y="1392"/>
                    </a:cubicBezTo>
                    <a:cubicBezTo>
                      <a:pt x="3256" y="1389"/>
                      <a:pt x="3242" y="1392"/>
                      <a:pt x="3244" y="1395"/>
                    </a:cubicBezTo>
                    <a:cubicBezTo>
                      <a:pt x="3245" y="1398"/>
                      <a:pt x="3253" y="1398"/>
                      <a:pt x="3262" y="1399"/>
                    </a:cubicBezTo>
                    <a:cubicBezTo>
                      <a:pt x="3271" y="1399"/>
                      <a:pt x="3279" y="1394"/>
                      <a:pt x="3285" y="1394"/>
                    </a:cubicBezTo>
                    <a:close/>
                    <a:moveTo>
                      <a:pt x="3245" y="1411"/>
                    </a:moveTo>
                    <a:cubicBezTo>
                      <a:pt x="3247" y="1413"/>
                      <a:pt x="3255" y="1417"/>
                      <a:pt x="3255" y="1412"/>
                    </a:cubicBezTo>
                    <a:cubicBezTo>
                      <a:pt x="3255" y="1406"/>
                      <a:pt x="3232" y="1403"/>
                      <a:pt x="3235" y="1406"/>
                    </a:cubicBezTo>
                    <a:cubicBezTo>
                      <a:pt x="3237" y="1409"/>
                      <a:pt x="3242" y="1409"/>
                      <a:pt x="3245" y="1411"/>
                    </a:cubicBezTo>
                    <a:close/>
                    <a:moveTo>
                      <a:pt x="3288" y="1414"/>
                    </a:moveTo>
                    <a:cubicBezTo>
                      <a:pt x="3293" y="1417"/>
                      <a:pt x="3301" y="1408"/>
                      <a:pt x="3304" y="1404"/>
                    </a:cubicBezTo>
                    <a:cubicBezTo>
                      <a:pt x="3307" y="1400"/>
                      <a:pt x="3329" y="1394"/>
                      <a:pt x="3330" y="1391"/>
                    </a:cubicBezTo>
                    <a:cubicBezTo>
                      <a:pt x="3331" y="1389"/>
                      <a:pt x="3320" y="1392"/>
                      <a:pt x="3313" y="1392"/>
                    </a:cubicBezTo>
                    <a:cubicBezTo>
                      <a:pt x="3306" y="1391"/>
                      <a:pt x="3306" y="1400"/>
                      <a:pt x="3297" y="1400"/>
                    </a:cubicBezTo>
                    <a:cubicBezTo>
                      <a:pt x="3288" y="1401"/>
                      <a:pt x="3283" y="1411"/>
                      <a:pt x="3288" y="1414"/>
                    </a:cubicBezTo>
                    <a:close/>
                    <a:moveTo>
                      <a:pt x="3242" y="1304"/>
                    </a:moveTo>
                    <a:cubicBezTo>
                      <a:pt x="3239" y="1306"/>
                      <a:pt x="3239" y="1316"/>
                      <a:pt x="3233" y="1326"/>
                    </a:cubicBezTo>
                    <a:cubicBezTo>
                      <a:pt x="3227" y="1335"/>
                      <a:pt x="3235" y="1337"/>
                      <a:pt x="3240" y="1337"/>
                    </a:cubicBezTo>
                    <a:cubicBezTo>
                      <a:pt x="3245" y="1337"/>
                      <a:pt x="3244" y="1345"/>
                      <a:pt x="3243" y="1349"/>
                    </a:cubicBezTo>
                    <a:cubicBezTo>
                      <a:pt x="3242" y="1353"/>
                      <a:pt x="3240" y="1364"/>
                      <a:pt x="3245" y="1362"/>
                    </a:cubicBezTo>
                    <a:cubicBezTo>
                      <a:pt x="3250" y="1360"/>
                      <a:pt x="3253" y="1353"/>
                      <a:pt x="3250" y="1351"/>
                    </a:cubicBezTo>
                    <a:cubicBezTo>
                      <a:pt x="3247" y="1349"/>
                      <a:pt x="3248" y="1334"/>
                      <a:pt x="3249" y="1330"/>
                    </a:cubicBezTo>
                    <a:cubicBezTo>
                      <a:pt x="3250" y="1327"/>
                      <a:pt x="3259" y="1329"/>
                      <a:pt x="3256" y="1335"/>
                    </a:cubicBezTo>
                    <a:cubicBezTo>
                      <a:pt x="3253" y="1341"/>
                      <a:pt x="3262" y="1340"/>
                      <a:pt x="3262" y="1346"/>
                    </a:cubicBezTo>
                    <a:cubicBezTo>
                      <a:pt x="3262" y="1353"/>
                      <a:pt x="3267" y="1349"/>
                      <a:pt x="3272" y="1348"/>
                    </a:cubicBezTo>
                    <a:cubicBezTo>
                      <a:pt x="3278" y="1346"/>
                      <a:pt x="3277" y="1343"/>
                      <a:pt x="3273" y="1339"/>
                    </a:cubicBezTo>
                    <a:cubicBezTo>
                      <a:pt x="3269" y="1335"/>
                      <a:pt x="3276" y="1329"/>
                      <a:pt x="3271" y="1326"/>
                    </a:cubicBezTo>
                    <a:cubicBezTo>
                      <a:pt x="3266" y="1323"/>
                      <a:pt x="3262" y="1318"/>
                      <a:pt x="3267" y="1317"/>
                    </a:cubicBezTo>
                    <a:cubicBezTo>
                      <a:pt x="3272" y="1316"/>
                      <a:pt x="3286" y="1308"/>
                      <a:pt x="3284" y="1304"/>
                    </a:cubicBezTo>
                    <a:cubicBezTo>
                      <a:pt x="3282" y="1301"/>
                      <a:pt x="3263" y="1305"/>
                      <a:pt x="3261" y="1311"/>
                    </a:cubicBezTo>
                    <a:cubicBezTo>
                      <a:pt x="3259" y="1317"/>
                      <a:pt x="3245" y="1310"/>
                      <a:pt x="3247" y="1300"/>
                    </a:cubicBezTo>
                    <a:cubicBezTo>
                      <a:pt x="3249" y="1290"/>
                      <a:pt x="3276" y="1288"/>
                      <a:pt x="3284" y="1292"/>
                    </a:cubicBezTo>
                    <a:cubicBezTo>
                      <a:pt x="3292" y="1295"/>
                      <a:pt x="3301" y="1286"/>
                      <a:pt x="3304" y="1280"/>
                    </a:cubicBezTo>
                    <a:cubicBezTo>
                      <a:pt x="3307" y="1274"/>
                      <a:pt x="3298" y="1281"/>
                      <a:pt x="3292" y="1285"/>
                    </a:cubicBezTo>
                    <a:cubicBezTo>
                      <a:pt x="3286" y="1288"/>
                      <a:pt x="3271" y="1284"/>
                      <a:pt x="3264" y="1282"/>
                    </a:cubicBezTo>
                    <a:cubicBezTo>
                      <a:pt x="3256" y="1279"/>
                      <a:pt x="3256" y="1286"/>
                      <a:pt x="3250" y="1287"/>
                    </a:cubicBezTo>
                    <a:cubicBezTo>
                      <a:pt x="3244" y="1288"/>
                      <a:pt x="3245" y="1302"/>
                      <a:pt x="3242" y="1304"/>
                    </a:cubicBezTo>
                    <a:close/>
                    <a:moveTo>
                      <a:pt x="3315" y="1334"/>
                    </a:moveTo>
                    <a:cubicBezTo>
                      <a:pt x="3316" y="1339"/>
                      <a:pt x="3326" y="1342"/>
                      <a:pt x="3329" y="1338"/>
                    </a:cubicBezTo>
                    <a:cubicBezTo>
                      <a:pt x="3331" y="1333"/>
                      <a:pt x="3313" y="1328"/>
                      <a:pt x="3315" y="1334"/>
                    </a:cubicBezTo>
                    <a:close/>
                    <a:moveTo>
                      <a:pt x="3338" y="1333"/>
                    </a:moveTo>
                    <a:cubicBezTo>
                      <a:pt x="3339" y="1337"/>
                      <a:pt x="3346" y="1336"/>
                      <a:pt x="3353" y="1336"/>
                    </a:cubicBezTo>
                    <a:cubicBezTo>
                      <a:pt x="3360" y="1336"/>
                      <a:pt x="3364" y="1341"/>
                      <a:pt x="3368" y="1341"/>
                    </a:cubicBezTo>
                    <a:cubicBezTo>
                      <a:pt x="3371" y="1341"/>
                      <a:pt x="3369" y="1332"/>
                      <a:pt x="3360" y="1329"/>
                    </a:cubicBezTo>
                    <a:cubicBezTo>
                      <a:pt x="3351" y="1327"/>
                      <a:pt x="3336" y="1329"/>
                      <a:pt x="3338" y="1333"/>
                    </a:cubicBezTo>
                    <a:close/>
                    <a:moveTo>
                      <a:pt x="3340" y="1281"/>
                    </a:moveTo>
                    <a:cubicBezTo>
                      <a:pt x="3340" y="1279"/>
                      <a:pt x="3337" y="1269"/>
                      <a:pt x="3332" y="1277"/>
                    </a:cubicBezTo>
                    <a:cubicBezTo>
                      <a:pt x="3327" y="1284"/>
                      <a:pt x="3334" y="1302"/>
                      <a:pt x="3338" y="1301"/>
                    </a:cubicBezTo>
                    <a:cubicBezTo>
                      <a:pt x="3342" y="1301"/>
                      <a:pt x="3335" y="1292"/>
                      <a:pt x="3342" y="1292"/>
                    </a:cubicBezTo>
                    <a:cubicBezTo>
                      <a:pt x="3350" y="1293"/>
                      <a:pt x="3346" y="1289"/>
                      <a:pt x="3346" y="1284"/>
                    </a:cubicBezTo>
                    <a:cubicBezTo>
                      <a:pt x="3346" y="1279"/>
                      <a:pt x="3340" y="1283"/>
                      <a:pt x="3340" y="1281"/>
                    </a:cubicBezTo>
                    <a:close/>
                    <a:moveTo>
                      <a:pt x="3558" y="1374"/>
                    </a:moveTo>
                    <a:cubicBezTo>
                      <a:pt x="3564" y="1374"/>
                      <a:pt x="3565" y="1371"/>
                      <a:pt x="3560" y="1367"/>
                    </a:cubicBezTo>
                    <a:cubicBezTo>
                      <a:pt x="3556" y="1362"/>
                      <a:pt x="3539" y="1361"/>
                      <a:pt x="3538" y="1354"/>
                    </a:cubicBezTo>
                    <a:cubicBezTo>
                      <a:pt x="3537" y="1348"/>
                      <a:pt x="3507" y="1333"/>
                      <a:pt x="3494" y="1330"/>
                    </a:cubicBezTo>
                    <a:cubicBezTo>
                      <a:pt x="3480" y="1327"/>
                      <a:pt x="3452" y="1314"/>
                      <a:pt x="3447" y="1314"/>
                    </a:cubicBezTo>
                    <a:cubicBezTo>
                      <a:pt x="3442" y="1314"/>
                      <a:pt x="3441" y="1323"/>
                      <a:pt x="3437" y="1323"/>
                    </a:cubicBezTo>
                    <a:cubicBezTo>
                      <a:pt x="3432" y="1323"/>
                      <a:pt x="3426" y="1332"/>
                      <a:pt x="3418" y="1335"/>
                    </a:cubicBezTo>
                    <a:cubicBezTo>
                      <a:pt x="3410" y="1337"/>
                      <a:pt x="3410" y="1312"/>
                      <a:pt x="3406" y="1307"/>
                    </a:cubicBezTo>
                    <a:cubicBezTo>
                      <a:pt x="3403" y="1302"/>
                      <a:pt x="3383" y="1298"/>
                      <a:pt x="3381" y="1303"/>
                    </a:cubicBezTo>
                    <a:cubicBezTo>
                      <a:pt x="3379" y="1309"/>
                      <a:pt x="3372" y="1306"/>
                      <a:pt x="3371" y="1311"/>
                    </a:cubicBezTo>
                    <a:cubicBezTo>
                      <a:pt x="3370" y="1315"/>
                      <a:pt x="3373" y="1314"/>
                      <a:pt x="3377" y="1314"/>
                    </a:cubicBezTo>
                    <a:cubicBezTo>
                      <a:pt x="3381" y="1314"/>
                      <a:pt x="3381" y="1317"/>
                      <a:pt x="3383" y="1321"/>
                    </a:cubicBezTo>
                    <a:cubicBezTo>
                      <a:pt x="3385" y="1326"/>
                      <a:pt x="3397" y="1323"/>
                      <a:pt x="3401" y="1322"/>
                    </a:cubicBezTo>
                    <a:cubicBezTo>
                      <a:pt x="3405" y="1322"/>
                      <a:pt x="3406" y="1328"/>
                      <a:pt x="3400" y="1326"/>
                    </a:cubicBezTo>
                    <a:cubicBezTo>
                      <a:pt x="3395" y="1324"/>
                      <a:pt x="3395" y="1328"/>
                      <a:pt x="3391" y="1327"/>
                    </a:cubicBezTo>
                    <a:cubicBezTo>
                      <a:pt x="3387" y="1326"/>
                      <a:pt x="3381" y="1327"/>
                      <a:pt x="3384" y="1329"/>
                    </a:cubicBezTo>
                    <a:cubicBezTo>
                      <a:pt x="3387" y="1331"/>
                      <a:pt x="3391" y="1334"/>
                      <a:pt x="3391" y="1339"/>
                    </a:cubicBezTo>
                    <a:cubicBezTo>
                      <a:pt x="3391" y="1344"/>
                      <a:pt x="3399" y="1343"/>
                      <a:pt x="3399" y="1339"/>
                    </a:cubicBezTo>
                    <a:cubicBezTo>
                      <a:pt x="3399" y="1335"/>
                      <a:pt x="3403" y="1340"/>
                      <a:pt x="3410" y="1342"/>
                    </a:cubicBezTo>
                    <a:cubicBezTo>
                      <a:pt x="3418" y="1344"/>
                      <a:pt x="3413" y="1347"/>
                      <a:pt x="3420" y="1348"/>
                    </a:cubicBezTo>
                    <a:cubicBezTo>
                      <a:pt x="3428" y="1348"/>
                      <a:pt x="3445" y="1354"/>
                      <a:pt x="3452" y="1359"/>
                    </a:cubicBezTo>
                    <a:cubicBezTo>
                      <a:pt x="3459" y="1364"/>
                      <a:pt x="3454" y="1367"/>
                      <a:pt x="3458" y="1372"/>
                    </a:cubicBezTo>
                    <a:cubicBezTo>
                      <a:pt x="3463" y="1376"/>
                      <a:pt x="3464" y="1382"/>
                      <a:pt x="3458" y="1382"/>
                    </a:cubicBezTo>
                    <a:cubicBezTo>
                      <a:pt x="3452" y="1382"/>
                      <a:pt x="3446" y="1388"/>
                      <a:pt x="3447" y="1391"/>
                    </a:cubicBezTo>
                    <a:cubicBezTo>
                      <a:pt x="3449" y="1394"/>
                      <a:pt x="3469" y="1389"/>
                      <a:pt x="3473" y="1389"/>
                    </a:cubicBezTo>
                    <a:cubicBezTo>
                      <a:pt x="3478" y="1389"/>
                      <a:pt x="3483" y="1402"/>
                      <a:pt x="3497" y="1403"/>
                    </a:cubicBezTo>
                    <a:cubicBezTo>
                      <a:pt x="3512" y="1403"/>
                      <a:pt x="3508" y="1395"/>
                      <a:pt x="3511" y="1395"/>
                    </a:cubicBezTo>
                    <a:cubicBezTo>
                      <a:pt x="3514" y="1395"/>
                      <a:pt x="3515" y="1390"/>
                      <a:pt x="3518" y="1387"/>
                    </a:cubicBezTo>
                    <a:cubicBezTo>
                      <a:pt x="3521" y="1383"/>
                      <a:pt x="3534" y="1386"/>
                      <a:pt x="3541" y="1392"/>
                    </a:cubicBezTo>
                    <a:cubicBezTo>
                      <a:pt x="3549" y="1398"/>
                      <a:pt x="3558" y="1416"/>
                      <a:pt x="3566" y="1414"/>
                    </a:cubicBezTo>
                    <a:cubicBezTo>
                      <a:pt x="3574" y="1412"/>
                      <a:pt x="3582" y="1419"/>
                      <a:pt x="3590" y="1418"/>
                    </a:cubicBezTo>
                    <a:cubicBezTo>
                      <a:pt x="3597" y="1418"/>
                      <a:pt x="3590" y="1412"/>
                      <a:pt x="3588" y="1411"/>
                    </a:cubicBezTo>
                    <a:cubicBezTo>
                      <a:pt x="3586" y="1410"/>
                      <a:pt x="3580" y="1406"/>
                      <a:pt x="3580" y="1404"/>
                    </a:cubicBezTo>
                    <a:cubicBezTo>
                      <a:pt x="3580" y="1401"/>
                      <a:pt x="3573" y="1401"/>
                      <a:pt x="3569" y="1398"/>
                    </a:cubicBezTo>
                    <a:cubicBezTo>
                      <a:pt x="3564" y="1395"/>
                      <a:pt x="3566" y="1386"/>
                      <a:pt x="3561" y="1383"/>
                    </a:cubicBezTo>
                    <a:cubicBezTo>
                      <a:pt x="3556" y="1381"/>
                      <a:pt x="3552" y="1374"/>
                      <a:pt x="3558" y="1374"/>
                    </a:cubicBezTo>
                    <a:close/>
                    <a:moveTo>
                      <a:pt x="3607" y="1352"/>
                    </a:moveTo>
                    <a:cubicBezTo>
                      <a:pt x="3607" y="1355"/>
                      <a:pt x="3602" y="1357"/>
                      <a:pt x="3593" y="1360"/>
                    </a:cubicBezTo>
                    <a:cubicBezTo>
                      <a:pt x="3585" y="1363"/>
                      <a:pt x="3570" y="1356"/>
                      <a:pt x="3569" y="1361"/>
                    </a:cubicBezTo>
                    <a:cubicBezTo>
                      <a:pt x="3569" y="1364"/>
                      <a:pt x="3579" y="1369"/>
                      <a:pt x="3588" y="1369"/>
                    </a:cubicBezTo>
                    <a:cubicBezTo>
                      <a:pt x="3597" y="1369"/>
                      <a:pt x="3611" y="1360"/>
                      <a:pt x="3611" y="1358"/>
                    </a:cubicBezTo>
                    <a:cubicBezTo>
                      <a:pt x="3611" y="1355"/>
                      <a:pt x="3617" y="1350"/>
                      <a:pt x="3614" y="1348"/>
                    </a:cubicBezTo>
                    <a:cubicBezTo>
                      <a:pt x="3612" y="1345"/>
                      <a:pt x="3607" y="1349"/>
                      <a:pt x="3607" y="1352"/>
                    </a:cubicBezTo>
                    <a:close/>
                    <a:moveTo>
                      <a:pt x="3615" y="1340"/>
                    </a:moveTo>
                    <a:cubicBezTo>
                      <a:pt x="3622" y="1346"/>
                      <a:pt x="3618" y="1352"/>
                      <a:pt x="3622" y="1351"/>
                    </a:cubicBezTo>
                    <a:cubicBezTo>
                      <a:pt x="3628" y="1349"/>
                      <a:pt x="3624" y="1343"/>
                      <a:pt x="3618" y="1339"/>
                    </a:cubicBezTo>
                    <a:cubicBezTo>
                      <a:pt x="3613" y="1336"/>
                      <a:pt x="3608" y="1334"/>
                      <a:pt x="3615" y="1340"/>
                    </a:cubicBezTo>
                    <a:close/>
                    <a:moveTo>
                      <a:pt x="3642" y="1360"/>
                    </a:moveTo>
                    <a:cubicBezTo>
                      <a:pt x="3641" y="1363"/>
                      <a:pt x="3652" y="1379"/>
                      <a:pt x="3656" y="1376"/>
                    </a:cubicBezTo>
                    <a:cubicBezTo>
                      <a:pt x="3663" y="1372"/>
                      <a:pt x="3642" y="1357"/>
                      <a:pt x="3642" y="1360"/>
                    </a:cubicBezTo>
                    <a:close/>
                    <a:moveTo>
                      <a:pt x="2810" y="1186"/>
                    </a:moveTo>
                    <a:cubicBezTo>
                      <a:pt x="2807" y="1186"/>
                      <a:pt x="2808" y="1192"/>
                      <a:pt x="2806" y="1196"/>
                    </a:cubicBezTo>
                    <a:cubicBezTo>
                      <a:pt x="2804" y="1201"/>
                      <a:pt x="2805" y="1205"/>
                      <a:pt x="2805" y="1211"/>
                    </a:cubicBezTo>
                    <a:cubicBezTo>
                      <a:pt x="2806" y="1218"/>
                      <a:pt x="2805" y="1224"/>
                      <a:pt x="2811" y="1228"/>
                    </a:cubicBezTo>
                    <a:cubicBezTo>
                      <a:pt x="2817" y="1232"/>
                      <a:pt x="2828" y="1221"/>
                      <a:pt x="2828" y="1212"/>
                    </a:cubicBezTo>
                    <a:cubicBezTo>
                      <a:pt x="2829" y="1203"/>
                      <a:pt x="2812" y="1185"/>
                      <a:pt x="2810" y="1186"/>
                    </a:cubicBezTo>
                    <a:close/>
                    <a:moveTo>
                      <a:pt x="2456" y="1432"/>
                    </a:moveTo>
                    <a:cubicBezTo>
                      <a:pt x="2454" y="1426"/>
                      <a:pt x="2453" y="1434"/>
                      <a:pt x="2452" y="1435"/>
                    </a:cubicBezTo>
                    <a:cubicBezTo>
                      <a:pt x="2450" y="1436"/>
                      <a:pt x="2450" y="1440"/>
                      <a:pt x="2450" y="1443"/>
                    </a:cubicBezTo>
                    <a:cubicBezTo>
                      <a:pt x="2450" y="1446"/>
                      <a:pt x="2446" y="1448"/>
                      <a:pt x="2443" y="1448"/>
                    </a:cubicBezTo>
                    <a:cubicBezTo>
                      <a:pt x="2441" y="1448"/>
                      <a:pt x="2436" y="1449"/>
                      <a:pt x="2438" y="1453"/>
                    </a:cubicBezTo>
                    <a:cubicBezTo>
                      <a:pt x="2439" y="1457"/>
                      <a:pt x="2436" y="1456"/>
                      <a:pt x="2437" y="1459"/>
                    </a:cubicBezTo>
                    <a:cubicBezTo>
                      <a:pt x="2439" y="1462"/>
                      <a:pt x="2434" y="1466"/>
                      <a:pt x="2429" y="1466"/>
                    </a:cubicBezTo>
                    <a:cubicBezTo>
                      <a:pt x="2424" y="1466"/>
                      <a:pt x="2418" y="1475"/>
                      <a:pt x="2413" y="1474"/>
                    </a:cubicBezTo>
                    <a:cubicBezTo>
                      <a:pt x="2408" y="1473"/>
                      <a:pt x="2403" y="1477"/>
                      <a:pt x="2399" y="1477"/>
                    </a:cubicBezTo>
                    <a:cubicBezTo>
                      <a:pt x="2395" y="1476"/>
                      <a:pt x="2398" y="1486"/>
                      <a:pt x="2394" y="1492"/>
                    </a:cubicBezTo>
                    <a:cubicBezTo>
                      <a:pt x="2391" y="1498"/>
                      <a:pt x="2393" y="1505"/>
                      <a:pt x="2396" y="1512"/>
                    </a:cubicBezTo>
                    <a:cubicBezTo>
                      <a:pt x="2399" y="1519"/>
                      <a:pt x="2401" y="1525"/>
                      <a:pt x="2393" y="1535"/>
                    </a:cubicBezTo>
                    <a:cubicBezTo>
                      <a:pt x="2385" y="1545"/>
                      <a:pt x="2386" y="1555"/>
                      <a:pt x="2389" y="1562"/>
                    </a:cubicBezTo>
                    <a:cubicBezTo>
                      <a:pt x="2392" y="1569"/>
                      <a:pt x="2392" y="1579"/>
                      <a:pt x="2396" y="1583"/>
                    </a:cubicBezTo>
                    <a:cubicBezTo>
                      <a:pt x="2400" y="1588"/>
                      <a:pt x="2412" y="1592"/>
                      <a:pt x="2416" y="1588"/>
                    </a:cubicBezTo>
                    <a:cubicBezTo>
                      <a:pt x="2420" y="1585"/>
                      <a:pt x="2423" y="1589"/>
                      <a:pt x="2428" y="1584"/>
                    </a:cubicBezTo>
                    <a:cubicBezTo>
                      <a:pt x="2432" y="1579"/>
                      <a:pt x="2438" y="1554"/>
                      <a:pt x="2444" y="1537"/>
                    </a:cubicBezTo>
                    <a:cubicBezTo>
                      <a:pt x="2450" y="1520"/>
                      <a:pt x="2457" y="1497"/>
                      <a:pt x="2456" y="1493"/>
                    </a:cubicBezTo>
                    <a:cubicBezTo>
                      <a:pt x="2456" y="1488"/>
                      <a:pt x="2460" y="1485"/>
                      <a:pt x="2458" y="1480"/>
                    </a:cubicBezTo>
                    <a:cubicBezTo>
                      <a:pt x="2456" y="1475"/>
                      <a:pt x="2459" y="1469"/>
                      <a:pt x="2461" y="1473"/>
                    </a:cubicBezTo>
                    <a:cubicBezTo>
                      <a:pt x="2464" y="1477"/>
                      <a:pt x="2467" y="1477"/>
                      <a:pt x="2468" y="1472"/>
                    </a:cubicBezTo>
                    <a:cubicBezTo>
                      <a:pt x="2469" y="1466"/>
                      <a:pt x="2464" y="1458"/>
                      <a:pt x="2464" y="1450"/>
                    </a:cubicBezTo>
                    <a:cubicBezTo>
                      <a:pt x="2463" y="1443"/>
                      <a:pt x="2457" y="1435"/>
                      <a:pt x="2456" y="1432"/>
                    </a:cubicBezTo>
                    <a:close/>
                    <a:moveTo>
                      <a:pt x="1274" y="654"/>
                    </a:moveTo>
                    <a:cubicBezTo>
                      <a:pt x="1279" y="652"/>
                      <a:pt x="1274" y="649"/>
                      <a:pt x="1269" y="651"/>
                    </a:cubicBezTo>
                    <a:cubicBezTo>
                      <a:pt x="1264" y="653"/>
                      <a:pt x="1250" y="671"/>
                      <a:pt x="1250" y="676"/>
                    </a:cubicBezTo>
                    <a:cubicBezTo>
                      <a:pt x="1250" y="681"/>
                      <a:pt x="1250" y="687"/>
                      <a:pt x="1245" y="687"/>
                    </a:cubicBezTo>
                    <a:cubicBezTo>
                      <a:pt x="1241" y="686"/>
                      <a:pt x="1235" y="691"/>
                      <a:pt x="1239" y="693"/>
                    </a:cubicBezTo>
                    <a:cubicBezTo>
                      <a:pt x="1243" y="696"/>
                      <a:pt x="1229" y="703"/>
                      <a:pt x="1236" y="707"/>
                    </a:cubicBezTo>
                    <a:cubicBezTo>
                      <a:pt x="1240" y="709"/>
                      <a:pt x="1247" y="706"/>
                      <a:pt x="1253" y="707"/>
                    </a:cubicBezTo>
                    <a:cubicBezTo>
                      <a:pt x="1259" y="707"/>
                      <a:pt x="1264" y="708"/>
                      <a:pt x="1269" y="704"/>
                    </a:cubicBezTo>
                    <a:cubicBezTo>
                      <a:pt x="1274" y="700"/>
                      <a:pt x="1274" y="707"/>
                      <a:pt x="1279" y="707"/>
                    </a:cubicBezTo>
                    <a:cubicBezTo>
                      <a:pt x="1285" y="706"/>
                      <a:pt x="1276" y="711"/>
                      <a:pt x="1277" y="715"/>
                    </a:cubicBezTo>
                    <a:cubicBezTo>
                      <a:pt x="1277" y="718"/>
                      <a:pt x="1282" y="713"/>
                      <a:pt x="1286" y="711"/>
                    </a:cubicBezTo>
                    <a:cubicBezTo>
                      <a:pt x="1290" y="709"/>
                      <a:pt x="1295" y="711"/>
                      <a:pt x="1293" y="714"/>
                    </a:cubicBezTo>
                    <a:cubicBezTo>
                      <a:pt x="1291" y="717"/>
                      <a:pt x="1304" y="721"/>
                      <a:pt x="1307" y="715"/>
                    </a:cubicBezTo>
                    <a:cubicBezTo>
                      <a:pt x="1310" y="710"/>
                      <a:pt x="1304" y="702"/>
                      <a:pt x="1302" y="705"/>
                    </a:cubicBezTo>
                    <a:cubicBezTo>
                      <a:pt x="1300" y="709"/>
                      <a:pt x="1297" y="703"/>
                      <a:pt x="1302" y="699"/>
                    </a:cubicBezTo>
                    <a:cubicBezTo>
                      <a:pt x="1306" y="696"/>
                      <a:pt x="1301" y="695"/>
                      <a:pt x="1297" y="697"/>
                    </a:cubicBezTo>
                    <a:cubicBezTo>
                      <a:pt x="1293" y="699"/>
                      <a:pt x="1294" y="688"/>
                      <a:pt x="1298" y="686"/>
                    </a:cubicBezTo>
                    <a:cubicBezTo>
                      <a:pt x="1301" y="684"/>
                      <a:pt x="1289" y="680"/>
                      <a:pt x="1289" y="683"/>
                    </a:cubicBezTo>
                    <a:cubicBezTo>
                      <a:pt x="1289" y="687"/>
                      <a:pt x="1280" y="685"/>
                      <a:pt x="1279" y="681"/>
                    </a:cubicBezTo>
                    <a:cubicBezTo>
                      <a:pt x="1278" y="678"/>
                      <a:pt x="1271" y="677"/>
                      <a:pt x="1274" y="675"/>
                    </a:cubicBezTo>
                    <a:cubicBezTo>
                      <a:pt x="1276" y="672"/>
                      <a:pt x="1266" y="671"/>
                      <a:pt x="1265" y="675"/>
                    </a:cubicBezTo>
                    <a:cubicBezTo>
                      <a:pt x="1264" y="679"/>
                      <a:pt x="1261" y="672"/>
                      <a:pt x="1266" y="667"/>
                    </a:cubicBezTo>
                    <a:cubicBezTo>
                      <a:pt x="1271" y="662"/>
                      <a:pt x="1269" y="657"/>
                      <a:pt x="1274" y="654"/>
                    </a:cubicBezTo>
                    <a:close/>
                    <a:moveTo>
                      <a:pt x="2504" y="1153"/>
                    </a:moveTo>
                    <a:cubicBezTo>
                      <a:pt x="2508" y="1157"/>
                      <a:pt x="2516" y="1153"/>
                      <a:pt x="2516" y="1151"/>
                    </a:cubicBezTo>
                    <a:cubicBezTo>
                      <a:pt x="2516" y="1149"/>
                      <a:pt x="2500" y="1149"/>
                      <a:pt x="2504" y="1153"/>
                    </a:cubicBezTo>
                    <a:close/>
                    <a:moveTo>
                      <a:pt x="140" y="1064"/>
                    </a:moveTo>
                    <a:cubicBezTo>
                      <a:pt x="134" y="1064"/>
                      <a:pt x="137" y="1080"/>
                      <a:pt x="141" y="1077"/>
                    </a:cubicBezTo>
                    <a:cubicBezTo>
                      <a:pt x="143" y="1076"/>
                      <a:pt x="148" y="1075"/>
                      <a:pt x="149" y="1073"/>
                    </a:cubicBezTo>
                    <a:cubicBezTo>
                      <a:pt x="151" y="1070"/>
                      <a:pt x="146" y="1063"/>
                      <a:pt x="140" y="1064"/>
                    </a:cubicBezTo>
                    <a:close/>
                    <a:moveTo>
                      <a:pt x="132" y="1054"/>
                    </a:moveTo>
                    <a:cubicBezTo>
                      <a:pt x="128" y="1055"/>
                      <a:pt x="131" y="1061"/>
                      <a:pt x="133" y="1060"/>
                    </a:cubicBezTo>
                    <a:cubicBezTo>
                      <a:pt x="137" y="1057"/>
                      <a:pt x="136" y="1054"/>
                      <a:pt x="132" y="1054"/>
                    </a:cubicBezTo>
                    <a:close/>
                    <a:moveTo>
                      <a:pt x="93" y="1041"/>
                    </a:moveTo>
                    <a:cubicBezTo>
                      <a:pt x="96" y="1045"/>
                      <a:pt x="99" y="1044"/>
                      <a:pt x="100" y="1041"/>
                    </a:cubicBezTo>
                    <a:cubicBezTo>
                      <a:pt x="100" y="1038"/>
                      <a:pt x="89" y="1038"/>
                      <a:pt x="93" y="1041"/>
                    </a:cubicBezTo>
                    <a:close/>
                    <a:moveTo>
                      <a:pt x="111" y="1049"/>
                    </a:moveTo>
                    <a:cubicBezTo>
                      <a:pt x="113" y="1053"/>
                      <a:pt x="116" y="1053"/>
                      <a:pt x="118" y="1050"/>
                    </a:cubicBezTo>
                    <a:cubicBezTo>
                      <a:pt x="120" y="1047"/>
                      <a:pt x="108" y="1045"/>
                      <a:pt x="111" y="1049"/>
                    </a:cubicBezTo>
                    <a:close/>
                    <a:moveTo>
                      <a:pt x="1476" y="1979"/>
                    </a:moveTo>
                    <a:cubicBezTo>
                      <a:pt x="1477" y="1984"/>
                      <a:pt x="1481" y="1982"/>
                      <a:pt x="1486" y="1986"/>
                    </a:cubicBezTo>
                    <a:cubicBezTo>
                      <a:pt x="1490" y="1989"/>
                      <a:pt x="1494" y="1997"/>
                      <a:pt x="1498" y="1990"/>
                    </a:cubicBezTo>
                    <a:cubicBezTo>
                      <a:pt x="1503" y="1983"/>
                      <a:pt x="1475" y="1977"/>
                      <a:pt x="1476" y="1979"/>
                    </a:cubicBezTo>
                    <a:close/>
                    <a:moveTo>
                      <a:pt x="2681" y="1900"/>
                    </a:moveTo>
                    <a:cubicBezTo>
                      <a:pt x="2680" y="1897"/>
                      <a:pt x="2667" y="1909"/>
                      <a:pt x="2677" y="1913"/>
                    </a:cubicBezTo>
                    <a:cubicBezTo>
                      <a:pt x="2682" y="1915"/>
                      <a:pt x="2683" y="1910"/>
                      <a:pt x="2686" y="1913"/>
                    </a:cubicBezTo>
                    <a:cubicBezTo>
                      <a:pt x="2689" y="1915"/>
                      <a:pt x="2695" y="1914"/>
                      <a:pt x="2696" y="1908"/>
                    </a:cubicBezTo>
                    <a:cubicBezTo>
                      <a:pt x="2697" y="1903"/>
                      <a:pt x="2682" y="1904"/>
                      <a:pt x="2681" y="1900"/>
                    </a:cubicBezTo>
                    <a:close/>
                    <a:moveTo>
                      <a:pt x="3663" y="1374"/>
                    </a:moveTo>
                    <a:cubicBezTo>
                      <a:pt x="3663" y="1375"/>
                      <a:pt x="3671" y="1383"/>
                      <a:pt x="3672" y="1382"/>
                    </a:cubicBezTo>
                    <a:cubicBezTo>
                      <a:pt x="3674" y="1380"/>
                      <a:pt x="3663" y="1372"/>
                      <a:pt x="3663" y="1374"/>
                    </a:cubicBezTo>
                    <a:close/>
                    <a:moveTo>
                      <a:pt x="3700" y="1394"/>
                    </a:moveTo>
                    <a:cubicBezTo>
                      <a:pt x="3703" y="1392"/>
                      <a:pt x="3685" y="1382"/>
                      <a:pt x="3685" y="1385"/>
                    </a:cubicBezTo>
                    <a:cubicBezTo>
                      <a:pt x="3684" y="1388"/>
                      <a:pt x="3698" y="1396"/>
                      <a:pt x="3700" y="1394"/>
                    </a:cubicBezTo>
                    <a:close/>
                    <a:moveTo>
                      <a:pt x="3698" y="1405"/>
                    </a:moveTo>
                    <a:cubicBezTo>
                      <a:pt x="3699" y="1410"/>
                      <a:pt x="3707" y="1413"/>
                      <a:pt x="3710" y="1411"/>
                    </a:cubicBezTo>
                    <a:cubicBezTo>
                      <a:pt x="3713" y="1409"/>
                      <a:pt x="3697" y="1399"/>
                      <a:pt x="3698" y="1405"/>
                    </a:cubicBezTo>
                    <a:close/>
                    <a:moveTo>
                      <a:pt x="3719" y="1416"/>
                    </a:moveTo>
                    <a:cubicBezTo>
                      <a:pt x="3719" y="1417"/>
                      <a:pt x="3726" y="1423"/>
                      <a:pt x="3729" y="1421"/>
                    </a:cubicBezTo>
                    <a:cubicBezTo>
                      <a:pt x="3732" y="1418"/>
                      <a:pt x="3718" y="1414"/>
                      <a:pt x="3719" y="1416"/>
                    </a:cubicBezTo>
                    <a:close/>
                    <a:moveTo>
                      <a:pt x="3710" y="1393"/>
                    </a:moveTo>
                    <a:cubicBezTo>
                      <a:pt x="3708" y="1399"/>
                      <a:pt x="3718" y="1408"/>
                      <a:pt x="3719" y="1409"/>
                    </a:cubicBezTo>
                    <a:cubicBezTo>
                      <a:pt x="3721" y="1409"/>
                      <a:pt x="3712" y="1389"/>
                      <a:pt x="3710" y="1393"/>
                    </a:cubicBezTo>
                    <a:close/>
                    <a:moveTo>
                      <a:pt x="3627" y="1624"/>
                    </a:moveTo>
                    <a:cubicBezTo>
                      <a:pt x="3629" y="1622"/>
                      <a:pt x="3626" y="1614"/>
                      <a:pt x="3624" y="1616"/>
                    </a:cubicBezTo>
                    <a:cubicBezTo>
                      <a:pt x="3622" y="1617"/>
                      <a:pt x="3622" y="1603"/>
                      <a:pt x="3623" y="1597"/>
                    </a:cubicBezTo>
                    <a:cubicBezTo>
                      <a:pt x="3625" y="1591"/>
                      <a:pt x="3624" y="1591"/>
                      <a:pt x="3621" y="1595"/>
                    </a:cubicBezTo>
                    <a:cubicBezTo>
                      <a:pt x="3617" y="1598"/>
                      <a:pt x="3614" y="1588"/>
                      <a:pt x="3613" y="1586"/>
                    </a:cubicBezTo>
                    <a:cubicBezTo>
                      <a:pt x="3612" y="1583"/>
                      <a:pt x="3609" y="1576"/>
                      <a:pt x="3604" y="1577"/>
                    </a:cubicBezTo>
                    <a:cubicBezTo>
                      <a:pt x="3600" y="1578"/>
                      <a:pt x="3603" y="1571"/>
                      <a:pt x="3599" y="1572"/>
                    </a:cubicBezTo>
                    <a:cubicBezTo>
                      <a:pt x="3595" y="1573"/>
                      <a:pt x="3594" y="1566"/>
                      <a:pt x="3595" y="1560"/>
                    </a:cubicBezTo>
                    <a:cubicBezTo>
                      <a:pt x="3596" y="1554"/>
                      <a:pt x="3592" y="1559"/>
                      <a:pt x="3590" y="1557"/>
                    </a:cubicBezTo>
                    <a:cubicBezTo>
                      <a:pt x="3589" y="1554"/>
                      <a:pt x="3587" y="1556"/>
                      <a:pt x="3584" y="1557"/>
                    </a:cubicBezTo>
                    <a:cubicBezTo>
                      <a:pt x="3581" y="1558"/>
                      <a:pt x="3580" y="1552"/>
                      <a:pt x="3581" y="1549"/>
                    </a:cubicBezTo>
                    <a:cubicBezTo>
                      <a:pt x="3582" y="1547"/>
                      <a:pt x="3581" y="1544"/>
                      <a:pt x="3577" y="1541"/>
                    </a:cubicBezTo>
                    <a:cubicBezTo>
                      <a:pt x="3573" y="1538"/>
                      <a:pt x="3573" y="1536"/>
                      <a:pt x="3573" y="1533"/>
                    </a:cubicBezTo>
                    <a:cubicBezTo>
                      <a:pt x="3573" y="1530"/>
                      <a:pt x="3552" y="1519"/>
                      <a:pt x="3547" y="1518"/>
                    </a:cubicBezTo>
                    <a:cubicBezTo>
                      <a:pt x="3542" y="1517"/>
                      <a:pt x="3546" y="1512"/>
                      <a:pt x="3544" y="1510"/>
                    </a:cubicBezTo>
                    <a:cubicBezTo>
                      <a:pt x="3542" y="1508"/>
                      <a:pt x="3542" y="1502"/>
                      <a:pt x="3542" y="1496"/>
                    </a:cubicBezTo>
                    <a:cubicBezTo>
                      <a:pt x="3542" y="1491"/>
                      <a:pt x="3535" y="1489"/>
                      <a:pt x="3535" y="1484"/>
                    </a:cubicBezTo>
                    <a:cubicBezTo>
                      <a:pt x="3535" y="1480"/>
                      <a:pt x="3533" y="1476"/>
                      <a:pt x="3533" y="1471"/>
                    </a:cubicBezTo>
                    <a:cubicBezTo>
                      <a:pt x="3534" y="1466"/>
                      <a:pt x="3526" y="1464"/>
                      <a:pt x="3526" y="1462"/>
                    </a:cubicBezTo>
                    <a:cubicBezTo>
                      <a:pt x="3526" y="1459"/>
                      <a:pt x="3521" y="1461"/>
                      <a:pt x="3517" y="1462"/>
                    </a:cubicBezTo>
                    <a:cubicBezTo>
                      <a:pt x="3513" y="1462"/>
                      <a:pt x="3513" y="1456"/>
                      <a:pt x="3514" y="1451"/>
                    </a:cubicBezTo>
                    <a:cubicBezTo>
                      <a:pt x="3514" y="1445"/>
                      <a:pt x="3512" y="1435"/>
                      <a:pt x="3508" y="1433"/>
                    </a:cubicBezTo>
                    <a:cubicBezTo>
                      <a:pt x="3505" y="1430"/>
                      <a:pt x="3505" y="1420"/>
                      <a:pt x="3503" y="1419"/>
                    </a:cubicBezTo>
                    <a:cubicBezTo>
                      <a:pt x="3501" y="1417"/>
                      <a:pt x="3495" y="1424"/>
                      <a:pt x="3496" y="1427"/>
                    </a:cubicBezTo>
                    <a:cubicBezTo>
                      <a:pt x="3496" y="1430"/>
                      <a:pt x="3495" y="1434"/>
                      <a:pt x="3493" y="1436"/>
                    </a:cubicBezTo>
                    <a:cubicBezTo>
                      <a:pt x="3491" y="1438"/>
                      <a:pt x="3494" y="1446"/>
                      <a:pt x="3491" y="1449"/>
                    </a:cubicBezTo>
                    <a:cubicBezTo>
                      <a:pt x="3488" y="1451"/>
                      <a:pt x="3491" y="1462"/>
                      <a:pt x="3490" y="1469"/>
                    </a:cubicBezTo>
                    <a:cubicBezTo>
                      <a:pt x="3490" y="1475"/>
                      <a:pt x="3490" y="1482"/>
                      <a:pt x="3487" y="1486"/>
                    </a:cubicBezTo>
                    <a:cubicBezTo>
                      <a:pt x="3484" y="1490"/>
                      <a:pt x="3483" y="1497"/>
                      <a:pt x="3477" y="1499"/>
                    </a:cubicBezTo>
                    <a:cubicBezTo>
                      <a:pt x="3471" y="1501"/>
                      <a:pt x="3463" y="1497"/>
                      <a:pt x="3464" y="1493"/>
                    </a:cubicBezTo>
                    <a:cubicBezTo>
                      <a:pt x="3464" y="1490"/>
                      <a:pt x="3457" y="1488"/>
                      <a:pt x="3454" y="1489"/>
                    </a:cubicBezTo>
                    <a:cubicBezTo>
                      <a:pt x="3450" y="1489"/>
                      <a:pt x="3448" y="1484"/>
                      <a:pt x="3443" y="1480"/>
                    </a:cubicBezTo>
                    <a:cubicBezTo>
                      <a:pt x="3437" y="1476"/>
                      <a:pt x="3433" y="1481"/>
                      <a:pt x="3431" y="1476"/>
                    </a:cubicBezTo>
                    <a:cubicBezTo>
                      <a:pt x="3429" y="1471"/>
                      <a:pt x="3428" y="1470"/>
                      <a:pt x="3424" y="1467"/>
                    </a:cubicBezTo>
                    <a:cubicBezTo>
                      <a:pt x="3420" y="1465"/>
                      <a:pt x="3421" y="1465"/>
                      <a:pt x="3425" y="1462"/>
                    </a:cubicBezTo>
                    <a:cubicBezTo>
                      <a:pt x="3428" y="1459"/>
                      <a:pt x="3428" y="1456"/>
                      <a:pt x="3426" y="1452"/>
                    </a:cubicBezTo>
                    <a:cubicBezTo>
                      <a:pt x="3424" y="1449"/>
                      <a:pt x="3428" y="1450"/>
                      <a:pt x="3433" y="1447"/>
                    </a:cubicBezTo>
                    <a:cubicBezTo>
                      <a:pt x="3438" y="1444"/>
                      <a:pt x="3433" y="1441"/>
                      <a:pt x="3437" y="1440"/>
                    </a:cubicBezTo>
                    <a:cubicBezTo>
                      <a:pt x="3440" y="1438"/>
                      <a:pt x="3438" y="1435"/>
                      <a:pt x="3434" y="1434"/>
                    </a:cubicBezTo>
                    <a:cubicBezTo>
                      <a:pt x="3430" y="1433"/>
                      <a:pt x="3431" y="1438"/>
                      <a:pt x="3430" y="1439"/>
                    </a:cubicBezTo>
                    <a:cubicBezTo>
                      <a:pt x="3428" y="1439"/>
                      <a:pt x="3427" y="1432"/>
                      <a:pt x="3426" y="1433"/>
                    </a:cubicBezTo>
                    <a:cubicBezTo>
                      <a:pt x="3424" y="1433"/>
                      <a:pt x="3420" y="1439"/>
                      <a:pt x="3417" y="1436"/>
                    </a:cubicBezTo>
                    <a:cubicBezTo>
                      <a:pt x="3415" y="1433"/>
                      <a:pt x="3401" y="1430"/>
                      <a:pt x="3395" y="1429"/>
                    </a:cubicBezTo>
                    <a:cubicBezTo>
                      <a:pt x="3390" y="1429"/>
                      <a:pt x="3388" y="1422"/>
                      <a:pt x="3385" y="1423"/>
                    </a:cubicBezTo>
                    <a:cubicBezTo>
                      <a:pt x="3381" y="1424"/>
                      <a:pt x="3385" y="1426"/>
                      <a:pt x="3389" y="1430"/>
                    </a:cubicBezTo>
                    <a:cubicBezTo>
                      <a:pt x="3393" y="1434"/>
                      <a:pt x="3376" y="1437"/>
                      <a:pt x="3372" y="1436"/>
                    </a:cubicBezTo>
                    <a:cubicBezTo>
                      <a:pt x="3367" y="1434"/>
                      <a:pt x="3372" y="1439"/>
                      <a:pt x="3368" y="1439"/>
                    </a:cubicBezTo>
                    <a:cubicBezTo>
                      <a:pt x="3364" y="1439"/>
                      <a:pt x="3364" y="1446"/>
                      <a:pt x="3360" y="1449"/>
                    </a:cubicBezTo>
                    <a:cubicBezTo>
                      <a:pt x="3357" y="1453"/>
                      <a:pt x="3359" y="1455"/>
                      <a:pt x="3356" y="1457"/>
                    </a:cubicBezTo>
                    <a:cubicBezTo>
                      <a:pt x="3352" y="1460"/>
                      <a:pt x="3352" y="1462"/>
                      <a:pt x="3356" y="1467"/>
                    </a:cubicBezTo>
                    <a:cubicBezTo>
                      <a:pt x="3361" y="1472"/>
                      <a:pt x="3354" y="1472"/>
                      <a:pt x="3351" y="1468"/>
                    </a:cubicBezTo>
                    <a:cubicBezTo>
                      <a:pt x="3347" y="1464"/>
                      <a:pt x="3343" y="1464"/>
                      <a:pt x="3343" y="1469"/>
                    </a:cubicBezTo>
                    <a:cubicBezTo>
                      <a:pt x="3344" y="1473"/>
                      <a:pt x="3339" y="1471"/>
                      <a:pt x="3340" y="1466"/>
                    </a:cubicBezTo>
                    <a:cubicBezTo>
                      <a:pt x="3340" y="1461"/>
                      <a:pt x="3334" y="1464"/>
                      <a:pt x="3333" y="1461"/>
                    </a:cubicBezTo>
                    <a:cubicBezTo>
                      <a:pt x="3332" y="1458"/>
                      <a:pt x="3327" y="1454"/>
                      <a:pt x="3324" y="1454"/>
                    </a:cubicBezTo>
                    <a:cubicBezTo>
                      <a:pt x="3321" y="1454"/>
                      <a:pt x="3321" y="1458"/>
                      <a:pt x="3317" y="1458"/>
                    </a:cubicBezTo>
                    <a:cubicBezTo>
                      <a:pt x="3314" y="1458"/>
                      <a:pt x="3313" y="1459"/>
                      <a:pt x="3314" y="1463"/>
                    </a:cubicBezTo>
                    <a:cubicBezTo>
                      <a:pt x="3314" y="1466"/>
                      <a:pt x="3309" y="1463"/>
                      <a:pt x="3305" y="1463"/>
                    </a:cubicBezTo>
                    <a:cubicBezTo>
                      <a:pt x="3301" y="1464"/>
                      <a:pt x="3305" y="1468"/>
                      <a:pt x="3303" y="1468"/>
                    </a:cubicBezTo>
                    <a:cubicBezTo>
                      <a:pt x="3301" y="1468"/>
                      <a:pt x="3301" y="1472"/>
                      <a:pt x="3298" y="1472"/>
                    </a:cubicBezTo>
                    <a:cubicBezTo>
                      <a:pt x="3295" y="1472"/>
                      <a:pt x="3295" y="1479"/>
                      <a:pt x="3296" y="1483"/>
                    </a:cubicBezTo>
                    <a:cubicBezTo>
                      <a:pt x="3296" y="1487"/>
                      <a:pt x="3291" y="1481"/>
                      <a:pt x="3287" y="1482"/>
                    </a:cubicBezTo>
                    <a:cubicBezTo>
                      <a:pt x="3284" y="1483"/>
                      <a:pt x="3288" y="1486"/>
                      <a:pt x="3289" y="1491"/>
                    </a:cubicBezTo>
                    <a:cubicBezTo>
                      <a:pt x="3290" y="1495"/>
                      <a:pt x="3287" y="1495"/>
                      <a:pt x="3286" y="1496"/>
                    </a:cubicBezTo>
                    <a:cubicBezTo>
                      <a:pt x="3284" y="1498"/>
                      <a:pt x="3281" y="1492"/>
                      <a:pt x="3281" y="1488"/>
                    </a:cubicBezTo>
                    <a:cubicBezTo>
                      <a:pt x="3281" y="1484"/>
                      <a:pt x="3277" y="1488"/>
                      <a:pt x="3272" y="1492"/>
                    </a:cubicBezTo>
                    <a:cubicBezTo>
                      <a:pt x="3268" y="1497"/>
                      <a:pt x="3274" y="1504"/>
                      <a:pt x="3272" y="1506"/>
                    </a:cubicBezTo>
                    <a:cubicBezTo>
                      <a:pt x="3270" y="1507"/>
                      <a:pt x="3261" y="1515"/>
                      <a:pt x="3256" y="1522"/>
                    </a:cubicBezTo>
                    <a:cubicBezTo>
                      <a:pt x="3250" y="1528"/>
                      <a:pt x="3239" y="1524"/>
                      <a:pt x="3236" y="1527"/>
                    </a:cubicBezTo>
                    <a:cubicBezTo>
                      <a:pt x="3232" y="1530"/>
                      <a:pt x="3228" y="1528"/>
                      <a:pt x="3225" y="1531"/>
                    </a:cubicBezTo>
                    <a:cubicBezTo>
                      <a:pt x="3221" y="1533"/>
                      <a:pt x="3215" y="1539"/>
                      <a:pt x="3214" y="1535"/>
                    </a:cubicBezTo>
                    <a:cubicBezTo>
                      <a:pt x="3213" y="1532"/>
                      <a:pt x="3204" y="1535"/>
                      <a:pt x="3201" y="1539"/>
                    </a:cubicBezTo>
                    <a:cubicBezTo>
                      <a:pt x="3197" y="1543"/>
                      <a:pt x="3191" y="1546"/>
                      <a:pt x="3187" y="1546"/>
                    </a:cubicBezTo>
                    <a:cubicBezTo>
                      <a:pt x="3182" y="1547"/>
                      <a:pt x="3182" y="1553"/>
                      <a:pt x="3181" y="1555"/>
                    </a:cubicBezTo>
                    <a:cubicBezTo>
                      <a:pt x="3179" y="1556"/>
                      <a:pt x="3179" y="1549"/>
                      <a:pt x="3179" y="1548"/>
                    </a:cubicBezTo>
                    <a:cubicBezTo>
                      <a:pt x="3179" y="1546"/>
                      <a:pt x="3175" y="1551"/>
                      <a:pt x="3174" y="1556"/>
                    </a:cubicBezTo>
                    <a:cubicBezTo>
                      <a:pt x="3172" y="1561"/>
                      <a:pt x="3178" y="1563"/>
                      <a:pt x="3174" y="1569"/>
                    </a:cubicBezTo>
                    <a:cubicBezTo>
                      <a:pt x="3170" y="1574"/>
                      <a:pt x="3167" y="1580"/>
                      <a:pt x="3172" y="1587"/>
                    </a:cubicBezTo>
                    <a:cubicBezTo>
                      <a:pt x="3177" y="1594"/>
                      <a:pt x="3180" y="1598"/>
                      <a:pt x="3179" y="1602"/>
                    </a:cubicBezTo>
                    <a:cubicBezTo>
                      <a:pt x="3177" y="1605"/>
                      <a:pt x="3173" y="1595"/>
                      <a:pt x="3172" y="1596"/>
                    </a:cubicBezTo>
                    <a:cubicBezTo>
                      <a:pt x="3171" y="1597"/>
                      <a:pt x="3177" y="1602"/>
                      <a:pt x="3175" y="1604"/>
                    </a:cubicBezTo>
                    <a:cubicBezTo>
                      <a:pt x="3174" y="1606"/>
                      <a:pt x="3168" y="1595"/>
                      <a:pt x="3167" y="1598"/>
                    </a:cubicBezTo>
                    <a:cubicBezTo>
                      <a:pt x="3166" y="1600"/>
                      <a:pt x="3178" y="1617"/>
                      <a:pt x="3179" y="1623"/>
                    </a:cubicBezTo>
                    <a:cubicBezTo>
                      <a:pt x="3179" y="1630"/>
                      <a:pt x="3189" y="1636"/>
                      <a:pt x="3188" y="1645"/>
                    </a:cubicBezTo>
                    <a:cubicBezTo>
                      <a:pt x="3188" y="1654"/>
                      <a:pt x="3197" y="1668"/>
                      <a:pt x="3198" y="1670"/>
                    </a:cubicBezTo>
                    <a:cubicBezTo>
                      <a:pt x="3200" y="1673"/>
                      <a:pt x="3195" y="1679"/>
                      <a:pt x="3196" y="1685"/>
                    </a:cubicBezTo>
                    <a:cubicBezTo>
                      <a:pt x="3197" y="1692"/>
                      <a:pt x="3193" y="1695"/>
                      <a:pt x="3189" y="1695"/>
                    </a:cubicBezTo>
                    <a:cubicBezTo>
                      <a:pt x="3185" y="1695"/>
                      <a:pt x="3187" y="1702"/>
                      <a:pt x="3192" y="1702"/>
                    </a:cubicBezTo>
                    <a:cubicBezTo>
                      <a:pt x="3197" y="1703"/>
                      <a:pt x="3195" y="1706"/>
                      <a:pt x="3200" y="1709"/>
                    </a:cubicBezTo>
                    <a:cubicBezTo>
                      <a:pt x="3206" y="1713"/>
                      <a:pt x="3218" y="1712"/>
                      <a:pt x="3222" y="1712"/>
                    </a:cubicBezTo>
                    <a:cubicBezTo>
                      <a:pt x="3227" y="1712"/>
                      <a:pt x="3228" y="1705"/>
                      <a:pt x="3234" y="1705"/>
                    </a:cubicBezTo>
                    <a:cubicBezTo>
                      <a:pt x="3239" y="1705"/>
                      <a:pt x="3239" y="1703"/>
                      <a:pt x="3242" y="1699"/>
                    </a:cubicBezTo>
                    <a:cubicBezTo>
                      <a:pt x="3244" y="1696"/>
                      <a:pt x="3257" y="1697"/>
                      <a:pt x="3271" y="1698"/>
                    </a:cubicBezTo>
                    <a:cubicBezTo>
                      <a:pt x="3284" y="1698"/>
                      <a:pt x="3290" y="1694"/>
                      <a:pt x="3292" y="1689"/>
                    </a:cubicBezTo>
                    <a:cubicBezTo>
                      <a:pt x="3293" y="1684"/>
                      <a:pt x="3303" y="1684"/>
                      <a:pt x="3307" y="1680"/>
                    </a:cubicBezTo>
                    <a:cubicBezTo>
                      <a:pt x="3310" y="1677"/>
                      <a:pt x="3314" y="1677"/>
                      <a:pt x="3323" y="1677"/>
                    </a:cubicBezTo>
                    <a:cubicBezTo>
                      <a:pt x="3333" y="1678"/>
                      <a:pt x="3342" y="1672"/>
                      <a:pt x="3348" y="1670"/>
                    </a:cubicBezTo>
                    <a:cubicBezTo>
                      <a:pt x="3355" y="1667"/>
                      <a:pt x="3366" y="1668"/>
                      <a:pt x="3372" y="1667"/>
                    </a:cubicBezTo>
                    <a:cubicBezTo>
                      <a:pt x="3378" y="1665"/>
                      <a:pt x="3379" y="1674"/>
                      <a:pt x="3386" y="1674"/>
                    </a:cubicBezTo>
                    <a:cubicBezTo>
                      <a:pt x="3393" y="1673"/>
                      <a:pt x="3396" y="1676"/>
                      <a:pt x="3399" y="1675"/>
                    </a:cubicBezTo>
                    <a:cubicBezTo>
                      <a:pt x="3403" y="1675"/>
                      <a:pt x="3402" y="1678"/>
                      <a:pt x="3406" y="1679"/>
                    </a:cubicBezTo>
                    <a:cubicBezTo>
                      <a:pt x="3409" y="1679"/>
                      <a:pt x="3409" y="1682"/>
                      <a:pt x="3406" y="1686"/>
                    </a:cubicBezTo>
                    <a:cubicBezTo>
                      <a:pt x="3404" y="1689"/>
                      <a:pt x="3412" y="1689"/>
                      <a:pt x="3416" y="1695"/>
                    </a:cubicBezTo>
                    <a:cubicBezTo>
                      <a:pt x="3421" y="1702"/>
                      <a:pt x="3417" y="1703"/>
                      <a:pt x="3419" y="1708"/>
                    </a:cubicBezTo>
                    <a:cubicBezTo>
                      <a:pt x="3422" y="1713"/>
                      <a:pt x="3423" y="1711"/>
                      <a:pt x="3428" y="1704"/>
                    </a:cubicBezTo>
                    <a:cubicBezTo>
                      <a:pt x="3433" y="1697"/>
                      <a:pt x="3439" y="1702"/>
                      <a:pt x="3440" y="1696"/>
                    </a:cubicBezTo>
                    <a:cubicBezTo>
                      <a:pt x="3440" y="1690"/>
                      <a:pt x="3446" y="1683"/>
                      <a:pt x="3449" y="1686"/>
                    </a:cubicBezTo>
                    <a:cubicBezTo>
                      <a:pt x="3453" y="1689"/>
                      <a:pt x="3447" y="1690"/>
                      <a:pt x="3444" y="1702"/>
                    </a:cubicBezTo>
                    <a:cubicBezTo>
                      <a:pt x="3442" y="1713"/>
                      <a:pt x="3438" y="1707"/>
                      <a:pt x="3437" y="1711"/>
                    </a:cubicBezTo>
                    <a:cubicBezTo>
                      <a:pt x="3437" y="1714"/>
                      <a:pt x="3448" y="1716"/>
                      <a:pt x="3448" y="1710"/>
                    </a:cubicBezTo>
                    <a:cubicBezTo>
                      <a:pt x="3448" y="1704"/>
                      <a:pt x="3450" y="1701"/>
                      <a:pt x="3454" y="1706"/>
                    </a:cubicBezTo>
                    <a:cubicBezTo>
                      <a:pt x="3458" y="1712"/>
                      <a:pt x="3452" y="1716"/>
                      <a:pt x="3453" y="1719"/>
                    </a:cubicBezTo>
                    <a:cubicBezTo>
                      <a:pt x="3454" y="1721"/>
                      <a:pt x="3458" y="1718"/>
                      <a:pt x="3461" y="1718"/>
                    </a:cubicBezTo>
                    <a:cubicBezTo>
                      <a:pt x="3465" y="1719"/>
                      <a:pt x="3471" y="1729"/>
                      <a:pt x="3470" y="1734"/>
                    </a:cubicBezTo>
                    <a:cubicBezTo>
                      <a:pt x="3469" y="1739"/>
                      <a:pt x="3468" y="1744"/>
                      <a:pt x="3476" y="1748"/>
                    </a:cubicBezTo>
                    <a:cubicBezTo>
                      <a:pt x="3485" y="1753"/>
                      <a:pt x="3482" y="1753"/>
                      <a:pt x="3488" y="1753"/>
                    </a:cubicBezTo>
                    <a:cubicBezTo>
                      <a:pt x="3494" y="1753"/>
                      <a:pt x="3507" y="1758"/>
                      <a:pt x="3511" y="1761"/>
                    </a:cubicBezTo>
                    <a:cubicBezTo>
                      <a:pt x="3514" y="1764"/>
                      <a:pt x="3523" y="1759"/>
                      <a:pt x="3525" y="1753"/>
                    </a:cubicBezTo>
                    <a:cubicBezTo>
                      <a:pt x="3527" y="1747"/>
                      <a:pt x="3533" y="1753"/>
                      <a:pt x="3530" y="1755"/>
                    </a:cubicBezTo>
                    <a:cubicBezTo>
                      <a:pt x="3526" y="1757"/>
                      <a:pt x="3531" y="1762"/>
                      <a:pt x="3532" y="1758"/>
                    </a:cubicBezTo>
                    <a:cubicBezTo>
                      <a:pt x="3532" y="1755"/>
                      <a:pt x="3533" y="1752"/>
                      <a:pt x="3535" y="1756"/>
                    </a:cubicBezTo>
                    <a:cubicBezTo>
                      <a:pt x="3536" y="1760"/>
                      <a:pt x="3540" y="1760"/>
                      <a:pt x="3542" y="1763"/>
                    </a:cubicBezTo>
                    <a:cubicBezTo>
                      <a:pt x="3544" y="1766"/>
                      <a:pt x="3546" y="1768"/>
                      <a:pt x="3546" y="1766"/>
                    </a:cubicBezTo>
                    <a:cubicBezTo>
                      <a:pt x="3546" y="1763"/>
                      <a:pt x="3547" y="1761"/>
                      <a:pt x="3551" y="1759"/>
                    </a:cubicBezTo>
                    <a:cubicBezTo>
                      <a:pt x="3555" y="1758"/>
                      <a:pt x="3557" y="1755"/>
                      <a:pt x="3562" y="1752"/>
                    </a:cubicBezTo>
                    <a:cubicBezTo>
                      <a:pt x="3566" y="1748"/>
                      <a:pt x="3583" y="1747"/>
                      <a:pt x="3585" y="1747"/>
                    </a:cubicBezTo>
                    <a:cubicBezTo>
                      <a:pt x="3587" y="1747"/>
                      <a:pt x="3588" y="1732"/>
                      <a:pt x="3589" y="1725"/>
                    </a:cubicBezTo>
                    <a:cubicBezTo>
                      <a:pt x="3590" y="1717"/>
                      <a:pt x="3596" y="1716"/>
                      <a:pt x="3597" y="1707"/>
                    </a:cubicBezTo>
                    <a:cubicBezTo>
                      <a:pt x="3598" y="1699"/>
                      <a:pt x="3607" y="1684"/>
                      <a:pt x="3609" y="1683"/>
                    </a:cubicBezTo>
                    <a:cubicBezTo>
                      <a:pt x="3612" y="1682"/>
                      <a:pt x="3616" y="1680"/>
                      <a:pt x="3616" y="1675"/>
                    </a:cubicBezTo>
                    <a:cubicBezTo>
                      <a:pt x="3616" y="1671"/>
                      <a:pt x="3622" y="1665"/>
                      <a:pt x="3622" y="1660"/>
                    </a:cubicBezTo>
                    <a:cubicBezTo>
                      <a:pt x="3622" y="1654"/>
                      <a:pt x="3625" y="1647"/>
                      <a:pt x="3625" y="1645"/>
                    </a:cubicBezTo>
                    <a:cubicBezTo>
                      <a:pt x="3624" y="1644"/>
                      <a:pt x="3622" y="1638"/>
                      <a:pt x="3626" y="1634"/>
                    </a:cubicBezTo>
                    <a:cubicBezTo>
                      <a:pt x="3630" y="1630"/>
                      <a:pt x="3625" y="1625"/>
                      <a:pt x="3627" y="1624"/>
                    </a:cubicBezTo>
                    <a:close/>
                    <a:moveTo>
                      <a:pt x="3362" y="1432"/>
                    </a:moveTo>
                    <a:cubicBezTo>
                      <a:pt x="3364" y="1434"/>
                      <a:pt x="3377" y="1431"/>
                      <a:pt x="3376" y="1428"/>
                    </a:cubicBezTo>
                    <a:cubicBezTo>
                      <a:pt x="3376" y="1425"/>
                      <a:pt x="3358" y="1429"/>
                      <a:pt x="3362" y="1432"/>
                    </a:cubicBezTo>
                    <a:close/>
                    <a:moveTo>
                      <a:pt x="3432" y="1724"/>
                    </a:moveTo>
                    <a:cubicBezTo>
                      <a:pt x="3435" y="1727"/>
                      <a:pt x="3444" y="1726"/>
                      <a:pt x="3446" y="1722"/>
                    </a:cubicBezTo>
                    <a:cubicBezTo>
                      <a:pt x="3447" y="1719"/>
                      <a:pt x="3430" y="1722"/>
                      <a:pt x="3432" y="1724"/>
                    </a:cubicBezTo>
                    <a:close/>
                    <a:moveTo>
                      <a:pt x="3545" y="1794"/>
                    </a:moveTo>
                    <a:cubicBezTo>
                      <a:pt x="3539" y="1794"/>
                      <a:pt x="3528" y="1788"/>
                      <a:pt x="3526" y="1788"/>
                    </a:cubicBezTo>
                    <a:cubicBezTo>
                      <a:pt x="3523" y="1789"/>
                      <a:pt x="3535" y="1806"/>
                      <a:pt x="3531" y="1811"/>
                    </a:cubicBezTo>
                    <a:cubicBezTo>
                      <a:pt x="3528" y="1815"/>
                      <a:pt x="3542" y="1827"/>
                      <a:pt x="3546" y="1828"/>
                    </a:cubicBezTo>
                    <a:cubicBezTo>
                      <a:pt x="3551" y="1829"/>
                      <a:pt x="3549" y="1823"/>
                      <a:pt x="3553" y="1824"/>
                    </a:cubicBezTo>
                    <a:cubicBezTo>
                      <a:pt x="3556" y="1824"/>
                      <a:pt x="3555" y="1820"/>
                      <a:pt x="3555" y="1818"/>
                    </a:cubicBezTo>
                    <a:cubicBezTo>
                      <a:pt x="3556" y="1815"/>
                      <a:pt x="3559" y="1821"/>
                      <a:pt x="3562" y="1819"/>
                    </a:cubicBezTo>
                    <a:cubicBezTo>
                      <a:pt x="3564" y="1818"/>
                      <a:pt x="3561" y="1807"/>
                      <a:pt x="3565" y="1807"/>
                    </a:cubicBezTo>
                    <a:cubicBezTo>
                      <a:pt x="3569" y="1807"/>
                      <a:pt x="3566" y="1794"/>
                      <a:pt x="3564" y="1790"/>
                    </a:cubicBezTo>
                    <a:cubicBezTo>
                      <a:pt x="3563" y="1785"/>
                      <a:pt x="3552" y="1793"/>
                      <a:pt x="3545" y="1794"/>
                    </a:cubicBezTo>
                    <a:close/>
                    <a:moveTo>
                      <a:pt x="3860" y="1791"/>
                    </a:moveTo>
                    <a:cubicBezTo>
                      <a:pt x="3856" y="1789"/>
                      <a:pt x="3854" y="1792"/>
                      <a:pt x="3851" y="1794"/>
                    </a:cubicBezTo>
                    <a:cubicBezTo>
                      <a:pt x="3847" y="1796"/>
                      <a:pt x="3844" y="1786"/>
                      <a:pt x="3840" y="1790"/>
                    </a:cubicBezTo>
                    <a:cubicBezTo>
                      <a:pt x="3835" y="1793"/>
                      <a:pt x="3839" y="1795"/>
                      <a:pt x="3834" y="1799"/>
                    </a:cubicBezTo>
                    <a:cubicBezTo>
                      <a:pt x="3829" y="1804"/>
                      <a:pt x="3831" y="1805"/>
                      <a:pt x="3825" y="1815"/>
                    </a:cubicBezTo>
                    <a:cubicBezTo>
                      <a:pt x="3818" y="1825"/>
                      <a:pt x="3797" y="1830"/>
                      <a:pt x="3794" y="1836"/>
                    </a:cubicBezTo>
                    <a:cubicBezTo>
                      <a:pt x="3790" y="1841"/>
                      <a:pt x="3780" y="1845"/>
                      <a:pt x="3779" y="1849"/>
                    </a:cubicBezTo>
                    <a:cubicBezTo>
                      <a:pt x="3779" y="1853"/>
                      <a:pt x="3773" y="1856"/>
                      <a:pt x="3776" y="1861"/>
                    </a:cubicBezTo>
                    <a:cubicBezTo>
                      <a:pt x="3779" y="1866"/>
                      <a:pt x="3783" y="1863"/>
                      <a:pt x="3787" y="1866"/>
                    </a:cubicBezTo>
                    <a:cubicBezTo>
                      <a:pt x="3790" y="1869"/>
                      <a:pt x="3793" y="1866"/>
                      <a:pt x="3795" y="1869"/>
                    </a:cubicBezTo>
                    <a:cubicBezTo>
                      <a:pt x="3796" y="1872"/>
                      <a:pt x="3807" y="1872"/>
                      <a:pt x="3815" y="1864"/>
                    </a:cubicBezTo>
                    <a:cubicBezTo>
                      <a:pt x="3824" y="1857"/>
                      <a:pt x="3820" y="1853"/>
                      <a:pt x="3823" y="1851"/>
                    </a:cubicBezTo>
                    <a:cubicBezTo>
                      <a:pt x="3826" y="1849"/>
                      <a:pt x="3827" y="1843"/>
                      <a:pt x="3829" y="1840"/>
                    </a:cubicBezTo>
                    <a:cubicBezTo>
                      <a:pt x="3831" y="1836"/>
                      <a:pt x="3832" y="1832"/>
                      <a:pt x="3841" y="1832"/>
                    </a:cubicBezTo>
                    <a:cubicBezTo>
                      <a:pt x="3850" y="1832"/>
                      <a:pt x="3845" y="1830"/>
                      <a:pt x="3845" y="1826"/>
                    </a:cubicBezTo>
                    <a:cubicBezTo>
                      <a:pt x="3844" y="1822"/>
                      <a:pt x="3852" y="1821"/>
                      <a:pt x="3852" y="1815"/>
                    </a:cubicBezTo>
                    <a:cubicBezTo>
                      <a:pt x="3852" y="1810"/>
                      <a:pt x="3863" y="1805"/>
                      <a:pt x="3861" y="1801"/>
                    </a:cubicBezTo>
                    <a:cubicBezTo>
                      <a:pt x="3859" y="1796"/>
                      <a:pt x="3863" y="1794"/>
                      <a:pt x="3860" y="1791"/>
                    </a:cubicBezTo>
                    <a:close/>
                    <a:moveTo>
                      <a:pt x="3787" y="1878"/>
                    </a:moveTo>
                    <a:cubicBezTo>
                      <a:pt x="3789" y="1878"/>
                      <a:pt x="3795" y="1877"/>
                      <a:pt x="3792" y="1873"/>
                    </a:cubicBezTo>
                    <a:cubicBezTo>
                      <a:pt x="3788" y="1869"/>
                      <a:pt x="3783" y="1876"/>
                      <a:pt x="3787" y="1878"/>
                    </a:cubicBezTo>
                    <a:close/>
                    <a:moveTo>
                      <a:pt x="3900" y="1751"/>
                    </a:moveTo>
                    <a:cubicBezTo>
                      <a:pt x="3898" y="1755"/>
                      <a:pt x="3894" y="1750"/>
                      <a:pt x="3889" y="1750"/>
                    </a:cubicBezTo>
                    <a:cubicBezTo>
                      <a:pt x="3885" y="1750"/>
                      <a:pt x="3883" y="1747"/>
                      <a:pt x="3883" y="1743"/>
                    </a:cubicBezTo>
                    <a:cubicBezTo>
                      <a:pt x="3883" y="1740"/>
                      <a:pt x="3882" y="1734"/>
                      <a:pt x="3878" y="1734"/>
                    </a:cubicBezTo>
                    <a:cubicBezTo>
                      <a:pt x="3874" y="1735"/>
                      <a:pt x="3879" y="1739"/>
                      <a:pt x="3877" y="1741"/>
                    </a:cubicBezTo>
                    <a:cubicBezTo>
                      <a:pt x="3876" y="1743"/>
                      <a:pt x="3875" y="1738"/>
                      <a:pt x="3873" y="1738"/>
                    </a:cubicBezTo>
                    <a:cubicBezTo>
                      <a:pt x="3871" y="1738"/>
                      <a:pt x="3869" y="1736"/>
                      <a:pt x="3869" y="1731"/>
                    </a:cubicBezTo>
                    <a:cubicBezTo>
                      <a:pt x="3869" y="1726"/>
                      <a:pt x="3864" y="1726"/>
                      <a:pt x="3864" y="1720"/>
                    </a:cubicBezTo>
                    <a:cubicBezTo>
                      <a:pt x="3864" y="1715"/>
                      <a:pt x="3855" y="1710"/>
                      <a:pt x="3850" y="1710"/>
                    </a:cubicBezTo>
                    <a:cubicBezTo>
                      <a:pt x="3845" y="1710"/>
                      <a:pt x="3851" y="1719"/>
                      <a:pt x="3854" y="1722"/>
                    </a:cubicBezTo>
                    <a:cubicBezTo>
                      <a:pt x="3856" y="1725"/>
                      <a:pt x="3862" y="1728"/>
                      <a:pt x="3862" y="1730"/>
                    </a:cubicBezTo>
                    <a:cubicBezTo>
                      <a:pt x="3861" y="1732"/>
                      <a:pt x="3865" y="1738"/>
                      <a:pt x="3868" y="1739"/>
                    </a:cubicBezTo>
                    <a:cubicBezTo>
                      <a:pt x="3871" y="1740"/>
                      <a:pt x="3867" y="1749"/>
                      <a:pt x="3867" y="1756"/>
                    </a:cubicBezTo>
                    <a:cubicBezTo>
                      <a:pt x="3867" y="1763"/>
                      <a:pt x="3861" y="1762"/>
                      <a:pt x="3857" y="1766"/>
                    </a:cubicBezTo>
                    <a:cubicBezTo>
                      <a:pt x="3854" y="1771"/>
                      <a:pt x="3867" y="1775"/>
                      <a:pt x="3872" y="1780"/>
                    </a:cubicBezTo>
                    <a:cubicBezTo>
                      <a:pt x="3878" y="1784"/>
                      <a:pt x="3868" y="1795"/>
                      <a:pt x="3869" y="1798"/>
                    </a:cubicBezTo>
                    <a:cubicBezTo>
                      <a:pt x="3870" y="1799"/>
                      <a:pt x="3874" y="1801"/>
                      <a:pt x="3879" y="1799"/>
                    </a:cubicBezTo>
                    <a:cubicBezTo>
                      <a:pt x="3885" y="1798"/>
                      <a:pt x="3888" y="1785"/>
                      <a:pt x="3892" y="1782"/>
                    </a:cubicBezTo>
                    <a:cubicBezTo>
                      <a:pt x="3896" y="1778"/>
                      <a:pt x="3893" y="1773"/>
                      <a:pt x="3895" y="1770"/>
                    </a:cubicBezTo>
                    <a:cubicBezTo>
                      <a:pt x="3897" y="1767"/>
                      <a:pt x="3900" y="1767"/>
                      <a:pt x="3903" y="1767"/>
                    </a:cubicBezTo>
                    <a:cubicBezTo>
                      <a:pt x="3906" y="1767"/>
                      <a:pt x="3904" y="1761"/>
                      <a:pt x="3908" y="1761"/>
                    </a:cubicBezTo>
                    <a:cubicBezTo>
                      <a:pt x="3911" y="1761"/>
                      <a:pt x="3909" y="1756"/>
                      <a:pt x="3911" y="1751"/>
                    </a:cubicBezTo>
                    <a:cubicBezTo>
                      <a:pt x="3913" y="1745"/>
                      <a:pt x="3903" y="1747"/>
                      <a:pt x="3900" y="1751"/>
                    </a:cubicBezTo>
                    <a:close/>
                    <a:moveTo>
                      <a:pt x="3900" y="1506"/>
                    </a:moveTo>
                    <a:cubicBezTo>
                      <a:pt x="3904" y="1510"/>
                      <a:pt x="3912" y="1510"/>
                      <a:pt x="3913" y="1502"/>
                    </a:cubicBezTo>
                    <a:cubicBezTo>
                      <a:pt x="3913" y="1495"/>
                      <a:pt x="3896" y="1502"/>
                      <a:pt x="3900" y="1506"/>
                    </a:cubicBezTo>
                    <a:close/>
                    <a:moveTo>
                      <a:pt x="3915" y="1493"/>
                    </a:moveTo>
                    <a:cubicBezTo>
                      <a:pt x="3918" y="1494"/>
                      <a:pt x="3927" y="1491"/>
                      <a:pt x="3927" y="1486"/>
                    </a:cubicBezTo>
                    <a:cubicBezTo>
                      <a:pt x="3927" y="1482"/>
                      <a:pt x="3911" y="1491"/>
                      <a:pt x="3915" y="1493"/>
                    </a:cubicBezTo>
                    <a:close/>
                    <a:moveTo>
                      <a:pt x="398" y="613"/>
                    </a:moveTo>
                    <a:cubicBezTo>
                      <a:pt x="389" y="618"/>
                      <a:pt x="411" y="641"/>
                      <a:pt x="416" y="638"/>
                    </a:cubicBezTo>
                    <a:cubicBezTo>
                      <a:pt x="419" y="636"/>
                      <a:pt x="410" y="627"/>
                      <a:pt x="410" y="621"/>
                    </a:cubicBezTo>
                    <a:cubicBezTo>
                      <a:pt x="410" y="615"/>
                      <a:pt x="407" y="609"/>
                      <a:pt x="398" y="613"/>
                    </a:cubicBezTo>
                    <a:close/>
                    <a:moveTo>
                      <a:pt x="1498" y="1353"/>
                    </a:moveTo>
                    <a:cubicBezTo>
                      <a:pt x="1493" y="1353"/>
                      <a:pt x="1484" y="1352"/>
                      <a:pt x="1471" y="1338"/>
                    </a:cubicBezTo>
                    <a:cubicBezTo>
                      <a:pt x="1459" y="1325"/>
                      <a:pt x="1447" y="1326"/>
                      <a:pt x="1438" y="1328"/>
                    </a:cubicBezTo>
                    <a:cubicBezTo>
                      <a:pt x="1430" y="1330"/>
                      <a:pt x="1422" y="1324"/>
                      <a:pt x="1416" y="1323"/>
                    </a:cubicBezTo>
                    <a:cubicBezTo>
                      <a:pt x="1411" y="1322"/>
                      <a:pt x="1405" y="1329"/>
                      <a:pt x="1401" y="1330"/>
                    </a:cubicBezTo>
                    <a:cubicBezTo>
                      <a:pt x="1397" y="1332"/>
                      <a:pt x="1403" y="1324"/>
                      <a:pt x="1404" y="1319"/>
                    </a:cubicBezTo>
                    <a:cubicBezTo>
                      <a:pt x="1404" y="1315"/>
                      <a:pt x="1389" y="1308"/>
                      <a:pt x="1377" y="1303"/>
                    </a:cubicBezTo>
                    <a:cubicBezTo>
                      <a:pt x="1366" y="1299"/>
                      <a:pt x="1361" y="1301"/>
                      <a:pt x="1361" y="1308"/>
                    </a:cubicBezTo>
                    <a:cubicBezTo>
                      <a:pt x="1361" y="1316"/>
                      <a:pt x="1356" y="1306"/>
                      <a:pt x="1353" y="1314"/>
                    </a:cubicBezTo>
                    <a:cubicBezTo>
                      <a:pt x="1349" y="1322"/>
                      <a:pt x="1343" y="1317"/>
                      <a:pt x="1347" y="1314"/>
                    </a:cubicBezTo>
                    <a:cubicBezTo>
                      <a:pt x="1351" y="1312"/>
                      <a:pt x="1355" y="1306"/>
                      <a:pt x="1357" y="1301"/>
                    </a:cubicBezTo>
                    <a:cubicBezTo>
                      <a:pt x="1358" y="1296"/>
                      <a:pt x="1340" y="1293"/>
                      <a:pt x="1334" y="1295"/>
                    </a:cubicBezTo>
                    <a:cubicBezTo>
                      <a:pt x="1328" y="1298"/>
                      <a:pt x="1332" y="1307"/>
                      <a:pt x="1327" y="1304"/>
                    </a:cubicBezTo>
                    <a:cubicBezTo>
                      <a:pt x="1322" y="1301"/>
                      <a:pt x="1326" y="1294"/>
                      <a:pt x="1330" y="1295"/>
                    </a:cubicBezTo>
                    <a:cubicBezTo>
                      <a:pt x="1334" y="1295"/>
                      <a:pt x="1338" y="1287"/>
                      <a:pt x="1341" y="1281"/>
                    </a:cubicBezTo>
                    <a:cubicBezTo>
                      <a:pt x="1344" y="1275"/>
                      <a:pt x="1336" y="1274"/>
                      <a:pt x="1332" y="1269"/>
                    </a:cubicBezTo>
                    <a:cubicBezTo>
                      <a:pt x="1327" y="1264"/>
                      <a:pt x="1328" y="1249"/>
                      <a:pt x="1323" y="1247"/>
                    </a:cubicBezTo>
                    <a:cubicBezTo>
                      <a:pt x="1319" y="1245"/>
                      <a:pt x="1311" y="1233"/>
                      <a:pt x="1304" y="1232"/>
                    </a:cubicBezTo>
                    <a:cubicBezTo>
                      <a:pt x="1297" y="1230"/>
                      <a:pt x="1289" y="1225"/>
                      <a:pt x="1283" y="1226"/>
                    </a:cubicBezTo>
                    <a:cubicBezTo>
                      <a:pt x="1277" y="1227"/>
                      <a:pt x="1271" y="1230"/>
                      <a:pt x="1269" y="1226"/>
                    </a:cubicBezTo>
                    <a:cubicBezTo>
                      <a:pt x="1267" y="1223"/>
                      <a:pt x="1263" y="1224"/>
                      <a:pt x="1260" y="1226"/>
                    </a:cubicBezTo>
                    <a:cubicBezTo>
                      <a:pt x="1257" y="1229"/>
                      <a:pt x="1252" y="1217"/>
                      <a:pt x="1249" y="1217"/>
                    </a:cubicBezTo>
                    <a:cubicBezTo>
                      <a:pt x="1246" y="1217"/>
                      <a:pt x="1242" y="1215"/>
                      <a:pt x="1243" y="1210"/>
                    </a:cubicBezTo>
                    <a:cubicBezTo>
                      <a:pt x="1244" y="1206"/>
                      <a:pt x="1236" y="1206"/>
                      <a:pt x="1232" y="1201"/>
                    </a:cubicBezTo>
                    <a:cubicBezTo>
                      <a:pt x="1228" y="1196"/>
                      <a:pt x="1216" y="1196"/>
                      <a:pt x="1211" y="1197"/>
                    </a:cubicBezTo>
                    <a:cubicBezTo>
                      <a:pt x="1207" y="1197"/>
                      <a:pt x="1214" y="1192"/>
                      <a:pt x="1214" y="1187"/>
                    </a:cubicBezTo>
                    <a:cubicBezTo>
                      <a:pt x="1215" y="1183"/>
                      <a:pt x="1202" y="1182"/>
                      <a:pt x="1198" y="1181"/>
                    </a:cubicBezTo>
                    <a:cubicBezTo>
                      <a:pt x="1193" y="1180"/>
                      <a:pt x="1194" y="1175"/>
                      <a:pt x="1199" y="1175"/>
                    </a:cubicBezTo>
                    <a:cubicBezTo>
                      <a:pt x="1204" y="1175"/>
                      <a:pt x="1196" y="1171"/>
                      <a:pt x="1190" y="1172"/>
                    </a:cubicBezTo>
                    <a:cubicBezTo>
                      <a:pt x="1183" y="1173"/>
                      <a:pt x="1173" y="1177"/>
                      <a:pt x="1168" y="1180"/>
                    </a:cubicBezTo>
                    <a:cubicBezTo>
                      <a:pt x="1162" y="1183"/>
                      <a:pt x="1153" y="1171"/>
                      <a:pt x="1147" y="1174"/>
                    </a:cubicBezTo>
                    <a:cubicBezTo>
                      <a:pt x="1140" y="1176"/>
                      <a:pt x="1132" y="1176"/>
                      <a:pt x="1132" y="1171"/>
                    </a:cubicBezTo>
                    <a:cubicBezTo>
                      <a:pt x="1132" y="1166"/>
                      <a:pt x="1129" y="1162"/>
                      <a:pt x="1123" y="1162"/>
                    </a:cubicBezTo>
                    <a:cubicBezTo>
                      <a:pt x="1117" y="1163"/>
                      <a:pt x="1118" y="1156"/>
                      <a:pt x="1114" y="1156"/>
                    </a:cubicBezTo>
                    <a:cubicBezTo>
                      <a:pt x="1109" y="1156"/>
                      <a:pt x="1114" y="1162"/>
                      <a:pt x="1110" y="1163"/>
                    </a:cubicBezTo>
                    <a:cubicBezTo>
                      <a:pt x="1107" y="1165"/>
                      <a:pt x="1096" y="1168"/>
                      <a:pt x="1095" y="1172"/>
                    </a:cubicBezTo>
                    <a:cubicBezTo>
                      <a:pt x="1094" y="1177"/>
                      <a:pt x="1101" y="1184"/>
                      <a:pt x="1099" y="1189"/>
                    </a:cubicBezTo>
                    <a:cubicBezTo>
                      <a:pt x="1097" y="1193"/>
                      <a:pt x="1089" y="1189"/>
                      <a:pt x="1087" y="1185"/>
                    </a:cubicBezTo>
                    <a:cubicBezTo>
                      <a:pt x="1085" y="1180"/>
                      <a:pt x="1093" y="1173"/>
                      <a:pt x="1092" y="1170"/>
                    </a:cubicBezTo>
                    <a:cubicBezTo>
                      <a:pt x="1090" y="1167"/>
                      <a:pt x="1088" y="1161"/>
                      <a:pt x="1093" y="1160"/>
                    </a:cubicBezTo>
                    <a:cubicBezTo>
                      <a:pt x="1098" y="1159"/>
                      <a:pt x="1101" y="1156"/>
                      <a:pt x="1096" y="1153"/>
                    </a:cubicBezTo>
                    <a:cubicBezTo>
                      <a:pt x="1091" y="1150"/>
                      <a:pt x="1088" y="1158"/>
                      <a:pt x="1083" y="1159"/>
                    </a:cubicBezTo>
                    <a:cubicBezTo>
                      <a:pt x="1078" y="1160"/>
                      <a:pt x="1077" y="1163"/>
                      <a:pt x="1073" y="1165"/>
                    </a:cubicBezTo>
                    <a:cubicBezTo>
                      <a:pt x="1070" y="1166"/>
                      <a:pt x="1063" y="1165"/>
                      <a:pt x="1063" y="1168"/>
                    </a:cubicBezTo>
                    <a:cubicBezTo>
                      <a:pt x="1063" y="1171"/>
                      <a:pt x="1061" y="1168"/>
                      <a:pt x="1058" y="1167"/>
                    </a:cubicBezTo>
                    <a:cubicBezTo>
                      <a:pt x="1055" y="1166"/>
                      <a:pt x="1047" y="1173"/>
                      <a:pt x="1047" y="1177"/>
                    </a:cubicBezTo>
                    <a:cubicBezTo>
                      <a:pt x="1048" y="1181"/>
                      <a:pt x="1049" y="1184"/>
                      <a:pt x="1043" y="1188"/>
                    </a:cubicBezTo>
                    <a:cubicBezTo>
                      <a:pt x="1038" y="1191"/>
                      <a:pt x="1035" y="1198"/>
                      <a:pt x="1032" y="1201"/>
                    </a:cubicBezTo>
                    <a:cubicBezTo>
                      <a:pt x="1030" y="1204"/>
                      <a:pt x="1027" y="1198"/>
                      <a:pt x="1023" y="1192"/>
                    </a:cubicBezTo>
                    <a:cubicBezTo>
                      <a:pt x="1019" y="1186"/>
                      <a:pt x="1011" y="1187"/>
                      <a:pt x="1007" y="1185"/>
                    </a:cubicBezTo>
                    <a:cubicBezTo>
                      <a:pt x="1002" y="1183"/>
                      <a:pt x="997" y="1186"/>
                      <a:pt x="991" y="1191"/>
                    </a:cubicBezTo>
                    <a:cubicBezTo>
                      <a:pt x="985" y="1196"/>
                      <a:pt x="978" y="1193"/>
                      <a:pt x="973" y="1190"/>
                    </a:cubicBezTo>
                    <a:cubicBezTo>
                      <a:pt x="968" y="1188"/>
                      <a:pt x="956" y="1172"/>
                      <a:pt x="954" y="1169"/>
                    </a:cubicBezTo>
                    <a:cubicBezTo>
                      <a:pt x="953" y="1166"/>
                      <a:pt x="956" y="1159"/>
                      <a:pt x="957" y="1154"/>
                    </a:cubicBezTo>
                    <a:cubicBezTo>
                      <a:pt x="959" y="1150"/>
                      <a:pt x="956" y="1138"/>
                      <a:pt x="959" y="1135"/>
                    </a:cubicBezTo>
                    <a:cubicBezTo>
                      <a:pt x="961" y="1132"/>
                      <a:pt x="960" y="1130"/>
                      <a:pt x="961" y="1123"/>
                    </a:cubicBezTo>
                    <a:cubicBezTo>
                      <a:pt x="962" y="1116"/>
                      <a:pt x="954" y="1119"/>
                      <a:pt x="949" y="1113"/>
                    </a:cubicBezTo>
                    <a:cubicBezTo>
                      <a:pt x="943" y="1108"/>
                      <a:pt x="931" y="1110"/>
                      <a:pt x="925" y="1113"/>
                    </a:cubicBezTo>
                    <a:cubicBezTo>
                      <a:pt x="918" y="1115"/>
                      <a:pt x="911" y="1110"/>
                      <a:pt x="904" y="1114"/>
                    </a:cubicBezTo>
                    <a:cubicBezTo>
                      <a:pt x="897" y="1118"/>
                      <a:pt x="898" y="1109"/>
                      <a:pt x="902" y="1106"/>
                    </a:cubicBezTo>
                    <a:cubicBezTo>
                      <a:pt x="907" y="1102"/>
                      <a:pt x="900" y="1088"/>
                      <a:pt x="905" y="1087"/>
                    </a:cubicBezTo>
                    <a:cubicBezTo>
                      <a:pt x="911" y="1086"/>
                      <a:pt x="912" y="1077"/>
                      <a:pt x="913" y="1070"/>
                    </a:cubicBezTo>
                    <a:cubicBezTo>
                      <a:pt x="914" y="1064"/>
                      <a:pt x="911" y="1061"/>
                      <a:pt x="915" y="1058"/>
                    </a:cubicBezTo>
                    <a:cubicBezTo>
                      <a:pt x="918" y="1054"/>
                      <a:pt x="922" y="1054"/>
                      <a:pt x="921" y="1048"/>
                    </a:cubicBezTo>
                    <a:cubicBezTo>
                      <a:pt x="920" y="1043"/>
                      <a:pt x="915" y="1048"/>
                      <a:pt x="911" y="1046"/>
                    </a:cubicBezTo>
                    <a:cubicBezTo>
                      <a:pt x="907" y="1043"/>
                      <a:pt x="904" y="1045"/>
                      <a:pt x="894" y="1047"/>
                    </a:cubicBezTo>
                    <a:cubicBezTo>
                      <a:pt x="883" y="1048"/>
                      <a:pt x="879" y="1052"/>
                      <a:pt x="879" y="1060"/>
                    </a:cubicBezTo>
                    <a:cubicBezTo>
                      <a:pt x="880" y="1067"/>
                      <a:pt x="876" y="1064"/>
                      <a:pt x="876" y="1070"/>
                    </a:cubicBezTo>
                    <a:cubicBezTo>
                      <a:pt x="876" y="1076"/>
                      <a:pt x="868" y="1076"/>
                      <a:pt x="868" y="1080"/>
                    </a:cubicBezTo>
                    <a:cubicBezTo>
                      <a:pt x="869" y="1084"/>
                      <a:pt x="862" y="1080"/>
                      <a:pt x="860" y="1079"/>
                    </a:cubicBezTo>
                    <a:cubicBezTo>
                      <a:pt x="858" y="1078"/>
                      <a:pt x="836" y="1084"/>
                      <a:pt x="833" y="1085"/>
                    </a:cubicBezTo>
                    <a:cubicBezTo>
                      <a:pt x="830" y="1085"/>
                      <a:pt x="825" y="1078"/>
                      <a:pt x="821" y="1079"/>
                    </a:cubicBezTo>
                    <a:cubicBezTo>
                      <a:pt x="816" y="1079"/>
                      <a:pt x="815" y="1072"/>
                      <a:pt x="814" y="1067"/>
                    </a:cubicBezTo>
                    <a:cubicBezTo>
                      <a:pt x="814" y="1062"/>
                      <a:pt x="806" y="1057"/>
                      <a:pt x="802" y="1052"/>
                    </a:cubicBezTo>
                    <a:cubicBezTo>
                      <a:pt x="799" y="1048"/>
                      <a:pt x="798" y="1037"/>
                      <a:pt x="798" y="1030"/>
                    </a:cubicBezTo>
                    <a:cubicBezTo>
                      <a:pt x="798" y="1024"/>
                      <a:pt x="797" y="1012"/>
                      <a:pt x="802" y="999"/>
                    </a:cubicBezTo>
                    <a:cubicBezTo>
                      <a:pt x="806" y="986"/>
                      <a:pt x="793" y="984"/>
                      <a:pt x="799" y="980"/>
                    </a:cubicBezTo>
                    <a:cubicBezTo>
                      <a:pt x="806" y="975"/>
                      <a:pt x="799" y="971"/>
                      <a:pt x="802" y="969"/>
                    </a:cubicBezTo>
                    <a:cubicBezTo>
                      <a:pt x="805" y="967"/>
                      <a:pt x="810" y="965"/>
                      <a:pt x="810" y="962"/>
                    </a:cubicBezTo>
                    <a:cubicBezTo>
                      <a:pt x="810" y="959"/>
                      <a:pt x="813" y="959"/>
                      <a:pt x="817" y="959"/>
                    </a:cubicBezTo>
                    <a:cubicBezTo>
                      <a:pt x="821" y="960"/>
                      <a:pt x="829" y="953"/>
                      <a:pt x="828" y="950"/>
                    </a:cubicBezTo>
                    <a:cubicBezTo>
                      <a:pt x="828" y="947"/>
                      <a:pt x="829" y="947"/>
                      <a:pt x="834" y="948"/>
                    </a:cubicBezTo>
                    <a:cubicBezTo>
                      <a:pt x="838" y="949"/>
                      <a:pt x="838" y="942"/>
                      <a:pt x="841" y="943"/>
                    </a:cubicBezTo>
                    <a:cubicBezTo>
                      <a:pt x="844" y="944"/>
                      <a:pt x="846" y="946"/>
                      <a:pt x="846" y="944"/>
                    </a:cubicBezTo>
                    <a:cubicBezTo>
                      <a:pt x="847" y="942"/>
                      <a:pt x="850" y="942"/>
                      <a:pt x="852" y="945"/>
                    </a:cubicBezTo>
                    <a:cubicBezTo>
                      <a:pt x="854" y="948"/>
                      <a:pt x="861" y="949"/>
                      <a:pt x="861" y="945"/>
                    </a:cubicBezTo>
                    <a:cubicBezTo>
                      <a:pt x="862" y="942"/>
                      <a:pt x="865" y="945"/>
                      <a:pt x="869" y="949"/>
                    </a:cubicBezTo>
                    <a:cubicBezTo>
                      <a:pt x="872" y="952"/>
                      <a:pt x="873" y="951"/>
                      <a:pt x="878" y="952"/>
                    </a:cubicBezTo>
                    <a:cubicBezTo>
                      <a:pt x="883" y="952"/>
                      <a:pt x="883" y="951"/>
                      <a:pt x="883" y="948"/>
                    </a:cubicBezTo>
                    <a:cubicBezTo>
                      <a:pt x="883" y="945"/>
                      <a:pt x="888" y="954"/>
                      <a:pt x="893" y="955"/>
                    </a:cubicBezTo>
                    <a:cubicBezTo>
                      <a:pt x="898" y="955"/>
                      <a:pt x="894" y="952"/>
                      <a:pt x="891" y="949"/>
                    </a:cubicBezTo>
                    <a:cubicBezTo>
                      <a:pt x="887" y="946"/>
                      <a:pt x="891" y="945"/>
                      <a:pt x="888" y="943"/>
                    </a:cubicBezTo>
                    <a:cubicBezTo>
                      <a:pt x="885" y="940"/>
                      <a:pt x="892" y="937"/>
                      <a:pt x="898" y="938"/>
                    </a:cubicBezTo>
                    <a:cubicBezTo>
                      <a:pt x="904" y="938"/>
                      <a:pt x="904" y="939"/>
                      <a:pt x="906" y="936"/>
                    </a:cubicBezTo>
                    <a:cubicBezTo>
                      <a:pt x="908" y="932"/>
                      <a:pt x="911" y="936"/>
                      <a:pt x="911" y="939"/>
                    </a:cubicBezTo>
                    <a:cubicBezTo>
                      <a:pt x="911" y="942"/>
                      <a:pt x="920" y="937"/>
                      <a:pt x="926" y="937"/>
                    </a:cubicBezTo>
                    <a:cubicBezTo>
                      <a:pt x="931" y="937"/>
                      <a:pt x="936" y="942"/>
                      <a:pt x="936" y="945"/>
                    </a:cubicBezTo>
                    <a:cubicBezTo>
                      <a:pt x="937" y="948"/>
                      <a:pt x="940" y="949"/>
                      <a:pt x="944" y="946"/>
                    </a:cubicBezTo>
                    <a:cubicBezTo>
                      <a:pt x="948" y="943"/>
                      <a:pt x="951" y="939"/>
                      <a:pt x="954" y="942"/>
                    </a:cubicBezTo>
                    <a:cubicBezTo>
                      <a:pt x="958" y="946"/>
                      <a:pt x="961" y="951"/>
                      <a:pt x="966" y="955"/>
                    </a:cubicBezTo>
                    <a:cubicBezTo>
                      <a:pt x="970" y="959"/>
                      <a:pt x="964" y="964"/>
                      <a:pt x="966" y="968"/>
                    </a:cubicBezTo>
                    <a:cubicBezTo>
                      <a:pt x="968" y="971"/>
                      <a:pt x="966" y="975"/>
                      <a:pt x="971" y="979"/>
                    </a:cubicBezTo>
                    <a:cubicBezTo>
                      <a:pt x="976" y="982"/>
                      <a:pt x="971" y="990"/>
                      <a:pt x="975" y="991"/>
                    </a:cubicBezTo>
                    <a:cubicBezTo>
                      <a:pt x="979" y="992"/>
                      <a:pt x="982" y="998"/>
                      <a:pt x="983" y="1000"/>
                    </a:cubicBezTo>
                    <a:cubicBezTo>
                      <a:pt x="983" y="1003"/>
                      <a:pt x="991" y="1006"/>
                      <a:pt x="991" y="1002"/>
                    </a:cubicBezTo>
                    <a:cubicBezTo>
                      <a:pt x="992" y="998"/>
                      <a:pt x="996" y="993"/>
                      <a:pt x="996" y="989"/>
                    </a:cubicBezTo>
                    <a:cubicBezTo>
                      <a:pt x="997" y="985"/>
                      <a:pt x="993" y="970"/>
                      <a:pt x="990" y="966"/>
                    </a:cubicBezTo>
                    <a:cubicBezTo>
                      <a:pt x="987" y="961"/>
                      <a:pt x="991" y="960"/>
                      <a:pt x="987" y="955"/>
                    </a:cubicBezTo>
                    <a:cubicBezTo>
                      <a:pt x="983" y="950"/>
                      <a:pt x="980" y="941"/>
                      <a:pt x="981" y="933"/>
                    </a:cubicBezTo>
                    <a:cubicBezTo>
                      <a:pt x="981" y="926"/>
                      <a:pt x="990" y="913"/>
                      <a:pt x="994" y="910"/>
                    </a:cubicBezTo>
                    <a:cubicBezTo>
                      <a:pt x="998" y="906"/>
                      <a:pt x="1003" y="908"/>
                      <a:pt x="1004" y="904"/>
                    </a:cubicBezTo>
                    <a:cubicBezTo>
                      <a:pt x="1005" y="900"/>
                      <a:pt x="1010" y="895"/>
                      <a:pt x="1013" y="895"/>
                    </a:cubicBezTo>
                    <a:cubicBezTo>
                      <a:pt x="1016" y="895"/>
                      <a:pt x="1019" y="896"/>
                      <a:pt x="1020" y="892"/>
                    </a:cubicBezTo>
                    <a:cubicBezTo>
                      <a:pt x="1020" y="889"/>
                      <a:pt x="1025" y="885"/>
                      <a:pt x="1032" y="884"/>
                    </a:cubicBezTo>
                    <a:cubicBezTo>
                      <a:pt x="1038" y="883"/>
                      <a:pt x="1035" y="880"/>
                      <a:pt x="1033" y="877"/>
                    </a:cubicBezTo>
                    <a:cubicBezTo>
                      <a:pt x="1031" y="874"/>
                      <a:pt x="1034" y="871"/>
                      <a:pt x="1036" y="873"/>
                    </a:cubicBezTo>
                    <a:cubicBezTo>
                      <a:pt x="1037" y="875"/>
                      <a:pt x="1041" y="875"/>
                      <a:pt x="1043" y="873"/>
                    </a:cubicBezTo>
                    <a:cubicBezTo>
                      <a:pt x="1046" y="871"/>
                      <a:pt x="1052" y="867"/>
                      <a:pt x="1046" y="866"/>
                    </a:cubicBezTo>
                    <a:cubicBezTo>
                      <a:pt x="1041" y="866"/>
                      <a:pt x="1039" y="864"/>
                      <a:pt x="1043" y="863"/>
                    </a:cubicBezTo>
                    <a:cubicBezTo>
                      <a:pt x="1046" y="861"/>
                      <a:pt x="1043" y="855"/>
                      <a:pt x="1039" y="855"/>
                    </a:cubicBezTo>
                    <a:cubicBezTo>
                      <a:pt x="1034" y="854"/>
                      <a:pt x="1036" y="852"/>
                      <a:pt x="1038" y="849"/>
                    </a:cubicBezTo>
                    <a:cubicBezTo>
                      <a:pt x="1041" y="847"/>
                      <a:pt x="1034" y="842"/>
                      <a:pt x="1031" y="840"/>
                    </a:cubicBezTo>
                    <a:cubicBezTo>
                      <a:pt x="1028" y="838"/>
                      <a:pt x="1033" y="836"/>
                      <a:pt x="1036" y="836"/>
                    </a:cubicBezTo>
                    <a:cubicBezTo>
                      <a:pt x="1038" y="835"/>
                      <a:pt x="1036" y="824"/>
                      <a:pt x="1037" y="821"/>
                    </a:cubicBezTo>
                    <a:cubicBezTo>
                      <a:pt x="1039" y="818"/>
                      <a:pt x="1043" y="818"/>
                      <a:pt x="1041" y="821"/>
                    </a:cubicBezTo>
                    <a:cubicBezTo>
                      <a:pt x="1039" y="824"/>
                      <a:pt x="1037" y="828"/>
                      <a:pt x="1040" y="832"/>
                    </a:cubicBezTo>
                    <a:cubicBezTo>
                      <a:pt x="1043" y="836"/>
                      <a:pt x="1044" y="840"/>
                      <a:pt x="1043" y="846"/>
                    </a:cubicBezTo>
                    <a:cubicBezTo>
                      <a:pt x="1042" y="851"/>
                      <a:pt x="1044" y="850"/>
                      <a:pt x="1048" y="842"/>
                    </a:cubicBezTo>
                    <a:cubicBezTo>
                      <a:pt x="1052" y="835"/>
                      <a:pt x="1052" y="828"/>
                      <a:pt x="1050" y="828"/>
                    </a:cubicBezTo>
                    <a:cubicBezTo>
                      <a:pt x="1047" y="827"/>
                      <a:pt x="1048" y="819"/>
                      <a:pt x="1050" y="823"/>
                    </a:cubicBezTo>
                    <a:cubicBezTo>
                      <a:pt x="1053" y="826"/>
                      <a:pt x="1054" y="827"/>
                      <a:pt x="1058" y="822"/>
                    </a:cubicBezTo>
                    <a:cubicBezTo>
                      <a:pt x="1063" y="818"/>
                      <a:pt x="1067" y="810"/>
                      <a:pt x="1064" y="808"/>
                    </a:cubicBezTo>
                    <a:cubicBezTo>
                      <a:pt x="1062" y="807"/>
                      <a:pt x="1066" y="805"/>
                      <a:pt x="1071" y="805"/>
                    </a:cubicBezTo>
                    <a:cubicBezTo>
                      <a:pt x="1076" y="805"/>
                      <a:pt x="1086" y="802"/>
                      <a:pt x="1087" y="801"/>
                    </a:cubicBezTo>
                    <a:cubicBezTo>
                      <a:pt x="1090" y="796"/>
                      <a:pt x="1070" y="803"/>
                      <a:pt x="1070" y="800"/>
                    </a:cubicBezTo>
                    <a:cubicBezTo>
                      <a:pt x="1070" y="797"/>
                      <a:pt x="1082" y="795"/>
                      <a:pt x="1088" y="794"/>
                    </a:cubicBezTo>
                    <a:cubicBezTo>
                      <a:pt x="1094" y="794"/>
                      <a:pt x="1091" y="786"/>
                      <a:pt x="1094" y="790"/>
                    </a:cubicBezTo>
                    <a:cubicBezTo>
                      <a:pt x="1096" y="793"/>
                      <a:pt x="1100" y="792"/>
                      <a:pt x="1103" y="790"/>
                    </a:cubicBezTo>
                    <a:cubicBezTo>
                      <a:pt x="1106" y="788"/>
                      <a:pt x="1104" y="783"/>
                      <a:pt x="1100" y="782"/>
                    </a:cubicBezTo>
                    <a:cubicBezTo>
                      <a:pt x="1096" y="781"/>
                      <a:pt x="1103" y="778"/>
                      <a:pt x="1102" y="776"/>
                    </a:cubicBezTo>
                    <a:cubicBezTo>
                      <a:pt x="1100" y="774"/>
                      <a:pt x="1104" y="765"/>
                      <a:pt x="1109" y="764"/>
                    </a:cubicBezTo>
                    <a:cubicBezTo>
                      <a:pt x="1114" y="763"/>
                      <a:pt x="1111" y="760"/>
                      <a:pt x="1115" y="760"/>
                    </a:cubicBezTo>
                    <a:cubicBezTo>
                      <a:pt x="1119" y="760"/>
                      <a:pt x="1120" y="755"/>
                      <a:pt x="1124" y="751"/>
                    </a:cubicBezTo>
                    <a:cubicBezTo>
                      <a:pt x="1127" y="748"/>
                      <a:pt x="1132" y="757"/>
                      <a:pt x="1138" y="752"/>
                    </a:cubicBezTo>
                    <a:cubicBezTo>
                      <a:pt x="1143" y="747"/>
                      <a:pt x="1153" y="740"/>
                      <a:pt x="1158" y="741"/>
                    </a:cubicBezTo>
                    <a:cubicBezTo>
                      <a:pt x="1162" y="741"/>
                      <a:pt x="1169" y="735"/>
                      <a:pt x="1171" y="731"/>
                    </a:cubicBezTo>
                    <a:cubicBezTo>
                      <a:pt x="1173" y="727"/>
                      <a:pt x="1176" y="735"/>
                      <a:pt x="1172" y="736"/>
                    </a:cubicBezTo>
                    <a:cubicBezTo>
                      <a:pt x="1168" y="737"/>
                      <a:pt x="1175" y="740"/>
                      <a:pt x="1182" y="740"/>
                    </a:cubicBezTo>
                    <a:cubicBezTo>
                      <a:pt x="1189" y="740"/>
                      <a:pt x="1179" y="742"/>
                      <a:pt x="1174" y="742"/>
                    </a:cubicBezTo>
                    <a:cubicBezTo>
                      <a:pt x="1168" y="742"/>
                      <a:pt x="1166" y="743"/>
                      <a:pt x="1159" y="750"/>
                    </a:cubicBezTo>
                    <a:cubicBezTo>
                      <a:pt x="1152" y="757"/>
                      <a:pt x="1154" y="759"/>
                      <a:pt x="1158" y="762"/>
                    </a:cubicBezTo>
                    <a:cubicBezTo>
                      <a:pt x="1162" y="766"/>
                      <a:pt x="1167" y="764"/>
                      <a:pt x="1173" y="759"/>
                    </a:cubicBezTo>
                    <a:cubicBezTo>
                      <a:pt x="1178" y="755"/>
                      <a:pt x="1178" y="750"/>
                      <a:pt x="1183" y="750"/>
                    </a:cubicBezTo>
                    <a:cubicBezTo>
                      <a:pt x="1189" y="750"/>
                      <a:pt x="1203" y="745"/>
                      <a:pt x="1209" y="743"/>
                    </a:cubicBezTo>
                    <a:cubicBezTo>
                      <a:pt x="1216" y="741"/>
                      <a:pt x="1212" y="740"/>
                      <a:pt x="1212" y="737"/>
                    </a:cubicBezTo>
                    <a:cubicBezTo>
                      <a:pt x="1212" y="735"/>
                      <a:pt x="1223" y="735"/>
                      <a:pt x="1227" y="732"/>
                    </a:cubicBezTo>
                    <a:cubicBezTo>
                      <a:pt x="1231" y="729"/>
                      <a:pt x="1226" y="727"/>
                      <a:pt x="1222" y="727"/>
                    </a:cubicBezTo>
                    <a:cubicBezTo>
                      <a:pt x="1219" y="728"/>
                      <a:pt x="1222" y="722"/>
                      <a:pt x="1222" y="720"/>
                    </a:cubicBezTo>
                    <a:cubicBezTo>
                      <a:pt x="1223" y="717"/>
                      <a:pt x="1215" y="721"/>
                      <a:pt x="1214" y="724"/>
                    </a:cubicBezTo>
                    <a:cubicBezTo>
                      <a:pt x="1214" y="727"/>
                      <a:pt x="1209" y="729"/>
                      <a:pt x="1209" y="731"/>
                    </a:cubicBezTo>
                    <a:cubicBezTo>
                      <a:pt x="1209" y="736"/>
                      <a:pt x="1208" y="733"/>
                      <a:pt x="1204" y="735"/>
                    </a:cubicBezTo>
                    <a:cubicBezTo>
                      <a:pt x="1200" y="737"/>
                      <a:pt x="1184" y="735"/>
                      <a:pt x="1184" y="732"/>
                    </a:cubicBezTo>
                    <a:cubicBezTo>
                      <a:pt x="1183" y="728"/>
                      <a:pt x="1172" y="727"/>
                      <a:pt x="1172" y="722"/>
                    </a:cubicBezTo>
                    <a:cubicBezTo>
                      <a:pt x="1171" y="717"/>
                      <a:pt x="1166" y="716"/>
                      <a:pt x="1170" y="710"/>
                    </a:cubicBezTo>
                    <a:cubicBezTo>
                      <a:pt x="1175" y="705"/>
                      <a:pt x="1169" y="703"/>
                      <a:pt x="1165" y="707"/>
                    </a:cubicBezTo>
                    <a:cubicBezTo>
                      <a:pt x="1161" y="711"/>
                      <a:pt x="1158" y="704"/>
                      <a:pt x="1164" y="702"/>
                    </a:cubicBezTo>
                    <a:cubicBezTo>
                      <a:pt x="1170" y="700"/>
                      <a:pt x="1181" y="698"/>
                      <a:pt x="1175" y="688"/>
                    </a:cubicBezTo>
                    <a:cubicBezTo>
                      <a:pt x="1170" y="678"/>
                      <a:pt x="1135" y="691"/>
                      <a:pt x="1126" y="696"/>
                    </a:cubicBezTo>
                    <a:cubicBezTo>
                      <a:pt x="1118" y="701"/>
                      <a:pt x="1107" y="717"/>
                      <a:pt x="1102" y="717"/>
                    </a:cubicBezTo>
                    <a:cubicBezTo>
                      <a:pt x="1097" y="717"/>
                      <a:pt x="1110" y="708"/>
                      <a:pt x="1112" y="705"/>
                    </a:cubicBezTo>
                    <a:cubicBezTo>
                      <a:pt x="1114" y="702"/>
                      <a:pt x="1112" y="698"/>
                      <a:pt x="1114" y="700"/>
                    </a:cubicBezTo>
                    <a:cubicBezTo>
                      <a:pt x="1117" y="701"/>
                      <a:pt x="1125" y="689"/>
                      <a:pt x="1130" y="685"/>
                    </a:cubicBezTo>
                    <a:cubicBezTo>
                      <a:pt x="1135" y="681"/>
                      <a:pt x="1141" y="685"/>
                      <a:pt x="1142" y="681"/>
                    </a:cubicBezTo>
                    <a:cubicBezTo>
                      <a:pt x="1143" y="678"/>
                      <a:pt x="1145" y="676"/>
                      <a:pt x="1150" y="671"/>
                    </a:cubicBezTo>
                    <a:cubicBezTo>
                      <a:pt x="1155" y="667"/>
                      <a:pt x="1215" y="668"/>
                      <a:pt x="1221" y="668"/>
                    </a:cubicBezTo>
                    <a:cubicBezTo>
                      <a:pt x="1226" y="668"/>
                      <a:pt x="1238" y="660"/>
                      <a:pt x="1241" y="655"/>
                    </a:cubicBezTo>
                    <a:cubicBezTo>
                      <a:pt x="1244" y="650"/>
                      <a:pt x="1248" y="650"/>
                      <a:pt x="1256" y="651"/>
                    </a:cubicBezTo>
                    <a:cubicBezTo>
                      <a:pt x="1264" y="651"/>
                      <a:pt x="1268" y="644"/>
                      <a:pt x="1272" y="641"/>
                    </a:cubicBezTo>
                    <a:cubicBezTo>
                      <a:pt x="1276" y="639"/>
                      <a:pt x="1275" y="637"/>
                      <a:pt x="1271" y="637"/>
                    </a:cubicBezTo>
                    <a:cubicBezTo>
                      <a:pt x="1268" y="636"/>
                      <a:pt x="1264" y="634"/>
                      <a:pt x="1268" y="633"/>
                    </a:cubicBezTo>
                    <a:cubicBezTo>
                      <a:pt x="1271" y="633"/>
                      <a:pt x="1273" y="631"/>
                      <a:pt x="1275" y="627"/>
                    </a:cubicBezTo>
                    <a:cubicBezTo>
                      <a:pt x="1276" y="622"/>
                      <a:pt x="1273" y="624"/>
                      <a:pt x="1269" y="618"/>
                    </a:cubicBezTo>
                    <a:cubicBezTo>
                      <a:pt x="1264" y="612"/>
                      <a:pt x="1261" y="620"/>
                      <a:pt x="1257" y="619"/>
                    </a:cubicBezTo>
                    <a:cubicBezTo>
                      <a:pt x="1252" y="619"/>
                      <a:pt x="1260" y="613"/>
                      <a:pt x="1256" y="610"/>
                    </a:cubicBezTo>
                    <a:cubicBezTo>
                      <a:pt x="1252" y="608"/>
                      <a:pt x="1244" y="610"/>
                      <a:pt x="1238" y="615"/>
                    </a:cubicBezTo>
                    <a:cubicBezTo>
                      <a:pt x="1232" y="620"/>
                      <a:pt x="1233" y="614"/>
                      <a:pt x="1228" y="619"/>
                    </a:cubicBezTo>
                    <a:cubicBezTo>
                      <a:pt x="1222" y="624"/>
                      <a:pt x="1222" y="617"/>
                      <a:pt x="1225" y="615"/>
                    </a:cubicBezTo>
                    <a:cubicBezTo>
                      <a:pt x="1227" y="613"/>
                      <a:pt x="1229" y="615"/>
                      <a:pt x="1231" y="612"/>
                    </a:cubicBezTo>
                    <a:cubicBezTo>
                      <a:pt x="1234" y="609"/>
                      <a:pt x="1236" y="612"/>
                      <a:pt x="1242" y="608"/>
                    </a:cubicBezTo>
                    <a:cubicBezTo>
                      <a:pt x="1247" y="605"/>
                      <a:pt x="1252" y="606"/>
                      <a:pt x="1254" y="604"/>
                    </a:cubicBezTo>
                    <a:cubicBezTo>
                      <a:pt x="1256" y="601"/>
                      <a:pt x="1251" y="597"/>
                      <a:pt x="1246" y="598"/>
                    </a:cubicBezTo>
                    <a:cubicBezTo>
                      <a:pt x="1240" y="600"/>
                      <a:pt x="1237" y="591"/>
                      <a:pt x="1233" y="593"/>
                    </a:cubicBezTo>
                    <a:cubicBezTo>
                      <a:pt x="1230" y="596"/>
                      <a:pt x="1230" y="590"/>
                      <a:pt x="1226" y="592"/>
                    </a:cubicBezTo>
                    <a:cubicBezTo>
                      <a:pt x="1222" y="595"/>
                      <a:pt x="1220" y="591"/>
                      <a:pt x="1218" y="587"/>
                    </a:cubicBezTo>
                    <a:cubicBezTo>
                      <a:pt x="1217" y="582"/>
                      <a:pt x="1206" y="574"/>
                      <a:pt x="1199" y="572"/>
                    </a:cubicBezTo>
                    <a:cubicBezTo>
                      <a:pt x="1193" y="570"/>
                      <a:pt x="1197" y="567"/>
                      <a:pt x="1201" y="569"/>
                    </a:cubicBezTo>
                    <a:cubicBezTo>
                      <a:pt x="1204" y="572"/>
                      <a:pt x="1208" y="567"/>
                      <a:pt x="1210" y="564"/>
                    </a:cubicBezTo>
                    <a:cubicBezTo>
                      <a:pt x="1211" y="562"/>
                      <a:pt x="1207" y="559"/>
                      <a:pt x="1205" y="559"/>
                    </a:cubicBezTo>
                    <a:cubicBezTo>
                      <a:pt x="1203" y="559"/>
                      <a:pt x="1203" y="556"/>
                      <a:pt x="1204" y="553"/>
                    </a:cubicBezTo>
                    <a:cubicBezTo>
                      <a:pt x="1204" y="551"/>
                      <a:pt x="1197" y="547"/>
                      <a:pt x="1196" y="545"/>
                    </a:cubicBezTo>
                    <a:cubicBezTo>
                      <a:pt x="1196" y="542"/>
                      <a:pt x="1192" y="541"/>
                      <a:pt x="1192" y="538"/>
                    </a:cubicBezTo>
                    <a:cubicBezTo>
                      <a:pt x="1192" y="536"/>
                      <a:pt x="1188" y="533"/>
                      <a:pt x="1188" y="530"/>
                    </a:cubicBezTo>
                    <a:cubicBezTo>
                      <a:pt x="1188" y="527"/>
                      <a:pt x="1180" y="521"/>
                      <a:pt x="1180" y="517"/>
                    </a:cubicBezTo>
                    <a:cubicBezTo>
                      <a:pt x="1180" y="514"/>
                      <a:pt x="1176" y="511"/>
                      <a:pt x="1174" y="507"/>
                    </a:cubicBezTo>
                    <a:cubicBezTo>
                      <a:pt x="1173" y="503"/>
                      <a:pt x="1171" y="505"/>
                      <a:pt x="1169" y="511"/>
                    </a:cubicBezTo>
                    <a:cubicBezTo>
                      <a:pt x="1168" y="517"/>
                      <a:pt x="1163" y="517"/>
                      <a:pt x="1164" y="519"/>
                    </a:cubicBezTo>
                    <a:cubicBezTo>
                      <a:pt x="1167" y="523"/>
                      <a:pt x="1165" y="523"/>
                      <a:pt x="1163" y="525"/>
                    </a:cubicBezTo>
                    <a:cubicBezTo>
                      <a:pt x="1160" y="528"/>
                      <a:pt x="1164" y="532"/>
                      <a:pt x="1160" y="532"/>
                    </a:cubicBezTo>
                    <a:cubicBezTo>
                      <a:pt x="1157" y="532"/>
                      <a:pt x="1158" y="539"/>
                      <a:pt x="1156" y="536"/>
                    </a:cubicBezTo>
                    <a:cubicBezTo>
                      <a:pt x="1154" y="532"/>
                      <a:pt x="1150" y="533"/>
                      <a:pt x="1150" y="537"/>
                    </a:cubicBezTo>
                    <a:cubicBezTo>
                      <a:pt x="1150" y="540"/>
                      <a:pt x="1142" y="544"/>
                      <a:pt x="1138" y="543"/>
                    </a:cubicBezTo>
                    <a:cubicBezTo>
                      <a:pt x="1135" y="543"/>
                      <a:pt x="1135" y="536"/>
                      <a:pt x="1132" y="538"/>
                    </a:cubicBezTo>
                    <a:cubicBezTo>
                      <a:pt x="1130" y="540"/>
                      <a:pt x="1130" y="533"/>
                      <a:pt x="1126" y="533"/>
                    </a:cubicBezTo>
                    <a:cubicBezTo>
                      <a:pt x="1122" y="533"/>
                      <a:pt x="1119" y="533"/>
                      <a:pt x="1120" y="529"/>
                    </a:cubicBezTo>
                    <a:cubicBezTo>
                      <a:pt x="1121" y="525"/>
                      <a:pt x="1113" y="523"/>
                      <a:pt x="1115" y="521"/>
                    </a:cubicBezTo>
                    <a:cubicBezTo>
                      <a:pt x="1118" y="519"/>
                      <a:pt x="1115" y="515"/>
                      <a:pt x="1114" y="508"/>
                    </a:cubicBezTo>
                    <a:cubicBezTo>
                      <a:pt x="1114" y="502"/>
                      <a:pt x="1118" y="501"/>
                      <a:pt x="1118" y="499"/>
                    </a:cubicBezTo>
                    <a:cubicBezTo>
                      <a:pt x="1118" y="496"/>
                      <a:pt x="1115" y="496"/>
                      <a:pt x="1112" y="498"/>
                    </a:cubicBezTo>
                    <a:cubicBezTo>
                      <a:pt x="1109" y="500"/>
                      <a:pt x="1109" y="496"/>
                      <a:pt x="1106" y="496"/>
                    </a:cubicBezTo>
                    <a:cubicBezTo>
                      <a:pt x="1102" y="496"/>
                      <a:pt x="1093" y="496"/>
                      <a:pt x="1092" y="491"/>
                    </a:cubicBezTo>
                    <a:cubicBezTo>
                      <a:pt x="1092" y="487"/>
                      <a:pt x="1088" y="489"/>
                      <a:pt x="1087" y="485"/>
                    </a:cubicBezTo>
                    <a:cubicBezTo>
                      <a:pt x="1085" y="480"/>
                      <a:pt x="1081" y="484"/>
                      <a:pt x="1081" y="481"/>
                    </a:cubicBezTo>
                    <a:cubicBezTo>
                      <a:pt x="1081" y="478"/>
                      <a:pt x="1080" y="476"/>
                      <a:pt x="1077" y="476"/>
                    </a:cubicBezTo>
                    <a:cubicBezTo>
                      <a:pt x="1074" y="476"/>
                      <a:pt x="1073" y="473"/>
                      <a:pt x="1069" y="472"/>
                    </a:cubicBezTo>
                    <a:cubicBezTo>
                      <a:pt x="1065" y="472"/>
                      <a:pt x="1060" y="475"/>
                      <a:pt x="1057" y="476"/>
                    </a:cubicBezTo>
                    <a:cubicBezTo>
                      <a:pt x="1055" y="477"/>
                      <a:pt x="1049" y="472"/>
                      <a:pt x="1047" y="474"/>
                    </a:cubicBezTo>
                    <a:cubicBezTo>
                      <a:pt x="1045" y="476"/>
                      <a:pt x="1044" y="473"/>
                      <a:pt x="1038" y="471"/>
                    </a:cubicBezTo>
                    <a:cubicBezTo>
                      <a:pt x="1032" y="469"/>
                      <a:pt x="1024" y="469"/>
                      <a:pt x="1023" y="471"/>
                    </a:cubicBezTo>
                    <a:cubicBezTo>
                      <a:pt x="1023" y="473"/>
                      <a:pt x="1018" y="474"/>
                      <a:pt x="1018" y="479"/>
                    </a:cubicBezTo>
                    <a:cubicBezTo>
                      <a:pt x="1019" y="485"/>
                      <a:pt x="1024" y="484"/>
                      <a:pt x="1026" y="487"/>
                    </a:cubicBezTo>
                    <a:cubicBezTo>
                      <a:pt x="1027" y="491"/>
                      <a:pt x="1023" y="489"/>
                      <a:pt x="1023" y="493"/>
                    </a:cubicBezTo>
                    <a:cubicBezTo>
                      <a:pt x="1023" y="496"/>
                      <a:pt x="1019" y="496"/>
                      <a:pt x="1019" y="498"/>
                    </a:cubicBezTo>
                    <a:cubicBezTo>
                      <a:pt x="1019" y="500"/>
                      <a:pt x="1022" y="500"/>
                      <a:pt x="1023" y="504"/>
                    </a:cubicBezTo>
                    <a:cubicBezTo>
                      <a:pt x="1024" y="509"/>
                      <a:pt x="1027" y="508"/>
                      <a:pt x="1027" y="514"/>
                    </a:cubicBezTo>
                    <a:cubicBezTo>
                      <a:pt x="1028" y="520"/>
                      <a:pt x="1025" y="519"/>
                      <a:pt x="1023" y="520"/>
                    </a:cubicBezTo>
                    <a:cubicBezTo>
                      <a:pt x="1020" y="521"/>
                      <a:pt x="1023" y="524"/>
                      <a:pt x="1020" y="528"/>
                    </a:cubicBezTo>
                    <a:cubicBezTo>
                      <a:pt x="1016" y="532"/>
                      <a:pt x="1013" y="536"/>
                      <a:pt x="1016" y="538"/>
                    </a:cubicBezTo>
                    <a:cubicBezTo>
                      <a:pt x="1019" y="541"/>
                      <a:pt x="1029" y="545"/>
                      <a:pt x="1033" y="552"/>
                    </a:cubicBezTo>
                    <a:cubicBezTo>
                      <a:pt x="1037" y="559"/>
                      <a:pt x="1037" y="569"/>
                      <a:pt x="1035" y="577"/>
                    </a:cubicBezTo>
                    <a:cubicBezTo>
                      <a:pt x="1034" y="584"/>
                      <a:pt x="1026" y="586"/>
                      <a:pt x="1019" y="592"/>
                    </a:cubicBezTo>
                    <a:cubicBezTo>
                      <a:pt x="1013" y="599"/>
                      <a:pt x="1007" y="598"/>
                      <a:pt x="1004" y="598"/>
                    </a:cubicBezTo>
                    <a:cubicBezTo>
                      <a:pt x="1001" y="598"/>
                      <a:pt x="1002" y="604"/>
                      <a:pt x="1007" y="609"/>
                    </a:cubicBezTo>
                    <a:cubicBezTo>
                      <a:pt x="1011" y="614"/>
                      <a:pt x="1007" y="615"/>
                      <a:pt x="1010" y="620"/>
                    </a:cubicBezTo>
                    <a:cubicBezTo>
                      <a:pt x="1012" y="625"/>
                      <a:pt x="1010" y="629"/>
                      <a:pt x="1013" y="634"/>
                    </a:cubicBezTo>
                    <a:cubicBezTo>
                      <a:pt x="1016" y="638"/>
                      <a:pt x="1014" y="640"/>
                      <a:pt x="1010" y="643"/>
                    </a:cubicBezTo>
                    <a:cubicBezTo>
                      <a:pt x="1007" y="647"/>
                      <a:pt x="1012" y="645"/>
                      <a:pt x="1012" y="649"/>
                    </a:cubicBezTo>
                    <a:cubicBezTo>
                      <a:pt x="1012" y="653"/>
                      <a:pt x="1010" y="651"/>
                      <a:pt x="1007" y="649"/>
                    </a:cubicBezTo>
                    <a:cubicBezTo>
                      <a:pt x="1004" y="646"/>
                      <a:pt x="1001" y="653"/>
                      <a:pt x="1001" y="656"/>
                    </a:cubicBezTo>
                    <a:cubicBezTo>
                      <a:pt x="1001" y="658"/>
                      <a:pt x="993" y="652"/>
                      <a:pt x="991" y="652"/>
                    </a:cubicBezTo>
                    <a:cubicBezTo>
                      <a:pt x="990" y="652"/>
                      <a:pt x="992" y="648"/>
                      <a:pt x="987" y="644"/>
                    </a:cubicBezTo>
                    <a:cubicBezTo>
                      <a:pt x="983" y="641"/>
                      <a:pt x="979" y="640"/>
                      <a:pt x="979" y="637"/>
                    </a:cubicBezTo>
                    <a:cubicBezTo>
                      <a:pt x="979" y="633"/>
                      <a:pt x="972" y="631"/>
                      <a:pt x="972" y="627"/>
                    </a:cubicBezTo>
                    <a:cubicBezTo>
                      <a:pt x="972" y="623"/>
                      <a:pt x="973" y="612"/>
                      <a:pt x="971" y="609"/>
                    </a:cubicBezTo>
                    <a:cubicBezTo>
                      <a:pt x="969" y="606"/>
                      <a:pt x="971" y="603"/>
                      <a:pt x="972" y="600"/>
                    </a:cubicBezTo>
                    <a:cubicBezTo>
                      <a:pt x="974" y="598"/>
                      <a:pt x="970" y="593"/>
                      <a:pt x="966" y="593"/>
                    </a:cubicBezTo>
                    <a:cubicBezTo>
                      <a:pt x="961" y="593"/>
                      <a:pt x="955" y="592"/>
                      <a:pt x="949" y="592"/>
                    </a:cubicBezTo>
                    <a:cubicBezTo>
                      <a:pt x="943" y="593"/>
                      <a:pt x="939" y="592"/>
                      <a:pt x="937" y="590"/>
                    </a:cubicBezTo>
                    <a:cubicBezTo>
                      <a:pt x="935" y="588"/>
                      <a:pt x="929" y="585"/>
                      <a:pt x="922" y="583"/>
                    </a:cubicBezTo>
                    <a:cubicBezTo>
                      <a:pt x="914" y="581"/>
                      <a:pt x="910" y="577"/>
                      <a:pt x="910" y="574"/>
                    </a:cubicBezTo>
                    <a:cubicBezTo>
                      <a:pt x="909" y="572"/>
                      <a:pt x="901" y="570"/>
                      <a:pt x="899" y="568"/>
                    </a:cubicBezTo>
                    <a:cubicBezTo>
                      <a:pt x="898" y="566"/>
                      <a:pt x="890" y="565"/>
                      <a:pt x="887" y="565"/>
                    </a:cubicBezTo>
                    <a:cubicBezTo>
                      <a:pt x="884" y="566"/>
                      <a:pt x="877" y="559"/>
                      <a:pt x="872" y="559"/>
                    </a:cubicBezTo>
                    <a:cubicBezTo>
                      <a:pt x="868" y="559"/>
                      <a:pt x="857" y="564"/>
                      <a:pt x="855" y="564"/>
                    </a:cubicBezTo>
                    <a:cubicBezTo>
                      <a:pt x="854" y="564"/>
                      <a:pt x="856" y="560"/>
                      <a:pt x="857" y="559"/>
                    </a:cubicBezTo>
                    <a:cubicBezTo>
                      <a:pt x="858" y="557"/>
                      <a:pt x="853" y="549"/>
                      <a:pt x="852" y="544"/>
                    </a:cubicBezTo>
                    <a:cubicBezTo>
                      <a:pt x="851" y="539"/>
                      <a:pt x="849" y="534"/>
                      <a:pt x="844" y="535"/>
                    </a:cubicBezTo>
                    <a:cubicBezTo>
                      <a:pt x="838" y="535"/>
                      <a:pt x="833" y="533"/>
                      <a:pt x="831" y="532"/>
                    </a:cubicBezTo>
                    <a:cubicBezTo>
                      <a:pt x="830" y="531"/>
                      <a:pt x="829" y="516"/>
                      <a:pt x="831" y="510"/>
                    </a:cubicBezTo>
                    <a:cubicBezTo>
                      <a:pt x="832" y="504"/>
                      <a:pt x="838" y="495"/>
                      <a:pt x="838" y="492"/>
                    </a:cubicBezTo>
                    <a:cubicBezTo>
                      <a:pt x="838" y="488"/>
                      <a:pt x="843" y="486"/>
                      <a:pt x="846" y="485"/>
                    </a:cubicBezTo>
                    <a:cubicBezTo>
                      <a:pt x="850" y="484"/>
                      <a:pt x="847" y="477"/>
                      <a:pt x="851" y="476"/>
                    </a:cubicBezTo>
                    <a:cubicBezTo>
                      <a:pt x="855" y="476"/>
                      <a:pt x="855" y="474"/>
                      <a:pt x="856" y="471"/>
                    </a:cubicBezTo>
                    <a:cubicBezTo>
                      <a:pt x="856" y="468"/>
                      <a:pt x="861" y="470"/>
                      <a:pt x="858" y="468"/>
                    </a:cubicBezTo>
                    <a:cubicBezTo>
                      <a:pt x="856" y="465"/>
                      <a:pt x="858" y="465"/>
                      <a:pt x="864" y="465"/>
                    </a:cubicBezTo>
                    <a:cubicBezTo>
                      <a:pt x="869" y="465"/>
                      <a:pt x="878" y="463"/>
                      <a:pt x="877" y="457"/>
                    </a:cubicBezTo>
                    <a:cubicBezTo>
                      <a:pt x="875" y="451"/>
                      <a:pt x="860" y="455"/>
                      <a:pt x="860" y="451"/>
                    </a:cubicBezTo>
                    <a:cubicBezTo>
                      <a:pt x="860" y="446"/>
                      <a:pt x="841" y="446"/>
                      <a:pt x="843" y="443"/>
                    </a:cubicBezTo>
                    <a:cubicBezTo>
                      <a:pt x="844" y="440"/>
                      <a:pt x="862" y="445"/>
                      <a:pt x="868" y="447"/>
                    </a:cubicBezTo>
                    <a:cubicBezTo>
                      <a:pt x="875" y="450"/>
                      <a:pt x="876" y="450"/>
                      <a:pt x="882" y="449"/>
                    </a:cubicBezTo>
                    <a:cubicBezTo>
                      <a:pt x="887" y="449"/>
                      <a:pt x="883" y="442"/>
                      <a:pt x="884" y="440"/>
                    </a:cubicBezTo>
                    <a:cubicBezTo>
                      <a:pt x="885" y="437"/>
                      <a:pt x="895" y="444"/>
                      <a:pt x="901" y="442"/>
                    </a:cubicBezTo>
                    <a:cubicBezTo>
                      <a:pt x="907" y="441"/>
                      <a:pt x="912" y="429"/>
                      <a:pt x="917" y="426"/>
                    </a:cubicBezTo>
                    <a:cubicBezTo>
                      <a:pt x="922" y="423"/>
                      <a:pt x="918" y="420"/>
                      <a:pt x="908" y="420"/>
                    </a:cubicBezTo>
                    <a:cubicBezTo>
                      <a:pt x="899" y="421"/>
                      <a:pt x="894" y="418"/>
                      <a:pt x="889" y="414"/>
                    </a:cubicBezTo>
                    <a:cubicBezTo>
                      <a:pt x="884" y="410"/>
                      <a:pt x="884" y="407"/>
                      <a:pt x="890" y="408"/>
                    </a:cubicBezTo>
                    <a:cubicBezTo>
                      <a:pt x="895" y="408"/>
                      <a:pt x="907" y="418"/>
                      <a:pt x="912" y="419"/>
                    </a:cubicBezTo>
                    <a:cubicBezTo>
                      <a:pt x="917" y="419"/>
                      <a:pt x="925" y="409"/>
                      <a:pt x="929" y="406"/>
                    </a:cubicBezTo>
                    <a:cubicBezTo>
                      <a:pt x="933" y="403"/>
                      <a:pt x="925" y="402"/>
                      <a:pt x="923" y="400"/>
                    </a:cubicBezTo>
                    <a:cubicBezTo>
                      <a:pt x="920" y="398"/>
                      <a:pt x="927" y="396"/>
                      <a:pt x="931" y="396"/>
                    </a:cubicBezTo>
                    <a:cubicBezTo>
                      <a:pt x="935" y="396"/>
                      <a:pt x="937" y="400"/>
                      <a:pt x="939" y="401"/>
                    </a:cubicBezTo>
                    <a:cubicBezTo>
                      <a:pt x="940" y="403"/>
                      <a:pt x="947" y="400"/>
                      <a:pt x="951" y="400"/>
                    </a:cubicBezTo>
                    <a:cubicBezTo>
                      <a:pt x="954" y="400"/>
                      <a:pt x="950" y="394"/>
                      <a:pt x="944" y="392"/>
                    </a:cubicBezTo>
                    <a:cubicBezTo>
                      <a:pt x="939" y="390"/>
                      <a:pt x="945" y="386"/>
                      <a:pt x="946" y="389"/>
                    </a:cubicBezTo>
                    <a:cubicBezTo>
                      <a:pt x="948" y="393"/>
                      <a:pt x="952" y="392"/>
                      <a:pt x="954" y="396"/>
                    </a:cubicBezTo>
                    <a:cubicBezTo>
                      <a:pt x="957" y="402"/>
                      <a:pt x="959" y="398"/>
                      <a:pt x="964" y="396"/>
                    </a:cubicBezTo>
                    <a:cubicBezTo>
                      <a:pt x="969" y="394"/>
                      <a:pt x="971" y="391"/>
                      <a:pt x="974" y="388"/>
                    </a:cubicBezTo>
                    <a:cubicBezTo>
                      <a:pt x="977" y="385"/>
                      <a:pt x="977" y="389"/>
                      <a:pt x="981" y="384"/>
                    </a:cubicBezTo>
                    <a:cubicBezTo>
                      <a:pt x="984" y="379"/>
                      <a:pt x="979" y="375"/>
                      <a:pt x="975" y="372"/>
                    </a:cubicBezTo>
                    <a:cubicBezTo>
                      <a:pt x="971" y="369"/>
                      <a:pt x="975" y="366"/>
                      <a:pt x="971" y="364"/>
                    </a:cubicBezTo>
                    <a:cubicBezTo>
                      <a:pt x="967" y="362"/>
                      <a:pt x="967" y="358"/>
                      <a:pt x="972" y="359"/>
                    </a:cubicBezTo>
                    <a:cubicBezTo>
                      <a:pt x="977" y="360"/>
                      <a:pt x="981" y="359"/>
                      <a:pt x="983" y="355"/>
                    </a:cubicBezTo>
                    <a:cubicBezTo>
                      <a:pt x="985" y="352"/>
                      <a:pt x="975" y="351"/>
                      <a:pt x="980" y="348"/>
                    </a:cubicBezTo>
                    <a:cubicBezTo>
                      <a:pt x="984" y="346"/>
                      <a:pt x="981" y="343"/>
                      <a:pt x="976" y="343"/>
                    </a:cubicBezTo>
                    <a:cubicBezTo>
                      <a:pt x="972" y="343"/>
                      <a:pt x="968" y="341"/>
                      <a:pt x="968" y="337"/>
                    </a:cubicBezTo>
                    <a:cubicBezTo>
                      <a:pt x="967" y="334"/>
                      <a:pt x="960" y="336"/>
                      <a:pt x="955" y="334"/>
                    </a:cubicBezTo>
                    <a:cubicBezTo>
                      <a:pt x="950" y="332"/>
                      <a:pt x="940" y="332"/>
                      <a:pt x="937" y="332"/>
                    </a:cubicBezTo>
                    <a:cubicBezTo>
                      <a:pt x="935" y="333"/>
                      <a:pt x="934" y="343"/>
                      <a:pt x="938" y="343"/>
                    </a:cubicBezTo>
                    <a:cubicBezTo>
                      <a:pt x="942" y="343"/>
                      <a:pt x="945" y="347"/>
                      <a:pt x="942" y="349"/>
                    </a:cubicBezTo>
                    <a:cubicBezTo>
                      <a:pt x="938" y="350"/>
                      <a:pt x="942" y="354"/>
                      <a:pt x="940" y="354"/>
                    </a:cubicBezTo>
                    <a:cubicBezTo>
                      <a:pt x="937" y="353"/>
                      <a:pt x="933" y="352"/>
                      <a:pt x="932" y="359"/>
                    </a:cubicBezTo>
                    <a:cubicBezTo>
                      <a:pt x="932" y="365"/>
                      <a:pt x="931" y="368"/>
                      <a:pt x="927" y="370"/>
                    </a:cubicBezTo>
                    <a:cubicBezTo>
                      <a:pt x="923" y="372"/>
                      <a:pt x="926" y="363"/>
                      <a:pt x="922" y="363"/>
                    </a:cubicBezTo>
                    <a:cubicBezTo>
                      <a:pt x="918" y="363"/>
                      <a:pt x="917" y="371"/>
                      <a:pt x="920" y="372"/>
                    </a:cubicBezTo>
                    <a:cubicBezTo>
                      <a:pt x="923" y="372"/>
                      <a:pt x="924" y="375"/>
                      <a:pt x="925" y="379"/>
                    </a:cubicBezTo>
                    <a:cubicBezTo>
                      <a:pt x="925" y="382"/>
                      <a:pt x="919" y="380"/>
                      <a:pt x="917" y="384"/>
                    </a:cubicBezTo>
                    <a:cubicBezTo>
                      <a:pt x="914" y="389"/>
                      <a:pt x="914" y="382"/>
                      <a:pt x="910" y="379"/>
                    </a:cubicBezTo>
                    <a:cubicBezTo>
                      <a:pt x="907" y="376"/>
                      <a:pt x="903" y="371"/>
                      <a:pt x="903" y="367"/>
                    </a:cubicBezTo>
                    <a:cubicBezTo>
                      <a:pt x="903" y="364"/>
                      <a:pt x="905" y="363"/>
                      <a:pt x="908" y="362"/>
                    </a:cubicBezTo>
                    <a:cubicBezTo>
                      <a:pt x="910" y="362"/>
                      <a:pt x="908" y="359"/>
                      <a:pt x="907" y="355"/>
                    </a:cubicBezTo>
                    <a:cubicBezTo>
                      <a:pt x="907" y="350"/>
                      <a:pt x="904" y="352"/>
                      <a:pt x="900" y="347"/>
                    </a:cubicBezTo>
                    <a:cubicBezTo>
                      <a:pt x="896" y="342"/>
                      <a:pt x="892" y="342"/>
                      <a:pt x="889" y="345"/>
                    </a:cubicBezTo>
                    <a:cubicBezTo>
                      <a:pt x="887" y="347"/>
                      <a:pt x="889" y="351"/>
                      <a:pt x="885" y="353"/>
                    </a:cubicBezTo>
                    <a:cubicBezTo>
                      <a:pt x="882" y="354"/>
                      <a:pt x="883" y="361"/>
                      <a:pt x="880" y="362"/>
                    </a:cubicBezTo>
                    <a:cubicBezTo>
                      <a:pt x="877" y="362"/>
                      <a:pt x="879" y="349"/>
                      <a:pt x="876" y="348"/>
                    </a:cubicBezTo>
                    <a:cubicBezTo>
                      <a:pt x="874" y="347"/>
                      <a:pt x="874" y="344"/>
                      <a:pt x="878" y="343"/>
                    </a:cubicBezTo>
                    <a:cubicBezTo>
                      <a:pt x="882" y="343"/>
                      <a:pt x="884" y="339"/>
                      <a:pt x="881" y="339"/>
                    </a:cubicBezTo>
                    <a:cubicBezTo>
                      <a:pt x="877" y="339"/>
                      <a:pt x="872" y="335"/>
                      <a:pt x="869" y="334"/>
                    </a:cubicBezTo>
                    <a:cubicBezTo>
                      <a:pt x="867" y="333"/>
                      <a:pt x="863" y="339"/>
                      <a:pt x="861" y="337"/>
                    </a:cubicBezTo>
                    <a:cubicBezTo>
                      <a:pt x="858" y="335"/>
                      <a:pt x="861" y="330"/>
                      <a:pt x="861" y="327"/>
                    </a:cubicBezTo>
                    <a:cubicBezTo>
                      <a:pt x="862" y="324"/>
                      <a:pt x="865" y="328"/>
                      <a:pt x="868" y="325"/>
                    </a:cubicBezTo>
                    <a:cubicBezTo>
                      <a:pt x="870" y="321"/>
                      <a:pt x="861" y="321"/>
                      <a:pt x="861" y="317"/>
                    </a:cubicBezTo>
                    <a:cubicBezTo>
                      <a:pt x="861" y="314"/>
                      <a:pt x="853" y="313"/>
                      <a:pt x="851" y="311"/>
                    </a:cubicBezTo>
                    <a:cubicBezTo>
                      <a:pt x="848" y="310"/>
                      <a:pt x="853" y="304"/>
                      <a:pt x="851" y="301"/>
                    </a:cubicBezTo>
                    <a:cubicBezTo>
                      <a:pt x="850" y="299"/>
                      <a:pt x="841" y="291"/>
                      <a:pt x="837" y="291"/>
                    </a:cubicBezTo>
                    <a:cubicBezTo>
                      <a:pt x="833" y="292"/>
                      <a:pt x="832" y="286"/>
                      <a:pt x="834" y="286"/>
                    </a:cubicBezTo>
                    <a:cubicBezTo>
                      <a:pt x="836" y="287"/>
                      <a:pt x="838" y="285"/>
                      <a:pt x="842" y="280"/>
                    </a:cubicBezTo>
                    <a:cubicBezTo>
                      <a:pt x="847" y="276"/>
                      <a:pt x="847" y="274"/>
                      <a:pt x="844" y="273"/>
                    </a:cubicBezTo>
                    <a:cubicBezTo>
                      <a:pt x="841" y="272"/>
                      <a:pt x="840" y="269"/>
                      <a:pt x="845" y="269"/>
                    </a:cubicBezTo>
                    <a:cubicBezTo>
                      <a:pt x="850" y="270"/>
                      <a:pt x="859" y="273"/>
                      <a:pt x="862" y="271"/>
                    </a:cubicBezTo>
                    <a:cubicBezTo>
                      <a:pt x="865" y="269"/>
                      <a:pt x="875" y="254"/>
                      <a:pt x="879" y="249"/>
                    </a:cubicBezTo>
                    <a:cubicBezTo>
                      <a:pt x="882" y="243"/>
                      <a:pt x="876" y="243"/>
                      <a:pt x="867" y="244"/>
                    </a:cubicBezTo>
                    <a:cubicBezTo>
                      <a:pt x="858" y="244"/>
                      <a:pt x="856" y="240"/>
                      <a:pt x="848" y="240"/>
                    </a:cubicBezTo>
                    <a:cubicBezTo>
                      <a:pt x="841" y="239"/>
                      <a:pt x="827" y="241"/>
                      <a:pt x="825" y="243"/>
                    </a:cubicBezTo>
                    <a:cubicBezTo>
                      <a:pt x="823" y="246"/>
                      <a:pt x="829" y="248"/>
                      <a:pt x="828" y="250"/>
                    </a:cubicBezTo>
                    <a:cubicBezTo>
                      <a:pt x="827" y="253"/>
                      <a:pt x="823" y="248"/>
                      <a:pt x="821" y="249"/>
                    </a:cubicBezTo>
                    <a:cubicBezTo>
                      <a:pt x="819" y="250"/>
                      <a:pt x="821" y="254"/>
                      <a:pt x="821" y="262"/>
                    </a:cubicBezTo>
                    <a:cubicBezTo>
                      <a:pt x="820" y="271"/>
                      <a:pt x="822" y="272"/>
                      <a:pt x="825" y="275"/>
                    </a:cubicBezTo>
                    <a:cubicBezTo>
                      <a:pt x="827" y="278"/>
                      <a:pt x="827" y="282"/>
                      <a:pt x="827" y="288"/>
                    </a:cubicBezTo>
                    <a:cubicBezTo>
                      <a:pt x="827" y="293"/>
                      <a:pt x="822" y="293"/>
                      <a:pt x="820" y="294"/>
                    </a:cubicBezTo>
                    <a:cubicBezTo>
                      <a:pt x="818" y="296"/>
                      <a:pt x="824" y="298"/>
                      <a:pt x="823" y="301"/>
                    </a:cubicBezTo>
                    <a:cubicBezTo>
                      <a:pt x="822" y="305"/>
                      <a:pt x="817" y="299"/>
                      <a:pt x="814" y="300"/>
                    </a:cubicBezTo>
                    <a:cubicBezTo>
                      <a:pt x="811" y="301"/>
                      <a:pt x="809" y="310"/>
                      <a:pt x="812" y="312"/>
                    </a:cubicBezTo>
                    <a:cubicBezTo>
                      <a:pt x="815" y="315"/>
                      <a:pt x="816" y="315"/>
                      <a:pt x="814" y="318"/>
                    </a:cubicBezTo>
                    <a:cubicBezTo>
                      <a:pt x="811" y="321"/>
                      <a:pt x="809" y="326"/>
                      <a:pt x="815" y="331"/>
                    </a:cubicBezTo>
                    <a:cubicBezTo>
                      <a:pt x="821" y="335"/>
                      <a:pt x="832" y="335"/>
                      <a:pt x="837" y="339"/>
                    </a:cubicBezTo>
                    <a:cubicBezTo>
                      <a:pt x="843" y="342"/>
                      <a:pt x="835" y="340"/>
                      <a:pt x="837" y="344"/>
                    </a:cubicBezTo>
                    <a:cubicBezTo>
                      <a:pt x="839" y="349"/>
                      <a:pt x="833" y="350"/>
                      <a:pt x="834" y="353"/>
                    </a:cubicBezTo>
                    <a:cubicBezTo>
                      <a:pt x="834" y="357"/>
                      <a:pt x="836" y="355"/>
                      <a:pt x="839" y="349"/>
                    </a:cubicBezTo>
                    <a:cubicBezTo>
                      <a:pt x="842" y="344"/>
                      <a:pt x="844" y="351"/>
                      <a:pt x="844" y="356"/>
                    </a:cubicBezTo>
                    <a:cubicBezTo>
                      <a:pt x="844" y="360"/>
                      <a:pt x="840" y="358"/>
                      <a:pt x="836" y="362"/>
                    </a:cubicBezTo>
                    <a:cubicBezTo>
                      <a:pt x="833" y="367"/>
                      <a:pt x="830" y="368"/>
                      <a:pt x="825" y="367"/>
                    </a:cubicBezTo>
                    <a:cubicBezTo>
                      <a:pt x="821" y="366"/>
                      <a:pt x="823" y="374"/>
                      <a:pt x="825" y="378"/>
                    </a:cubicBezTo>
                    <a:cubicBezTo>
                      <a:pt x="827" y="382"/>
                      <a:pt x="825" y="384"/>
                      <a:pt x="819" y="382"/>
                    </a:cubicBezTo>
                    <a:cubicBezTo>
                      <a:pt x="814" y="381"/>
                      <a:pt x="811" y="377"/>
                      <a:pt x="813" y="373"/>
                    </a:cubicBezTo>
                    <a:cubicBezTo>
                      <a:pt x="816" y="369"/>
                      <a:pt x="818" y="364"/>
                      <a:pt x="815" y="364"/>
                    </a:cubicBezTo>
                    <a:cubicBezTo>
                      <a:pt x="812" y="365"/>
                      <a:pt x="804" y="364"/>
                      <a:pt x="802" y="360"/>
                    </a:cubicBezTo>
                    <a:cubicBezTo>
                      <a:pt x="800" y="357"/>
                      <a:pt x="803" y="358"/>
                      <a:pt x="810" y="359"/>
                    </a:cubicBezTo>
                    <a:cubicBezTo>
                      <a:pt x="817" y="360"/>
                      <a:pt x="811" y="355"/>
                      <a:pt x="816" y="355"/>
                    </a:cubicBezTo>
                    <a:cubicBezTo>
                      <a:pt x="821" y="355"/>
                      <a:pt x="825" y="357"/>
                      <a:pt x="829" y="354"/>
                    </a:cubicBezTo>
                    <a:cubicBezTo>
                      <a:pt x="833" y="350"/>
                      <a:pt x="826" y="343"/>
                      <a:pt x="823" y="344"/>
                    </a:cubicBezTo>
                    <a:cubicBezTo>
                      <a:pt x="819" y="345"/>
                      <a:pt x="814" y="347"/>
                      <a:pt x="814" y="343"/>
                    </a:cubicBezTo>
                    <a:cubicBezTo>
                      <a:pt x="814" y="340"/>
                      <a:pt x="820" y="342"/>
                      <a:pt x="823" y="341"/>
                    </a:cubicBezTo>
                    <a:cubicBezTo>
                      <a:pt x="826" y="341"/>
                      <a:pt x="821" y="336"/>
                      <a:pt x="816" y="337"/>
                    </a:cubicBezTo>
                    <a:cubicBezTo>
                      <a:pt x="811" y="339"/>
                      <a:pt x="808" y="339"/>
                      <a:pt x="804" y="335"/>
                    </a:cubicBezTo>
                    <a:cubicBezTo>
                      <a:pt x="800" y="330"/>
                      <a:pt x="793" y="328"/>
                      <a:pt x="791" y="338"/>
                    </a:cubicBezTo>
                    <a:cubicBezTo>
                      <a:pt x="789" y="347"/>
                      <a:pt x="782" y="342"/>
                      <a:pt x="779" y="345"/>
                    </a:cubicBezTo>
                    <a:cubicBezTo>
                      <a:pt x="777" y="349"/>
                      <a:pt x="783" y="351"/>
                      <a:pt x="789" y="351"/>
                    </a:cubicBezTo>
                    <a:cubicBezTo>
                      <a:pt x="796" y="351"/>
                      <a:pt x="801" y="358"/>
                      <a:pt x="798" y="358"/>
                    </a:cubicBezTo>
                    <a:cubicBezTo>
                      <a:pt x="795" y="358"/>
                      <a:pt x="796" y="362"/>
                      <a:pt x="793" y="361"/>
                    </a:cubicBezTo>
                    <a:cubicBezTo>
                      <a:pt x="789" y="359"/>
                      <a:pt x="786" y="361"/>
                      <a:pt x="788" y="364"/>
                    </a:cubicBezTo>
                    <a:cubicBezTo>
                      <a:pt x="791" y="367"/>
                      <a:pt x="787" y="368"/>
                      <a:pt x="787" y="371"/>
                    </a:cubicBezTo>
                    <a:cubicBezTo>
                      <a:pt x="788" y="374"/>
                      <a:pt x="782" y="371"/>
                      <a:pt x="777" y="371"/>
                    </a:cubicBezTo>
                    <a:cubicBezTo>
                      <a:pt x="772" y="370"/>
                      <a:pt x="762" y="372"/>
                      <a:pt x="755" y="373"/>
                    </a:cubicBezTo>
                    <a:cubicBezTo>
                      <a:pt x="748" y="375"/>
                      <a:pt x="740" y="372"/>
                      <a:pt x="737" y="369"/>
                    </a:cubicBezTo>
                    <a:cubicBezTo>
                      <a:pt x="734" y="366"/>
                      <a:pt x="730" y="366"/>
                      <a:pt x="725" y="366"/>
                    </a:cubicBezTo>
                    <a:cubicBezTo>
                      <a:pt x="720" y="366"/>
                      <a:pt x="722" y="362"/>
                      <a:pt x="715" y="361"/>
                    </a:cubicBezTo>
                    <a:cubicBezTo>
                      <a:pt x="709" y="361"/>
                      <a:pt x="710" y="356"/>
                      <a:pt x="709" y="352"/>
                    </a:cubicBezTo>
                    <a:cubicBezTo>
                      <a:pt x="709" y="349"/>
                      <a:pt x="696" y="350"/>
                      <a:pt x="691" y="353"/>
                    </a:cubicBezTo>
                    <a:cubicBezTo>
                      <a:pt x="686" y="356"/>
                      <a:pt x="677" y="355"/>
                      <a:pt x="674" y="360"/>
                    </a:cubicBezTo>
                    <a:cubicBezTo>
                      <a:pt x="672" y="366"/>
                      <a:pt x="677" y="365"/>
                      <a:pt x="679" y="365"/>
                    </a:cubicBezTo>
                    <a:cubicBezTo>
                      <a:pt x="683" y="365"/>
                      <a:pt x="683" y="361"/>
                      <a:pt x="690" y="362"/>
                    </a:cubicBezTo>
                    <a:cubicBezTo>
                      <a:pt x="697" y="363"/>
                      <a:pt x="702" y="354"/>
                      <a:pt x="705" y="357"/>
                    </a:cubicBezTo>
                    <a:cubicBezTo>
                      <a:pt x="708" y="360"/>
                      <a:pt x="693" y="366"/>
                      <a:pt x="686" y="367"/>
                    </a:cubicBezTo>
                    <a:cubicBezTo>
                      <a:pt x="680" y="368"/>
                      <a:pt x="681" y="373"/>
                      <a:pt x="688" y="383"/>
                    </a:cubicBezTo>
                    <a:cubicBezTo>
                      <a:pt x="694" y="392"/>
                      <a:pt x="685" y="387"/>
                      <a:pt x="685" y="391"/>
                    </a:cubicBezTo>
                    <a:cubicBezTo>
                      <a:pt x="685" y="396"/>
                      <a:pt x="673" y="390"/>
                      <a:pt x="678" y="388"/>
                    </a:cubicBezTo>
                    <a:cubicBezTo>
                      <a:pt x="683" y="387"/>
                      <a:pt x="680" y="382"/>
                      <a:pt x="677" y="379"/>
                    </a:cubicBezTo>
                    <a:cubicBezTo>
                      <a:pt x="673" y="376"/>
                      <a:pt x="670" y="379"/>
                      <a:pt x="671" y="376"/>
                    </a:cubicBezTo>
                    <a:cubicBezTo>
                      <a:pt x="671" y="372"/>
                      <a:pt x="667" y="376"/>
                      <a:pt x="663" y="373"/>
                    </a:cubicBezTo>
                    <a:cubicBezTo>
                      <a:pt x="660" y="370"/>
                      <a:pt x="658" y="368"/>
                      <a:pt x="653" y="371"/>
                    </a:cubicBezTo>
                    <a:cubicBezTo>
                      <a:pt x="649" y="373"/>
                      <a:pt x="643" y="372"/>
                      <a:pt x="633" y="374"/>
                    </a:cubicBezTo>
                    <a:cubicBezTo>
                      <a:pt x="622" y="376"/>
                      <a:pt x="603" y="375"/>
                      <a:pt x="599" y="372"/>
                    </a:cubicBezTo>
                    <a:cubicBezTo>
                      <a:pt x="596" y="368"/>
                      <a:pt x="608" y="362"/>
                      <a:pt x="612" y="363"/>
                    </a:cubicBezTo>
                    <a:cubicBezTo>
                      <a:pt x="616" y="364"/>
                      <a:pt x="614" y="359"/>
                      <a:pt x="608" y="355"/>
                    </a:cubicBezTo>
                    <a:cubicBezTo>
                      <a:pt x="602" y="350"/>
                      <a:pt x="589" y="347"/>
                      <a:pt x="590" y="350"/>
                    </a:cubicBezTo>
                    <a:cubicBezTo>
                      <a:pt x="590" y="353"/>
                      <a:pt x="582" y="350"/>
                      <a:pt x="573" y="349"/>
                    </a:cubicBezTo>
                    <a:cubicBezTo>
                      <a:pt x="564" y="347"/>
                      <a:pt x="563" y="344"/>
                      <a:pt x="557" y="343"/>
                    </a:cubicBezTo>
                    <a:cubicBezTo>
                      <a:pt x="551" y="343"/>
                      <a:pt x="542" y="341"/>
                      <a:pt x="535" y="336"/>
                    </a:cubicBezTo>
                    <a:cubicBezTo>
                      <a:pt x="528" y="330"/>
                      <a:pt x="511" y="332"/>
                      <a:pt x="509" y="337"/>
                    </a:cubicBezTo>
                    <a:cubicBezTo>
                      <a:pt x="507" y="342"/>
                      <a:pt x="502" y="342"/>
                      <a:pt x="496" y="342"/>
                    </a:cubicBezTo>
                    <a:cubicBezTo>
                      <a:pt x="491" y="342"/>
                      <a:pt x="499" y="335"/>
                      <a:pt x="497" y="334"/>
                    </a:cubicBezTo>
                    <a:cubicBezTo>
                      <a:pt x="494" y="333"/>
                      <a:pt x="497" y="326"/>
                      <a:pt x="493" y="326"/>
                    </a:cubicBezTo>
                    <a:cubicBezTo>
                      <a:pt x="489" y="325"/>
                      <a:pt x="485" y="342"/>
                      <a:pt x="478" y="342"/>
                    </a:cubicBezTo>
                    <a:cubicBezTo>
                      <a:pt x="470" y="341"/>
                      <a:pt x="467" y="324"/>
                      <a:pt x="461" y="319"/>
                    </a:cubicBezTo>
                    <a:cubicBezTo>
                      <a:pt x="454" y="315"/>
                      <a:pt x="449" y="314"/>
                      <a:pt x="454" y="321"/>
                    </a:cubicBezTo>
                    <a:cubicBezTo>
                      <a:pt x="459" y="328"/>
                      <a:pt x="449" y="323"/>
                      <a:pt x="450" y="328"/>
                    </a:cubicBezTo>
                    <a:cubicBezTo>
                      <a:pt x="450" y="332"/>
                      <a:pt x="441" y="337"/>
                      <a:pt x="442" y="335"/>
                    </a:cubicBezTo>
                    <a:cubicBezTo>
                      <a:pt x="442" y="332"/>
                      <a:pt x="437" y="330"/>
                      <a:pt x="431" y="337"/>
                    </a:cubicBezTo>
                    <a:cubicBezTo>
                      <a:pt x="425" y="344"/>
                      <a:pt x="420" y="343"/>
                      <a:pt x="420" y="340"/>
                    </a:cubicBezTo>
                    <a:cubicBezTo>
                      <a:pt x="419" y="338"/>
                      <a:pt x="402" y="347"/>
                      <a:pt x="402" y="350"/>
                    </a:cubicBezTo>
                    <a:cubicBezTo>
                      <a:pt x="403" y="353"/>
                      <a:pt x="400" y="355"/>
                      <a:pt x="395" y="355"/>
                    </a:cubicBezTo>
                    <a:cubicBezTo>
                      <a:pt x="390" y="354"/>
                      <a:pt x="394" y="350"/>
                      <a:pt x="398" y="348"/>
                    </a:cubicBezTo>
                    <a:cubicBezTo>
                      <a:pt x="402" y="346"/>
                      <a:pt x="413" y="337"/>
                      <a:pt x="419" y="336"/>
                    </a:cubicBezTo>
                    <a:cubicBezTo>
                      <a:pt x="425" y="335"/>
                      <a:pt x="437" y="330"/>
                      <a:pt x="437" y="327"/>
                    </a:cubicBezTo>
                    <a:cubicBezTo>
                      <a:pt x="437" y="325"/>
                      <a:pt x="431" y="327"/>
                      <a:pt x="427" y="326"/>
                    </a:cubicBezTo>
                    <a:cubicBezTo>
                      <a:pt x="423" y="325"/>
                      <a:pt x="416" y="330"/>
                      <a:pt x="410" y="333"/>
                    </a:cubicBezTo>
                    <a:cubicBezTo>
                      <a:pt x="403" y="336"/>
                      <a:pt x="395" y="335"/>
                      <a:pt x="397" y="339"/>
                    </a:cubicBezTo>
                    <a:cubicBezTo>
                      <a:pt x="399" y="343"/>
                      <a:pt x="391" y="338"/>
                      <a:pt x="389" y="341"/>
                    </a:cubicBezTo>
                    <a:cubicBezTo>
                      <a:pt x="387" y="344"/>
                      <a:pt x="384" y="341"/>
                      <a:pt x="387" y="339"/>
                    </a:cubicBezTo>
                    <a:cubicBezTo>
                      <a:pt x="389" y="338"/>
                      <a:pt x="381" y="335"/>
                      <a:pt x="381" y="337"/>
                    </a:cubicBezTo>
                    <a:cubicBezTo>
                      <a:pt x="381" y="339"/>
                      <a:pt x="379" y="341"/>
                      <a:pt x="373" y="341"/>
                    </a:cubicBezTo>
                    <a:cubicBezTo>
                      <a:pt x="367" y="341"/>
                      <a:pt x="361" y="345"/>
                      <a:pt x="365" y="348"/>
                    </a:cubicBezTo>
                    <a:cubicBezTo>
                      <a:pt x="369" y="351"/>
                      <a:pt x="372" y="353"/>
                      <a:pt x="370" y="355"/>
                    </a:cubicBezTo>
                    <a:cubicBezTo>
                      <a:pt x="368" y="357"/>
                      <a:pt x="361" y="349"/>
                      <a:pt x="353" y="350"/>
                    </a:cubicBezTo>
                    <a:cubicBezTo>
                      <a:pt x="344" y="351"/>
                      <a:pt x="326" y="340"/>
                      <a:pt x="326" y="338"/>
                    </a:cubicBezTo>
                    <a:cubicBezTo>
                      <a:pt x="326" y="335"/>
                      <a:pt x="308" y="338"/>
                      <a:pt x="300" y="335"/>
                    </a:cubicBezTo>
                    <a:cubicBezTo>
                      <a:pt x="293" y="332"/>
                      <a:pt x="282" y="327"/>
                      <a:pt x="277" y="329"/>
                    </a:cubicBezTo>
                    <a:cubicBezTo>
                      <a:pt x="271" y="330"/>
                      <a:pt x="259" y="331"/>
                      <a:pt x="255" y="329"/>
                    </a:cubicBezTo>
                    <a:cubicBezTo>
                      <a:pt x="251" y="327"/>
                      <a:pt x="246" y="326"/>
                      <a:pt x="238" y="327"/>
                    </a:cubicBezTo>
                    <a:cubicBezTo>
                      <a:pt x="229" y="328"/>
                      <a:pt x="224" y="322"/>
                      <a:pt x="214" y="320"/>
                    </a:cubicBezTo>
                    <a:cubicBezTo>
                      <a:pt x="203" y="317"/>
                      <a:pt x="188" y="321"/>
                      <a:pt x="185" y="322"/>
                    </a:cubicBezTo>
                    <a:cubicBezTo>
                      <a:pt x="181" y="323"/>
                      <a:pt x="182" y="318"/>
                      <a:pt x="178" y="319"/>
                    </a:cubicBezTo>
                    <a:cubicBezTo>
                      <a:pt x="173" y="319"/>
                      <a:pt x="177" y="317"/>
                      <a:pt x="174" y="313"/>
                    </a:cubicBezTo>
                    <a:cubicBezTo>
                      <a:pt x="172" y="309"/>
                      <a:pt x="159" y="313"/>
                      <a:pt x="155" y="313"/>
                    </a:cubicBezTo>
                    <a:cubicBezTo>
                      <a:pt x="150" y="314"/>
                      <a:pt x="149" y="311"/>
                      <a:pt x="149" y="309"/>
                    </a:cubicBezTo>
                    <a:cubicBezTo>
                      <a:pt x="149" y="306"/>
                      <a:pt x="145" y="307"/>
                      <a:pt x="143" y="310"/>
                    </a:cubicBezTo>
                    <a:cubicBezTo>
                      <a:pt x="142" y="313"/>
                      <a:pt x="137" y="314"/>
                      <a:pt x="135" y="312"/>
                    </a:cubicBezTo>
                    <a:cubicBezTo>
                      <a:pt x="133" y="310"/>
                      <a:pt x="139" y="309"/>
                      <a:pt x="139" y="307"/>
                    </a:cubicBezTo>
                    <a:cubicBezTo>
                      <a:pt x="139" y="304"/>
                      <a:pt x="133" y="303"/>
                      <a:pt x="130" y="302"/>
                    </a:cubicBezTo>
                    <a:cubicBezTo>
                      <a:pt x="128" y="302"/>
                      <a:pt x="124" y="305"/>
                      <a:pt x="118" y="310"/>
                    </a:cubicBezTo>
                    <a:cubicBezTo>
                      <a:pt x="113" y="314"/>
                      <a:pt x="105" y="314"/>
                      <a:pt x="101" y="313"/>
                    </a:cubicBezTo>
                    <a:cubicBezTo>
                      <a:pt x="96" y="313"/>
                      <a:pt x="90" y="314"/>
                      <a:pt x="90" y="317"/>
                    </a:cubicBezTo>
                    <a:cubicBezTo>
                      <a:pt x="90" y="319"/>
                      <a:pt x="96" y="319"/>
                      <a:pt x="93" y="323"/>
                    </a:cubicBezTo>
                    <a:cubicBezTo>
                      <a:pt x="89" y="326"/>
                      <a:pt x="88" y="318"/>
                      <a:pt x="84" y="322"/>
                    </a:cubicBezTo>
                    <a:cubicBezTo>
                      <a:pt x="81" y="325"/>
                      <a:pt x="70" y="325"/>
                      <a:pt x="68" y="325"/>
                    </a:cubicBezTo>
                    <a:cubicBezTo>
                      <a:pt x="65" y="324"/>
                      <a:pt x="57" y="333"/>
                      <a:pt x="55" y="336"/>
                    </a:cubicBezTo>
                    <a:cubicBezTo>
                      <a:pt x="52" y="338"/>
                      <a:pt x="57" y="340"/>
                      <a:pt x="50" y="348"/>
                    </a:cubicBezTo>
                    <a:cubicBezTo>
                      <a:pt x="43" y="355"/>
                      <a:pt x="25" y="353"/>
                      <a:pt x="21" y="353"/>
                    </a:cubicBezTo>
                    <a:cubicBezTo>
                      <a:pt x="18" y="353"/>
                      <a:pt x="20" y="358"/>
                      <a:pt x="18" y="360"/>
                    </a:cubicBezTo>
                    <a:cubicBezTo>
                      <a:pt x="16" y="363"/>
                      <a:pt x="21" y="366"/>
                      <a:pt x="31" y="368"/>
                    </a:cubicBezTo>
                    <a:cubicBezTo>
                      <a:pt x="41" y="371"/>
                      <a:pt x="48" y="385"/>
                      <a:pt x="49" y="388"/>
                    </a:cubicBezTo>
                    <a:cubicBezTo>
                      <a:pt x="51" y="391"/>
                      <a:pt x="63" y="388"/>
                      <a:pt x="68" y="388"/>
                    </a:cubicBezTo>
                    <a:cubicBezTo>
                      <a:pt x="73" y="389"/>
                      <a:pt x="68" y="396"/>
                      <a:pt x="72" y="398"/>
                    </a:cubicBezTo>
                    <a:cubicBezTo>
                      <a:pt x="76" y="400"/>
                      <a:pt x="83" y="397"/>
                      <a:pt x="84" y="401"/>
                    </a:cubicBezTo>
                    <a:cubicBezTo>
                      <a:pt x="85" y="404"/>
                      <a:pt x="76" y="401"/>
                      <a:pt x="71" y="404"/>
                    </a:cubicBezTo>
                    <a:cubicBezTo>
                      <a:pt x="66" y="408"/>
                      <a:pt x="63" y="410"/>
                      <a:pt x="61" y="407"/>
                    </a:cubicBezTo>
                    <a:cubicBezTo>
                      <a:pt x="59" y="404"/>
                      <a:pt x="51" y="406"/>
                      <a:pt x="47" y="407"/>
                    </a:cubicBezTo>
                    <a:cubicBezTo>
                      <a:pt x="42" y="407"/>
                      <a:pt x="46" y="401"/>
                      <a:pt x="47" y="399"/>
                    </a:cubicBezTo>
                    <a:cubicBezTo>
                      <a:pt x="47" y="396"/>
                      <a:pt x="41" y="395"/>
                      <a:pt x="33" y="399"/>
                    </a:cubicBezTo>
                    <a:cubicBezTo>
                      <a:pt x="24" y="404"/>
                      <a:pt x="27" y="402"/>
                      <a:pt x="26" y="406"/>
                    </a:cubicBezTo>
                    <a:cubicBezTo>
                      <a:pt x="25" y="410"/>
                      <a:pt x="22" y="404"/>
                      <a:pt x="17" y="407"/>
                    </a:cubicBezTo>
                    <a:cubicBezTo>
                      <a:pt x="11" y="410"/>
                      <a:pt x="3" y="413"/>
                      <a:pt x="1" y="416"/>
                    </a:cubicBezTo>
                    <a:cubicBezTo>
                      <a:pt x="0" y="419"/>
                      <a:pt x="13" y="421"/>
                      <a:pt x="18" y="422"/>
                    </a:cubicBezTo>
                    <a:cubicBezTo>
                      <a:pt x="23" y="423"/>
                      <a:pt x="12" y="427"/>
                      <a:pt x="16" y="428"/>
                    </a:cubicBezTo>
                    <a:cubicBezTo>
                      <a:pt x="20" y="429"/>
                      <a:pt x="18" y="433"/>
                      <a:pt x="24" y="436"/>
                    </a:cubicBezTo>
                    <a:cubicBezTo>
                      <a:pt x="30" y="439"/>
                      <a:pt x="44" y="436"/>
                      <a:pt x="48" y="436"/>
                    </a:cubicBezTo>
                    <a:cubicBezTo>
                      <a:pt x="52" y="436"/>
                      <a:pt x="55" y="441"/>
                      <a:pt x="58" y="437"/>
                    </a:cubicBezTo>
                    <a:cubicBezTo>
                      <a:pt x="61" y="434"/>
                      <a:pt x="73" y="425"/>
                      <a:pt x="78" y="430"/>
                    </a:cubicBezTo>
                    <a:cubicBezTo>
                      <a:pt x="84" y="436"/>
                      <a:pt x="72" y="435"/>
                      <a:pt x="75" y="438"/>
                    </a:cubicBezTo>
                    <a:cubicBezTo>
                      <a:pt x="78" y="441"/>
                      <a:pt x="82" y="449"/>
                      <a:pt x="76" y="453"/>
                    </a:cubicBezTo>
                    <a:cubicBezTo>
                      <a:pt x="71" y="457"/>
                      <a:pt x="66" y="454"/>
                      <a:pt x="63" y="454"/>
                    </a:cubicBezTo>
                    <a:cubicBezTo>
                      <a:pt x="60" y="454"/>
                      <a:pt x="61" y="460"/>
                      <a:pt x="57" y="463"/>
                    </a:cubicBezTo>
                    <a:cubicBezTo>
                      <a:pt x="52" y="467"/>
                      <a:pt x="48" y="459"/>
                      <a:pt x="42" y="459"/>
                    </a:cubicBezTo>
                    <a:cubicBezTo>
                      <a:pt x="36" y="459"/>
                      <a:pt x="38" y="467"/>
                      <a:pt x="38" y="471"/>
                    </a:cubicBezTo>
                    <a:cubicBezTo>
                      <a:pt x="38" y="475"/>
                      <a:pt x="29" y="470"/>
                      <a:pt x="27" y="479"/>
                    </a:cubicBezTo>
                    <a:cubicBezTo>
                      <a:pt x="24" y="488"/>
                      <a:pt x="15" y="480"/>
                      <a:pt x="21" y="489"/>
                    </a:cubicBezTo>
                    <a:cubicBezTo>
                      <a:pt x="27" y="498"/>
                      <a:pt x="26" y="492"/>
                      <a:pt x="31" y="496"/>
                    </a:cubicBezTo>
                    <a:cubicBezTo>
                      <a:pt x="36" y="499"/>
                      <a:pt x="26" y="506"/>
                      <a:pt x="31" y="507"/>
                    </a:cubicBezTo>
                    <a:cubicBezTo>
                      <a:pt x="36" y="508"/>
                      <a:pt x="41" y="517"/>
                      <a:pt x="45" y="520"/>
                    </a:cubicBezTo>
                    <a:cubicBezTo>
                      <a:pt x="48" y="523"/>
                      <a:pt x="53" y="518"/>
                      <a:pt x="58" y="518"/>
                    </a:cubicBezTo>
                    <a:cubicBezTo>
                      <a:pt x="63" y="518"/>
                      <a:pt x="61" y="510"/>
                      <a:pt x="64" y="513"/>
                    </a:cubicBezTo>
                    <a:cubicBezTo>
                      <a:pt x="67" y="516"/>
                      <a:pt x="71" y="524"/>
                      <a:pt x="68" y="526"/>
                    </a:cubicBezTo>
                    <a:cubicBezTo>
                      <a:pt x="66" y="528"/>
                      <a:pt x="68" y="534"/>
                      <a:pt x="67" y="537"/>
                    </a:cubicBezTo>
                    <a:cubicBezTo>
                      <a:pt x="67" y="540"/>
                      <a:pt x="79" y="539"/>
                      <a:pt x="80" y="536"/>
                    </a:cubicBezTo>
                    <a:cubicBezTo>
                      <a:pt x="80" y="532"/>
                      <a:pt x="90" y="531"/>
                      <a:pt x="95" y="537"/>
                    </a:cubicBezTo>
                    <a:cubicBezTo>
                      <a:pt x="100" y="543"/>
                      <a:pt x="102" y="544"/>
                      <a:pt x="102" y="539"/>
                    </a:cubicBezTo>
                    <a:cubicBezTo>
                      <a:pt x="102" y="535"/>
                      <a:pt x="107" y="530"/>
                      <a:pt x="107" y="533"/>
                    </a:cubicBezTo>
                    <a:cubicBezTo>
                      <a:pt x="107" y="537"/>
                      <a:pt x="111" y="538"/>
                      <a:pt x="119" y="535"/>
                    </a:cubicBezTo>
                    <a:cubicBezTo>
                      <a:pt x="127" y="531"/>
                      <a:pt x="123" y="535"/>
                      <a:pt x="119" y="540"/>
                    </a:cubicBezTo>
                    <a:cubicBezTo>
                      <a:pt x="114" y="547"/>
                      <a:pt x="119" y="557"/>
                      <a:pt x="115" y="558"/>
                    </a:cubicBezTo>
                    <a:cubicBezTo>
                      <a:pt x="111" y="559"/>
                      <a:pt x="108" y="569"/>
                      <a:pt x="102" y="570"/>
                    </a:cubicBezTo>
                    <a:cubicBezTo>
                      <a:pt x="95" y="571"/>
                      <a:pt x="84" y="583"/>
                      <a:pt x="83" y="585"/>
                    </a:cubicBezTo>
                    <a:cubicBezTo>
                      <a:pt x="81" y="587"/>
                      <a:pt x="67" y="581"/>
                      <a:pt x="65" y="587"/>
                    </a:cubicBezTo>
                    <a:cubicBezTo>
                      <a:pt x="63" y="592"/>
                      <a:pt x="55" y="597"/>
                      <a:pt x="57" y="599"/>
                    </a:cubicBezTo>
                    <a:cubicBezTo>
                      <a:pt x="58" y="600"/>
                      <a:pt x="70" y="595"/>
                      <a:pt x="70" y="592"/>
                    </a:cubicBezTo>
                    <a:cubicBezTo>
                      <a:pt x="71" y="589"/>
                      <a:pt x="72" y="589"/>
                      <a:pt x="74" y="591"/>
                    </a:cubicBezTo>
                    <a:cubicBezTo>
                      <a:pt x="76" y="594"/>
                      <a:pt x="81" y="590"/>
                      <a:pt x="84" y="588"/>
                    </a:cubicBezTo>
                    <a:cubicBezTo>
                      <a:pt x="86" y="586"/>
                      <a:pt x="90" y="587"/>
                      <a:pt x="92" y="587"/>
                    </a:cubicBezTo>
                    <a:cubicBezTo>
                      <a:pt x="94" y="588"/>
                      <a:pt x="95" y="585"/>
                      <a:pt x="102" y="583"/>
                    </a:cubicBezTo>
                    <a:cubicBezTo>
                      <a:pt x="109" y="582"/>
                      <a:pt x="107" y="580"/>
                      <a:pt x="109" y="577"/>
                    </a:cubicBezTo>
                    <a:cubicBezTo>
                      <a:pt x="110" y="573"/>
                      <a:pt x="126" y="566"/>
                      <a:pt x="129" y="565"/>
                    </a:cubicBezTo>
                    <a:cubicBezTo>
                      <a:pt x="132" y="564"/>
                      <a:pt x="130" y="559"/>
                      <a:pt x="134" y="559"/>
                    </a:cubicBezTo>
                    <a:cubicBezTo>
                      <a:pt x="137" y="559"/>
                      <a:pt x="142" y="555"/>
                      <a:pt x="146" y="551"/>
                    </a:cubicBezTo>
                    <a:cubicBezTo>
                      <a:pt x="150" y="548"/>
                      <a:pt x="151" y="549"/>
                      <a:pt x="155" y="548"/>
                    </a:cubicBezTo>
                    <a:cubicBezTo>
                      <a:pt x="158" y="547"/>
                      <a:pt x="155" y="540"/>
                      <a:pt x="159" y="540"/>
                    </a:cubicBezTo>
                    <a:cubicBezTo>
                      <a:pt x="162" y="539"/>
                      <a:pt x="164" y="537"/>
                      <a:pt x="164" y="534"/>
                    </a:cubicBezTo>
                    <a:cubicBezTo>
                      <a:pt x="164" y="531"/>
                      <a:pt x="156" y="531"/>
                      <a:pt x="155" y="529"/>
                    </a:cubicBezTo>
                    <a:cubicBezTo>
                      <a:pt x="155" y="528"/>
                      <a:pt x="162" y="521"/>
                      <a:pt x="165" y="521"/>
                    </a:cubicBezTo>
                    <a:cubicBezTo>
                      <a:pt x="167" y="522"/>
                      <a:pt x="172" y="519"/>
                      <a:pt x="172" y="515"/>
                    </a:cubicBezTo>
                    <a:cubicBezTo>
                      <a:pt x="172" y="511"/>
                      <a:pt x="176" y="510"/>
                      <a:pt x="180" y="506"/>
                    </a:cubicBezTo>
                    <a:cubicBezTo>
                      <a:pt x="183" y="503"/>
                      <a:pt x="182" y="500"/>
                      <a:pt x="185" y="500"/>
                    </a:cubicBezTo>
                    <a:cubicBezTo>
                      <a:pt x="189" y="499"/>
                      <a:pt x="192" y="495"/>
                      <a:pt x="195" y="493"/>
                    </a:cubicBezTo>
                    <a:cubicBezTo>
                      <a:pt x="199" y="491"/>
                      <a:pt x="195" y="495"/>
                      <a:pt x="202" y="496"/>
                    </a:cubicBezTo>
                    <a:cubicBezTo>
                      <a:pt x="209" y="496"/>
                      <a:pt x="207" y="502"/>
                      <a:pt x="202" y="500"/>
                    </a:cubicBezTo>
                    <a:cubicBezTo>
                      <a:pt x="197" y="498"/>
                      <a:pt x="195" y="498"/>
                      <a:pt x="190" y="502"/>
                    </a:cubicBezTo>
                    <a:cubicBezTo>
                      <a:pt x="186" y="506"/>
                      <a:pt x="189" y="508"/>
                      <a:pt x="186" y="512"/>
                    </a:cubicBezTo>
                    <a:cubicBezTo>
                      <a:pt x="182" y="517"/>
                      <a:pt x="182" y="520"/>
                      <a:pt x="187" y="521"/>
                    </a:cubicBezTo>
                    <a:cubicBezTo>
                      <a:pt x="191" y="521"/>
                      <a:pt x="187" y="524"/>
                      <a:pt x="183" y="526"/>
                    </a:cubicBezTo>
                    <a:cubicBezTo>
                      <a:pt x="178" y="527"/>
                      <a:pt x="181" y="529"/>
                      <a:pt x="187" y="529"/>
                    </a:cubicBezTo>
                    <a:cubicBezTo>
                      <a:pt x="193" y="529"/>
                      <a:pt x="201" y="521"/>
                      <a:pt x="209" y="517"/>
                    </a:cubicBezTo>
                    <a:cubicBezTo>
                      <a:pt x="217" y="513"/>
                      <a:pt x="223" y="517"/>
                      <a:pt x="226" y="516"/>
                    </a:cubicBezTo>
                    <a:cubicBezTo>
                      <a:pt x="228" y="516"/>
                      <a:pt x="223" y="512"/>
                      <a:pt x="226" y="511"/>
                    </a:cubicBezTo>
                    <a:cubicBezTo>
                      <a:pt x="229" y="509"/>
                      <a:pt x="223" y="509"/>
                      <a:pt x="221" y="504"/>
                    </a:cubicBezTo>
                    <a:cubicBezTo>
                      <a:pt x="219" y="499"/>
                      <a:pt x="224" y="502"/>
                      <a:pt x="225" y="498"/>
                    </a:cubicBezTo>
                    <a:cubicBezTo>
                      <a:pt x="226" y="495"/>
                      <a:pt x="228" y="496"/>
                      <a:pt x="231" y="498"/>
                    </a:cubicBezTo>
                    <a:cubicBezTo>
                      <a:pt x="233" y="500"/>
                      <a:pt x="237" y="496"/>
                      <a:pt x="239" y="501"/>
                    </a:cubicBezTo>
                    <a:cubicBezTo>
                      <a:pt x="241" y="506"/>
                      <a:pt x="244" y="500"/>
                      <a:pt x="248" y="503"/>
                    </a:cubicBezTo>
                    <a:cubicBezTo>
                      <a:pt x="252" y="506"/>
                      <a:pt x="247" y="506"/>
                      <a:pt x="243" y="507"/>
                    </a:cubicBezTo>
                    <a:cubicBezTo>
                      <a:pt x="239" y="508"/>
                      <a:pt x="241" y="513"/>
                      <a:pt x="244" y="511"/>
                    </a:cubicBezTo>
                    <a:cubicBezTo>
                      <a:pt x="247" y="508"/>
                      <a:pt x="250" y="506"/>
                      <a:pt x="253" y="509"/>
                    </a:cubicBezTo>
                    <a:cubicBezTo>
                      <a:pt x="256" y="512"/>
                      <a:pt x="257" y="510"/>
                      <a:pt x="260" y="508"/>
                    </a:cubicBezTo>
                    <a:cubicBezTo>
                      <a:pt x="262" y="505"/>
                      <a:pt x="262" y="508"/>
                      <a:pt x="262" y="510"/>
                    </a:cubicBezTo>
                    <a:cubicBezTo>
                      <a:pt x="262" y="512"/>
                      <a:pt x="268" y="513"/>
                      <a:pt x="275" y="514"/>
                    </a:cubicBezTo>
                    <a:cubicBezTo>
                      <a:pt x="283" y="515"/>
                      <a:pt x="296" y="514"/>
                      <a:pt x="300" y="513"/>
                    </a:cubicBezTo>
                    <a:cubicBezTo>
                      <a:pt x="303" y="513"/>
                      <a:pt x="302" y="519"/>
                      <a:pt x="310" y="520"/>
                    </a:cubicBezTo>
                    <a:cubicBezTo>
                      <a:pt x="317" y="522"/>
                      <a:pt x="319" y="512"/>
                      <a:pt x="323" y="516"/>
                    </a:cubicBezTo>
                    <a:cubicBezTo>
                      <a:pt x="327" y="519"/>
                      <a:pt x="323" y="520"/>
                      <a:pt x="321" y="523"/>
                    </a:cubicBezTo>
                    <a:cubicBezTo>
                      <a:pt x="319" y="525"/>
                      <a:pt x="324" y="525"/>
                      <a:pt x="327" y="527"/>
                    </a:cubicBezTo>
                    <a:cubicBezTo>
                      <a:pt x="330" y="528"/>
                      <a:pt x="337" y="530"/>
                      <a:pt x="340" y="533"/>
                    </a:cubicBezTo>
                    <a:cubicBezTo>
                      <a:pt x="343" y="536"/>
                      <a:pt x="345" y="540"/>
                      <a:pt x="353" y="544"/>
                    </a:cubicBezTo>
                    <a:cubicBezTo>
                      <a:pt x="361" y="548"/>
                      <a:pt x="353" y="534"/>
                      <a:pt x="360" y="538"/>
                    </a:cubicBezTo>
                    <a:cubicBezTo>
                      <a:pt x="366" y="543"/>
                      <a:pt x="364" y="539"/>
                      <a:pt x="369" y="543"/>
                    </a:cubicBezTo>
                    <a:cubicBezTo>
                      <a:pt x="374" y="548"/>
                      <a:pt x="372" y="541"/>
                      <a:pt x="370" y="534"/>
                    </a:cubicBezTo>
                    <a:cubicBezTo>
                      <a:pt x="367" y="526"/>
                      <a:pt x="372" y="531"/>
                      <a:pt x="374" y="535"/>
                    </a:cubicBezTo>
                    <a:cubicBezTo>
                      <a:pt x="376" y="538"/>
                      <a:pt x="376" y="545"/>
                      <a:pt x="375" y="549"/>
                    </a:cubicBezTo>
                    <a:cubicBezTo>
                      <a:pt x="373" y="554"/>
                      <a:pt x="366" y="550"/>
                      <a:pt x="367" y="548"/>
                    </a:cubicBezTo>
                    <a:cubicBezTo>
                      <a:pt x="367" y="545"/>
                      <a:pt x="359" y="546"/>
                      <a:pt x="359" y="550"/>
                    </a:cubicBezTo>
                    <a:cubicBezTo>
                      <a:pt x="359" y="553"/>
                      <a:pt x="364" y="560"/>
                      <a:pt x="368" y="561"/>
                    </a:cubicBezTo>
                    <a:cubicBezTo>
                      <a:pt x="372" y="561"/>
                      <a:pt x="369" y="568"/>
                      <a:pt x="372" y="568"/>
                    </a:cubicBezTo>
                    <a:cubicBezTo>
                      <a:pt x="375" y="569"/>
                      <a:pt x="375" y="576"/>
                      <a:pt x="377" y="575"/>
                    </a:cubicBezTo>
                    <a:cubicBezTo>
                      <a:pt x="379" y="574"/>
                      <a:pt x="378" y="566"/>
                      <a:pt x="376" y="563"/>
                    </a:cubicBezTo>
                    <a:cubicBezTo>
                      <a:pt x="374" y="559"/>
                      <a:pt x="375" y="554"/>
                      <a:pt x="378" y="555"/>
                    </a:cubicBezTo>
                    <a:cubicBezTo>
                      <a:pt x="381" y="556"/>
                      <a:pt x="378" y="561"/>
                      <a:pt x="379" y="563"/>
                    </a:cubicBezTo>
                    <a:cubicBezTo>
                      <a:pt x="381" y="565"/>
                      <a:pt x="382" y="561"/>
                      <a:pt x="386" y="559"/>
                    </a:cubicBezTo>
                    <a:cubicBezTo>
                      <a:pt x="389" y="557"/>
                      <a:pt x="384" y="552"/>
                      <a:pt x="386" y="549"/>
                    </a:cubicBezTo>
                    <a:cubicBezTo>
                      <a:pt x="387" y="546"/>
                      <a:pt x="391" y="551"/>
                      <a:pt x="392" y="556"/>
                    </a:cubicBezTo>
                    <a:cubicBezTo>
                      <a:pt x="394" y="562"/>
                      <a:pt x="389" y="561"/>
                      <a:pt x="389" y="564"/>
                    </a:cubicBezTo>
                    <a:cubicBezTo>
                      <a:pt x="389" y="567"/>
                      <a:pt x="384" y="566"/>
                      <a:pt x="382" y="567"/>
                    </a:cubicBezTo>
                    <a:cubicBezTo>
                      <a:pt x="381" y="569"/>
                      <a:pt x="382" y="579"/>
                      <a:pt x="384" y="579"/>
                    </a:cubicBezTo>
                    <a:cubicBezTo>
                      <a:pt x="386" y="579"/>
                      <a:pt x="387" y="571"/>
                      <a:pt x="388" y="575"/>
                    </a:cubicBezTo>
                    <a:cubicBezTo>
                      <a:pt x="389" y="579"/>
                      <a:pt x="394" y="569"/>
                      <a:pt x="395" y="573"/>
                    </a:cubicBezTo>
                    <a:cubicBezTo>
                      <a:pt x="397" y="577"/>
                      <a:pt x="403" y="582"/>
                      <a:pt x="405" y="581"/>
                    </a:cubicBezTo>
                    <a:cubicBezTo>
                      <a:pt x="407" y="580"/>
                      <a:pt x="404" y="576"/>
                      <a:pt x="400" y="575"/>
                    </a:cubicBezTo>
                    <a:cubicBezTo>
                      <a:pt x="397" y="575"/>
                      <a:pt x="397" y="569"/>
                      <a:pt x="401" y="569"/>
                    </a:cubicBezTo>
                    <a:cubicBezTo>
                      <a:pt x="404" y="569"/>
                      <a:pt x="410" y="577"/>
                      <a:pt x="409" y="580"/>
                    </a:cubicBezTo>
                    <a:cubicBezTo>
                      <a:pt x="409" y="583"/>
                      <a:pt x="406" y="583"/>
                      <a:pt x="404" y="586"/>
                    </a:cubicBezTo>
                    <a:cubicBezTo>
                      <a:pt x="401" y="589"/>
                      <a:pt x="397" y="581"/>
                      <a:pt x="394" y="581"/>
                    </a:cubicBezTo>
                    <a:cubicBezTo>
                      <a:pt x="391" y="582"/>
                      <a:pt x="394" y="587"/>
                      <a:pt x="395" y="590"/>
                    </a:cubicBezTo>
                    <a:cubicBezTo>
                      <a:pt x="397" y="594"/>
                      <a:pt x="391" y="598"/>
                      <a:pt x="396" y="601"/>
                    </a:cubicBezTo>
                    <a:cubicBezTo>
                      <a:pt x="400" y="604"/>
                      <a:pt x="399" y="599"/>
                      <a:pt x="399" y="597"/>
                    </a:cubicBezTo>
                    <a:cubicBezTo>
                      <a:pt x="400" y="595"/>
                      <a:pt x="403" y="598"/>
                      <a:pt x="406" y="600"/>
                    </a:cubicBezTo>
                    <a:cubicBezTo>
                      <a:pt x="408" y="601"/>
                      <a:pt x="408" y="596"/>
                      <a:pt x="408" y="593"/>
                    </a:cubicBezTo>
                    <a:cubicBezTo>
                      <a:pt x="408" y="591"/>
                      <a:pt x="412" y="592"/>
                      <a:pt x="414" y="595"/>
                    </a:cubicBezTo>
                    <a:cubicBezTo>
                      <a:pt x="416" y="598"/>
                      <a:pt x="416" y="592"/>
                      <a:pt x="419" y="593"/>
                    </a:cubicBezTo>
                    <a:cubicBezTo>
                      <a:pt x="422" y="593"/>
                      <a:pt x="420" y="598"/>
                      <a:pt x="420" y="601"/>
                    </a:cubicBezTo>
                    <a:cubicBezTo>
                      <a:pt x="420" y="603"/>
                      <a:pt x="425" y="598"/>
                      <a:pt x="425" y="601"/>
                    </a:cubicBezTo>
                    <a:cubicBezTo>
                      <a:pt x="424" y="604"/>
                      <a:pt x="427" y="606"/>
                      <a:pt x="430" y="608"/>
                    </a:cubicBezTo>
                    <a:cubicBezTo>
                      <a:pt x="433" y="611"/>
                      <a:pt x="424" y="611"/>
                      <a:pt x="427" y="613"/>
                    </a:cubicBezTo>
                    <a:cubicBezTo>
                      <a:pt x="429" y="615"/>
                      <a:pt x="426" y="619"/>
                      <a:pt x="429" y="622"/>
                    </a:cubicBezTo>
                    <a:cubicBezTo>
                      <a:pt x="431" y="624"/>
                      <a:pt x="436" y="623"/>
                      <a:pt x="438" y="621"/>
                    </a:cubicBezTo>
                    <a:cubicBezTo>
                      <a:pt x="441" y="619"/>
                      <a:pt x="443" y="624"/>
                      <a:pt x="441" y="628"/>
                    </a:cubicBezTo>
                    <a:cubicBezTo>
                      <a:pt x="439" y="631"/>
                      <a:pt x="443" y="634"/>
                      <a:pt x="446" y="631"/>
                    </a:cubicBezTo>
                    <a:cubicBezTo>
                      <a:pt x="448" y="629"/>
                      <a:pt x="453" y="636"/>
                      <a:pt x="455" y="637"/>
                    </a:cubicBezTo>
                    <a:cubicBezTo>
                      <a:pt x="457" y="638"/>
                      <a:pt x="459" y="642"/>
                      <a:pt x="456" y="642"/>
                    </a:cubicBezTo>
                    <a:cubicBezTo>
                      <a:pt x="452" y="642"/>
                      <a:pt x="452" y="649"/>
                      <a:pt x="455" y="649"/>
                    </a:cubicBezTo>
                    <a:cubicBezTo>
                      <a:pt x="458" y="649"/>
                      <a:pt x="458" y="653"/>
                      <a:pt x="458" y="655"/>
                    </a:cubicBezTo>
                    <a:cubicBezTo>
                      <a:pt x="458" y="657"/>
                      <a:pt x="466" y="660"/>
                      <a:pt x="470" y="659"/>
                    </a:cubicBezTo>
                    <a:cubicBezTo>
                      <a:pt x="473" y="658"/>
                      <a:pt x="476" y="661"/>
                      <a:pt x="477" y="664"/>
                    </a:cubicBezTo>
                    <a:cubicBezTo>
                      <a:pt x="479" y="667"/>
                      <a:pt x="485" y="669"/>
                      <a:pt x="487" y="667"/>
                    </a:cubicBezTo>
                    <a:cubicBezTo>
                      <a:pt x="489" y="665"/>
                      <a:pt x="491" y="670"/>
                      <a:pt x="491" y="674"/>
                    </a:cubicBezTo>
                    <a:cubicBezTo>
                      <a:pt x="492" y="677"/>
                      <a:pt x="497" y="675"/>
                      <a:pt x="500" y="675"/>
                    </a:cubicBezTo>
                    <a:cubicBezTo>
                      <a:pt x="503" y="675"/>
                      <a:pt x="505" y="679"/>
                      <a:pt x="507" y="678"/>
                    </a:cubicBezTo>
                    <a:cubicBezTo>
                      <a:pt x="512" y="677"/>
                      <a:pt x="513" y="686"/>
                      <a:pt x="516" y="690"/>
                    </a:cubicBezTo>
                    <a:cubicBezTo>
                      <a:pt x="520" y="694"/>
                      <a:pt x="517" y="697"/>
                      <a:pt x="518" y="702"/>
                    </a:cubicBezTo>
                    <a:cubicBezTo>
                      <a:pt x="520" y="707"/>
                      <a:pt x="519" y="714"/>
                      <a:pt x="515" y="714"/>
                    </a:cubicBezTo>
                    <a:cubicBezTo>
                      <a:pt x="511" y="714"/>
                      <a:pt x="511" y="709"/>
                      <a:pt x="513" y="708"/>
                    </a:cubicBezTo>
                    <a:cubicBezTo>
                      <a:pt x="516" y="706"/>
                      <a:pt x="515" y="701"/>
                      <a:pt x="512" y="701"/>
                    </a:cubicBezTo>
                    <a:cubicBezTo>
                      <a:pt x="509" y="701"/>
                      <a:pt x="509" y="695"/>
                      <a:pt x="511" y="692"/>
                    </a:cubicBezTo>
                    <a:cubicBezTo>
                      <a:pt x="513" y="689"/>
                      <a:pt x="507" y="691"/>
                      <a:pt x="504" y="688"/>
                    </a:cubicBezTo>
                    <a:cubicBezTo>
                      <a:pt x="501" y="684"/>
                      <a:pt x="492" y="685"/>
                      <a:pt x="491" y="682"/>
                    </a:cubicBezTo>
                    <a:cubicBezTo>
                      <a:pt x="490" y="678"/>
                      <a:pt x="482" y="667"/>
                      <a:pt x="478" y="667"/>
                    </a:cubicBezTo>
                    <a:cubicBezTo>
                      <a:pt x="473" y="667"/>
                      <a:pt x="468" y="667"/>
                      <a:pt x="463" y="664"/>
                    </a:cubicBezTo>
                    <a:cubicBezTo>
                      <a:pt x="458" y="660"/>
                      <a:pt x="455" y="660"/>
                      <a:pt x="451" y="662"/>
                    </a:cubicBezTo>
                    <a:cubicBezTo>
                      <a:pt x="448" y="664"/>
                      <a:pt x="455" y="665"/>
                      <a:pt x="455" y="667"/>
                    </a:cubicBezTo>
                    <a:cubicBezTo>
                      <a:pt x="454" y="670"/>
                      <a:pt x="457" y="671"/>
                      <a:pt x="460" y="671"/>
                    </a:cubicBezTo>
                    <a:cubicBezTo>
                      <a:pt x="463" y="670"/>
                      <a:pt x="465" y="676"/>
                      <a:pt x="468" y="677"/>
                    </a:cubicBezTo>
                    <a:cubicBezTo>
                      <a:pt x="471" y="677"/>
                      <a:pt x="472" y="682"/>
                      <a:pt x="475" y="682"/>
                    </a:cubicBezTo>
                    <a:cubicBezTo>
                      <a:pt x="479" y="682"/>
                      <a:pt x="479" y="686"/>
                      <a:pt x="481" y="688"/>
                    </a:cubicBezTo>
                    <a:cubicBezTo>
                      <a:pt x="483" y="690"/>
                      <a:pt x="487" y="688"/>
                      <a:pt x="487" y="690"/>
                    </a:cubicBezTo>
                    <a:cubicBezTo>
                      <a:pt x="487" y="693"/>
                      <a:pt x="492" y="695"/>
                      <a:pt x="492" y="698"/>
                    </a:cubicBezTo>
                    <a:cubicBezTo>
                      <a:pt x="492" y="701"/>
                      <a:pt x="494" y="707"/>
                      <a:pt x="498" y="713"/>
                    </a:cubicBezTo>
                    <a:cubicBezTo>
                      <a:pt x="502" y="718"/>
                      <a:pt x="499" y="721"/>
                      <a:pt x="503" y="723"/>
                    </a:cubicBezTo>
                    <a:cubicBezTo>
                      <a:pt x="507" y="725"/>
                      <a:pt x="506" y="727"/>
                      <a:pt x="503" y="727"/>
                    </a:cubicBezTo>
                    <a:cubicBezTo>
                      <a:pt x="499" y="726"/>
                      <a:pt x="502" y="730"/>
                      <a:pt x="501" y="737"/>
                    </a:cubicBezTo>
                    <a:cubicBezTo>
                      <a:pt x="499" y="745"/>
                      <a:pt x="500" y="760"/>
                      <a:pt x="499" y="765"/>
                    </a:cubicBezTo>
                    <a:cubicBezTo>
                      <a:pt x="498" y="770"/>
                      <a:pt x="493" y="777"/>
                      <a:pt x="496" y="782"/>
                    </a:cubicBezTo>
                    <a:cubicBezTo>
                      <a:pt x="499" y="787"/>
                      <a:pt x="501" y="794"/>
                      <a:pt x="500" y="801"/>
                    </a:cubicBezTo>
                    <a:cubicBezTo>
                      <a:pt x="498" y="807"/>
                      <a:pt x="498" y="811"/>
                      <a:pt x="501" y="815"/>
                    </a:cubicBezTo>
                    <a:cubicBezTo>
                      <a:pt x="504" y="820"/>
                      <a:pt x="501" y="828"/>
                      <a:pt x="504" y="830"/>
                    </a:cubicBezTo>
                    <a:cubicBezTo>
                      <a:pt x="507" y="832"/>
                      <a:pt x="510" y="835"/>
                      <a:pt x="513" y="840"/>
                    </a:cubicBezTo>
                    <a:cubicBezTo>
                      <a:pt x="516" y="844"/>
                      <a:pt x="518" y="842"/>
                      <a:pt x="519" y="846"/>
                    </a:cubicBezTo>
                    <a:cubicBezTo>
                      <a:pt x="519" y="851"/>
                      <a:pt x="519" y="851"/>
                      <a:pt x="523" y="853"/>
                    </a:cubicBezTo>
                    <a:cubicBezTo>
                      <a:pt x="527" y="855"/>
                      <a:pt x="525" y="859"/>
                      <a:pt x="525" y="862"/>
                    </a:cubicBezTo>
                    <a:cubicBezTo>
                      <a:pt x="525" y="864"/>
                      <a:pt x="530" y="869"/>
                      <a:pt x="536" y="875"/>
                    </a:cubicBezTo>
                    <a:cubicBezTo>
                      <a:pt x="543" y="880"/>
                      <a:pt x="537" y="885"/>
                      <a:pt x="542" y="885"/>
                    </a:cubicBezTo>
                    <a:cubicBezTo>
                      <a:pt x="547" y="885"/>
                      <a:pt x="551" y="888"/>
                      <a:pt x="556" y="891"/>
                    </a:cubicBezTo>
                    <a:cubicBezTo>
                      <a:pt x="561" y="894"/>
                      <a:pt x="562" y="892"/>
                      <a:pt x="566" y="893"/>
                    </a:cubicBezTo>
                    <a:cubicBezTo>
                      <a:pt x="569" y="894"/>
                      <a:pt x="575" y="901"/>
                      <a:pt x="576" y="905"/>
                    </a:cubicBezTo>
                    <a:cubicBezTo>
                      <a:pt x="577" y="910"/>
                      <a:pt x="579" y="915"/>
                      <a:pt x="585" y="922"/>
                    </a:cubicBezTo>
                    <a:cubicBezTo>
                      <a:pt x="590" y="928"/>
                      <a:pt x="594" y="940"/>
                      <a:pt x="594" y="944"/>
                    </a:cubicBezTo>
                    <a:cubicBezTo>
                      <a:pt x="595" y="948"/>
                      <a:pt x="602" y="951"/>
                      <a:pt x="608" y="955"/>
                    </a:cubicBezTo>
                    <a:cubicBezTo>
                      <a:pt x="614" y="959"/>
                      <a:pt x="614" y="968"/>
                      <a:pt x="614" y="970"/>
                    </a:cubicBezTo>
                    <a:cubicBezTo>
                      <a:pt x="613" y="972"/>
                      <a:pt x="605" y="969"/>
                      <a:pt x="605" y="971"/>
                    </a:cubicBezTo>
                    <a:cubicBezTo>
                      <a:pt x="604" y="973"/>
                      <a:pt x="615" y="982"/>
                      <a:pt x="619" y="981"/>
                    </a:cubicBezTo>
                    <a:cubicBezTo>
                      <a:pt x="623" y="981"/>
                      <a:pt x="625" y="983"/>
                      <a:pt x="631" y="989"/>
                    </a:cubicBezTo>
                    <a:cubicBezTo>
                      <a:pt x="637" y="994"/>
                      <a:pt x="637" y="1001"/>
                      <a:pt x="634" y="1003"/>
                    </a:cubicBezTo>
                    <a:cubicBezTo>
                      <a:pt x="632" y="1005"/>
                      <a:pt x="639" y="1009"/>
                      <a:pt x="647" y="1014"/>
                    </a:cubicBezTo>
                    <a:cubicBezTo>
                      <a:pt x="655" y="1020"/>
                      <a:pt x="658" y="1026"/>
                      <a:pt x="659" y="1029"/>
                    </a:cubicBezTo>
                    <a:cubicBezTo>
                      <a:pt x="660" y="1032"/>
                      <a:pt x="663" y="1029"/>
                      <a:pt x="665" y="1025"/>
                    </a:cubicBezTo>
                    <a:cubicBezTo>
                      <a:pt x="666" y="1022"/>
                      <a:pt x="662" y="1021"/>
                      <a:pt x="662" y="1016"/>
                    </a:cubicBezTo>
                    <a:cubicBezTo>
                      <a:pt x="662" y="1012"/>
                      <a:pt x="656" y="1013"/>
                      <a:pt x="653" y="1012"/>
                    </a:cubicBezTo>
                    <a:cubicBezTo>
                      <a:pt x="650" y="1012"/>
                      <a:pt x="653" y="1005"/>
                      <a:pt x="650" y="1002"/>
                    </a:cubicBezTo>
                    <a:cubicBezTo>
                      <a:pt x="647" y="999"/>
                      <a:pt x="644" y="992"/>
                      <a:pt x="643" y="986"/>
                    </a:cubicBezTo>
                    <a:cubicBezTo>
                      <a:pt x="641" y="981"/>
                      <a:pt x="633" y="975"/>
                      <a:pt x="630" y="969"/>
                    </a:cubicBezTo>
                    <a:cubicBezTo>
                      <a:pt x="627" y="963"/>
                      <a:pt x="623" y="959"/>
                      <a:pt x="621" y="957"/>
                    </a:cubicBezTo>
                    <a:cubicBezTo>
                      <a:pt x="619" y="956"/>
                      <a:pt x="624" y="953"/>
                      <a:pt x="622" y="951"/>
                    </a:cubicBezTo>
                    <a:cubicBezTo>
                      <a:pt x="620" y="949"/>
                      <a:pt x="617" y="949"/>
                      <a:pt x="614" y="947"/>
                    </a:cubicBezTo>
                    <a:cubicBezTo>
                      <a:pt x="610" y="946"/>
                      <a:pt x="607" y="943"/>
                      <a:pt x="607" y="939"/>
                    </a:cubicBezTo>
                    <a:cubicBezTo>
                      <a:pt x="607" y="935"/>
                      <a:pt x="605" y="925"/>
                      <a:pt x="604" y="922"/>
                    </a:cubicBezTo>
                    <a:cubicBezTo>
                      <a:pt x="602" y="919"/>
                      <a:pt x="606" y="919"/>
                      <a:pt x="608" y="921"/>
                    </a:cubicBezTo>
                    <a:cubicBezTo>
                      <a:pt x="609" y="922"/>
                      <a:pt x="610" y="924"/>
                      <a:pt x="612" y="923"/>
                    </a:cubicBezTo>
                    <a:cubicBezTo>
                      <a:pt x="613" y="922"/>
                      <a:pt x="616" y="922"/>
                      <a:pt x="618" y="925"/>
                    </a:cubicBezTo>
                    <a:cubicBezTo>
                      <a:pt x="619" y="928"/>
                      <a:pt x="623" y="925"/>
                      <a:pt x="625" y="927"/>
                    </a:cubicBezTo>
                    <a:cubicBezTo>
                      <a:pt x="627" y="928"/>
                      <a:pt x="621" y="929"/>
                      <a:pt x="627" y="941"/>
                    </a:cubicBezTo>
                    <a:cubicBezTo>
                      <a:pt x="634" y="952"/>
                      <a:pt x="629" y="946"/>
                      <a:pt x="629" y="954"/>
                    </a:cubicBezTo>
                    <a:cubicBezTo>
                      <a:pt x="629" y="961"/>
                      <a:pt x="633" y="958"/>
                      <a:pt x="634" y="957"/>
                    </a:cubicBezTo>
                    <a:cubicBezTo>
                      <a:pt x="636" y="955"/>
                      <a:pt x="639" y="959"/>
                      <a:pt x="642" y="963"/>
                    </a:cubicBezTo>
                    <a:cubicBezTo>
                      <a:pt x="646" y="967"/>
                      <a:pt x="652" y="967"/>
                      <a:pt x="652" y="970"/>
                    </a:cubicBezTo>
                    <a:cubicBezTo>
                      <a:pt x="652" y="972"/>
                      <a:pt x="653" y="976"/>
                      <a:pt x="657" y="977"/>
                    </a:cubicBezTo>
                    <a:cubicBezTo>
                      <a:pt x="662" y="978"/>
                      <a:pt x="662" y="983"/>
                      <a:pt x="665" y="983"/>
                    </a:cubicBezTo>
                    <a:cubicBezTo>
                      <a:pt x="668" y="984"/>
                      <a:pt x="668" y="987"/>
                      <a:pt x="667" y="990"/>
                    </a:cubicBezTo>
                    <a:cubicBezTo>
                      <a:pt x="665" y="993"/>
                      <a:pt x="667" y="996"/>
                      <a:pt x="674" y="999"/>
                    </a:cubicBezTo>
                    <a:cubicBezTo>
                      <a:pt x="681" y="1001"/>
                      <a:pt x="678" y="1002"/>
                      <a:pt x="683" y="1007"/>
                    </a:cubicBezTo>
                    <a:cubicBezTo>
                      <a:pt x="689" y="1012"/>
                      <a:pt x="704" y="1029"/>
                      <a:pt x="707" y="1034"/>
                    </a:cubicBezTo>
                    <a:cubicBezTo>
                      <a:pt x="711" y="1039"/>
                      <a:pt x="712" y="1043"/>
                      <a:pt x="713" y="1046"/>
                    </a:cubicBezTo>
                    <a:cubicBezTo>
                      <a:pt x="714" y="1050"/>
                      <a:pt x="710" y="1052"/>
                      <a:pt x="712" y="1055"/>
                    </a:cubicBezTo>
                    <a:cubicBezTo>
                      <a:pt x="714" y="1058"/>
                      <a:pt x="709" y="1056"/>
                      <a:pt x="709" y="1059"/>
                    </a:cubicBezTo>
                    <a:cubicBezTo>
                      <a:pt x="709" y="1061"/>
                      <a:pt x="712" y="1072"/>
                      <a:pt x="718" y="1073"/>
                    </a:cubicBezTo>
                    <a:cubicBezTo>
                      <a:pt x="723" y="1073"/>
                      <a:pt x="730" y="1080"/>
                      <a:pt x="734" y="1084"/>
                    </a:cubicBezTo>
                    <a:cubicBezTo>
                      <a:pt x="739" y="1087"/>
                      <a:pt x="745" y="1087"/>
                      <a:pt x="752" y="1089"/>
                    </a:cubicBezTo>
                    <a:cubicBezTo>
                      <a:pt x="759" y="1092"/>
                      <a:pt x="765" y="1098"/>
                      <a:pt x="774" y="1100"/>
                    </a:cubicBezTo>
                    <a:cubicBezTo>
                      <a:pt x="784" y="1103"/>
                      <a:pt x="794" y="1107"/>
                      <a:pt x="800" y="1111"/>
                    </a:cubicBezTo>
                    <a:cubicBezTo>
                      <a:pt x="806" y="1115"/>
                      <a:pt x="814" y="1114"/>
                      <a:pt x="823" y="1110"/>
                    </a:cubicBezTo>
                    <a:cubicBezTo>
                      <a:pt x="831" y="1107"/>
                      <a:pt x="838" y="1111"/>
                      <a:pt x="843" y="1113"/>
                    </a:cubicBezTo>
                    <a:cubicBezTo>
                      <a:pt x="848" y="1115"/>
                      <a:pt x="863" y="1130"/>
                      <a:pt x="868" y="1133"/>
                    </a:cubicBezTo>
                    <a:cubicBezTo>
                      <a:pt x="872" y="1136"/>
                      <a:pt x="880" y="1133"/>
                      <a:pt x="883" y="1136"/>
                    </a:cubicBezTo>
                    <a:cubicBezTo>
                      <a:pt x="887" y="1139"/>
                      <a:pt x="902" y="1144"/>
                      <a:pt x="906" y="1144"/>
                    </a:cubicBezTo>
                    <a:cubicBezTo>
                      <a:pt x="910" y="1144"/>
                      <a:pt x="910" y="1140"/>
                      <a:pt x="913" y="1142"/>
                    </a:cubicBezTo>
                    <a:cubicBezTo>
                      <a:pt x="916" y="1145"/>
                      <a:pt x="911" y="1148"/>
                      <a:pt x="915" y="1151"/>
                    </a:cubicBezTo>
                    <a:cubicBezTo>
                      <a:pt x="919" y="1153"/>
                      <a:pt x="925" y="1162"/>
                      <a:pt x="929" y="1164"/>
                    </a:cubicBezTo>
                    <a:cubicBezTo>
                      <a:pt x="933" y="1166"/>
                      <a:pt x="934" y="1171"/>
                      <a:pt x="932" y="1173"/>
                    </a:cubicBezTo>
                    <a:cubicBezTo>
                      <a:pt x="930" y="1174"/>
                      <a:pt x="930" y="1180"/>
                      <a:pt x="935" y="1183"/>
                    </a:cubicBezTo>
                    <a:cubicBezTo>
                      <a:pt x="941" y="1185"/>
                      <a:pt x="939" y="1181"/>
                      <a:pt x="942" y="1181"/>
                    </a:cubicBezTo>
                    <a:cubicBezTo>
                      <a:pt x="944" y="1181"/>
                      <a:pt x="944" y="1186"/>
                      <a:pt x="947" y="1186"/>
                    </a:cubicBezTo>
                    <a:cubicBezTo>
                      <a:pt x="949" y="1186"/>
                      <a:pt x="955" y="1189"/>
                      <a:pt x="955" y="1193"/>
                    </a:cubicBezTo>
                    <a:cubicBezTo>
                      <a:pt x="954" y="1197"/>
                      <a:pt x="957" y="1198"/>
                      <a:pt x="961" y="1198"/>
                    </a:cubicBezTo>
                    <a:cubicBezTo>
                      <a:pt x="966" y="1198"/>
                      <a:pt x="975" y="1201"/>
                      <a:pt x="978" y="1205"/>
                    </a:cubicBezTo>
                    <a:cubicBezTo>
                      <a:pt x="982" y="1210"/>
                      <a:pt x="984" y="1207"/>
                      <a:pt x="987" y="1211"/>
                    </a:cubicBezTo>
                    <a:cubicBezTo>
                      <a:pt x="989" y="1215"/>
                      <a:pt x="994" y="1211"/>
                      <a:pt x="995" y="1208"/>
                    </a:cubicBezTo>
                    <a:cubicBezTo>
                      <a:pt x="997" y="1206"/>
                      <a:pt x="993" y="1205"/>
                      <a:pt x="992" y="1202"/>
                    </a:cubicBezTo>
                    <a:cubicBezTo>
                      <a:pt x="992" y="1199"/>
                      <a:pt x="997" y="1200"/>
                      <a:pt x="998" y="1197"/>
                    </a:cubicBezTo>
                    <a:cubicBezTo>
                      <a:pt x="999" y="1193"/>
                      <a:pt x="1007" y="1191"/>
                      <a:pt x="1011" y="1193"/>
                    </a:cubicBezTo>
                    <a:cubicBezTo>
                      <a:pt x="1014" y="1194"/>
                      <a:pt x="1017" y="1197"/>
                      <a:pt x="1014" y="1200"/>
                    </a:cubicBezTo>
                    <a:cubicBezTo>
                      <a:pt x="1011" y="1204"/>
                      <a:pt x="1021" y="1212"/>
                      <a:pt x="1024" y="1216"/>
                    </a:cubicBezTo>
                    <a:cubicBezTo>
                      <a:pt x="1028" y="1219"/>
                      <a:pt x="1025" y="1222"/>
                      <a:pt x="1026" y="1224"/>
                    </a:cubicBezTo>
                    <a:cubicBezTo>
                      <a:pt x="1027" y="1226"/>
                      <a:pt x="1028" y="1229"/>
                      <a:pt x="1026" y="1231"/>
                    </a:cubicBezTo>
                    <a:cubicBezTo>
                      <a:pt x="1024" y="1232"/>
                      <a:pt x="1026" y="1246"/>
                      <a:pt x="1028" y="1248"/>
                    </a:cubicBezTo>
                    <a:cubicBezTo>
                      <a:pt x="1031" y="1251"/>
                      <a:pt x="1028" y="1253"/>
                      <a:pt x="1026" y="1258"/>
                    </a:cubicBezTo>
                    <a:cubicBezTo>
                      <a:pt x="1023" y="1263"/>
                      <a:pt x="1021" y="1265"/>
                      <a:pt x="1017" y="1265"/>
                    </a:cubicBezTo>
                    <a:cubicBezTo>
                      <a:pt x="1012" y="1266"/>
                      <a:pt x="1012" y="1273"/>
                      <a:pt x="1011" y="1273"/>
                    </a:cubicBezTo>
                    <a:cubicBezTo>
                      <a:pt x="1009" y="1273"/>
                      <a:pt x="1008" y="1277"/>
                      <a:pt x="1009" y="1279"/>
                    </a:cubicBezTo>
                    <a:cubicBezTo>
                      <a:pt x="1009" y="1281"/>
                      <a:pt x="1005" y="1283"/>
                      <a:pt x="1001" y="1283"/>
                    </a:cubicBezTo>
                    <a:cubicBezTo>
                      <a:pt x="997" y="1283"/>
                      <a:pt x="997" y="1288"/>
                      <a:pt x="997" y="1291"/>
                    </a:cubicBezTo>
                    <a:cubicBezTo>
                      <a:pt x="997" y="1294"/>
                      <a:pt x="994" y="1294"/>
                      <a:pt x="992" y="1298"/>
                    </a:cubicBezTo>
                    <a:cubicBezTo>
                      <a:pt x="991" y="1301"/>
                      <a:pt x="993" y="1302"/>
                      <a:pt x="989" y="1304"/>
                    </a:cubicBezTo>
                    <a:cubicBezTo>
                      <a:pt x="986" y="1306"/>
                      <a:pt x="985" y="1309"/>
                      <a:pt x="987" y="1312"/>
                    </a:cubicBezTo>
                    <a:cubicBezTo>
                      <a:pt x="989" y="1315"/>
                      <a:pt x="986" y="1317"/>
                      <a:pt x="986" y="1319"/>
                    </a:cubicBezTo>
                    <a:cubicBezTo>
                      <a:pt x="985" y="1321"/>
                      <a:pt x="989" y="1322"/>
                      <a:pt x="992" y="1325"/>
                    </a:cubicBezTo>
                    <a:cubicBezTo>
                      <a:pt x="996" y="1328"/>
                      <a:pt x="996" y="1324"/>
                      <a:pt x="998" y="1326"/>
                    </a:cubicBezTo>
                    <a:cubicBezTo>
                      <a:pt x="999" y="1329"/>
                      <a:pt x="997" y="1333"/>
                      <a:pt x="993" y="1333"/>
                    </a:cubicBezTo>
                    <a:cubicBezTo>
                      <a:pt x="989" y="1333"/>
                      <a:pt x="985" y="1339"/>
                      <a:pt x="983" y="1343"/>
                    </a:cubicBezTo>
                    <a:cubicBezTo>
                      <a:pt x="981" y="1347"/>
                      <a:pt x="986" y="1356"/>
                      <a:pt x="987" y="1359"/>
                    </a:cubicBezTo>
                    <a:cubicBezTo>
                      <a:pt x="988" y="1362"/>
                      <a:pt x="984" y="1359"/>
                      <a:pt x="983" y="1362"/>
                    </a:cubicBezTo>
                    <a:cubicBezTo>
                      <a:pt x="983" y="1364"/>
                      <a:pt x="992" y="1368"/>
                      <a:pt x="996" y="1371"/>
                    </a:cubicBezTo>
                    <a:cubicBezTo>
                      <a:pt x="1000" y="1374"/>
                      <a:pt x="1003" y="1383"/>
                      <a:pt x="1007" y="1387"/>
                    </a:cubicBezTo>
                    <a:cubicBezTo>
                      <a:pt x="1011" y="1391"/>
                      <a:pt x="1011" y="1394"/>
                      <a:pt x="1015" y="1404"/>
                    </a:cubicBezTo>
                    <a:cubicBezTo>
                      <a:pt x="1019" y="1414"/>
                      <a:pt x="1027" y="1430"/>
                      <a:pt x="1032" y="1437"/>
                    </a:cubicBezTo>
                    <a:cubicBezTo>
                      <a:pt x="1038" y="1444"/>
                      <a:pt x="1040" y="1450"/>
                      <a:pt x="1039" y="1452"/>
                    </a:cubicBezTo>
                    <a:cubicBezTo>
                      <a:pt x="1038" y="1454"/>
                      <a:pt x="1039" y="1459"/>
                      <a:pt x="1043" y="1462"/>
                    </a:cubicBezTo>
                    <a:cubicBezTo>
                      <a:pt x="1047" y="1465"/>
                      <a:pt x="1051" y="1469"/>
                      <a:pt x="1061" y="1475"/>
                    </a:cubicBezTo>
                    <a:cubicBezTo>
                      <a:pt x="1072" y="1480"/>
                      <a:pt x="1091" y="1490"/>
                      <a:pt x="1094" y="1495"/>
                    </a:cubicBezTo>
                    <a:cubicBezTo>
                      <a:pt x="1096" y="1499"/>
                      <a:pt x="1105" y="1504"/>
                      <a:pt x="1107" y="1505"/>
                    </a:cubicBezTo>
                    <a:cubicBezTo>
                      <a:pt x="1109" y="1506"/>
                      <a:pt x="1106" y="1513"/>
                      <a:pt x="1108" y="1517"/>
                    </a:cubicBezTo>
                    <a:cubicBezTo>
                      <a:pt x="1109" y="1521"/>
                      <a:pt x="1110" y="1539"/>
                      <a:pt x="1109" y="1546"/>
                    </a:cubicBezTo>
                    <a:cubicBezTo>
                      <a:pt x="1107" y="1553"/>
                      <a:pt x="1106" y="1559"/>
                      <a:pt x="1104" y="1563"/>
                    </a:cubicBezTo>
                    <a:cubicBezTo>
                      <a:pt x="1103" y="1567"/>
                      <a:pt x="1108" y="1568"/>
                      <a:pt x="1106" y="1570"/>
                    </a:cubicBezTo>
                    <a:cubicBezTo>
                      <a:pt x="1104" y="1572"/>
                      <a:pt x="1104" y="1577"/>
                      <a:pt x="1104" y="1585"/>
                    </a:cubicBezTo>
                    <a:cubicBezTo>
                      <a:pt x="1104" y="1593"/>
                      <a:pt x="1100" y="1606"/>
                      <a:pt x="1099" y="1610"/>
                    </a:cubicBezTo>
                    <a:cubicBezTo>
                      <a:pt x="1099" y="1615"/>
                      <a:pt x="1096" y="1617"/>
                      <a:pt x="1096" y="1622"/>
                    </a:cubicBezTo>
                    <a:cubicBezTo>
                      <a:pt x="1097" y="1627"/>
                      <a:pt x="1094" y="1630"/>
                      <a:pt x="1091" y="1632"/>
                    </a:cubicBezTo>
                    <a:cubicBezTo>
                      <a:pt x="1089" y="1634"/>
                      <a:pt x="1096" y="1641"/>
                      <a:pt x="1096" y="1645"/>
                    </a:cubicBezTo>
                    <a:cubicBezTo>
                      <a:pt x="1095" y="1649"/>
                      <a:pt x="1090" y="1651"/>
                      <a:pt x="1091" y="1658"/>
                    </a:cubicBezTo>
                    <a:cubicBezTo>
                      <a:pt x="1093" y="1666"/>
                      <a:pt x="1091" y="1680"/>
                      <a:pt x="1091" y="1682"/>
                    </a:cubicBezTo>
                    <a:cubicBezTo>
                      <a:pt x="1091" y="1685"/>
                      <a:pt x="1088" y="1685"/>
                      <a:pt x="1089" y="1690"/>
                    </a:cubicBezTo>
                    <a:cubicBezTo>
                      <a:pt x="1090" y="1695"/>
                      <a:pt x="1086" y="1697"/>
                      <a:pt x="1085" y="1704"/>
                    </a:cubicBezTo>
                    <a:cubicBezTo>
                      <a:pt x="1084" y="1712"/>
                      <a:pt x="1078" y="1722"/>
                      <a:pt x="1076" y="1728"/>
                    </a:cubicBezTo>
                    <a:cubicBezTo>
                      <a:pt x="1074" y="1734"/>
                      <a:pt x="1074" y="1737"/>
                      <a:pt x="1071" y="1737"/>
                    </a:cubicBezTo>
                    <a:cubicBezTo>
                      <a:pt x="1068" y="1737"/>
                      <a:pt x="1067" y="1740"/>
                      <a:pt x="1069" y="1745"/>
                    </a:cubicBezTo>
                    <a:cubicBezTo>
                      <a:pt x="1072" y="1750"/>
                      <a:pt x="1068" y="1755"/>
                      <a:pt x="1071" y="1760"/>
                    </a:cubicBezTo>
                    <a:cubicBezTo>
                      <a:pt x="1074" y="1765"/>
                      <a:pt x="1073" y="1766"/>
                      <a:pt x="1071" y="1771"/>
                    </a:cubicBezTo>
                    <a:cubicBezTo>
                      <a:pt x="1070" y="1776"/>
                      <a:pt x="1068" y="1776"/>
                      <a:pt x="1068" y="1781"/>
                    </a:cubicBezTo>
                    <a:cubicBezTo>
                      <a:pt x="1068" y="1785"/>
                      <a:pt x="1064" y="1789"/>
                      <a:pt x="1066" y="1794"/>
                    </a:cubicBezTo>
                    <a:cubicBezTo>
                      <a:pt x="1068" y="1799"/>
                      <a:pt x="1068" y="1801"/>
                      <a:pt x="1065" y="1801"/>
                    </a:cubicBezTo>
                    <a:cubicBezTo>
                      <a:pt x="1063" y="1801"/>
                      <a:pt x="1062" y="1805"/>
                      <a:pt x="1061" y="1813"/>
                    </a:cubicBezTo>
                    <a:cubicBezTo>
                      <a:pt x="1060" y="1821"/>
                      <a:pt x="1060" y="1821"/>
                      <a:pt x="1066" y="1820"/>
                    </a:cubicBezTo>
                    <a:cubicBezTo>
                      <a:pt x="1072" y="1820"/>
                      <a:pt x="1067" y="1800"/>
                      <a:pt x="1071" y="1800"/>
                    </a:cubicBezTo>
                    <a:cubicBezTo>
                      <a:pt x="1075" y="1800"/>
                      <a:pt x="1071" y="1797"/>
                      <a:pt x="1075" y="1796"/>
                    </a:cubicBezTo>
                    <a:cubicBezTo>
                      <a:pt x="1079" y="1795"/>
                      <a:pt x="1076" y="1799"/>
                      <a:pt x="1078" y="1800"/>
                    </a:cubicBezTo>
                    <a:cubicBezTo>
                      <a:pt x="1081" y="1801"/>
                      <a:pt x="1082" y="1803"/>
                      <a:pt x="1079" y="1805"/>
                    </a:cubicBezTo>
                    <a:cubicBezTo>
                      <a:pt x="1075" y="1807"/>
                      <a:pt x="1080" y="1812"/>
                      <a:pt x="1078" y="1815"/>
                    </a:cubicBezTo>
                    <a:cubicBezTo>
                      <a:pt x="1076" y="1817"/>
                      <a:pt x="1074" y="1820"/>
                      <a:pt x="1075" y="1824"/>
                    </a:cubicBezTo>
                    <a:cubicBezTo>
                      <a:pt x="1077" y="1827"/>
                      <a:pt x="1073" y="1827"/>
                      <a:pt x="1073" y="1831"/>
                    </a:cubicBezTo>
                    <a:cubicBezTo>
                      <a:pt x="1073" y="1835"/>
                      <a:pt x="1075" y="1835"/>
                      <a:pt x="1074" y="1836"/>
                    </a:cubicBezTo>
                    <a:cubicBezTo>
                      <a:pt x="1072" y="1837"/>
                      <a:pt x="1076" y="1841"/>
                      <a:pt x="1073" y="1841"/>
                    </a:cubicBezTo>
                    <a:cubicBezTo>
                      <a:pt x="1071" y="1842"/>
                      <a:pt x="1072" y="1845"/>
                      <a:pt x="1074" y="1848"/>
                    </a:cubicBezTo>
                    <a:cubicBezTo>
                      <a:pt x="1075" y="1851"/>
                      <a:pt x="1071" y="1849"/>
                      <a:pt x="1068" y="1851"/>
                    </a:cubicBezTo>
                    <a:cubicBezTo>
                      <a:pt x="1066" y="1853"/>
                      <a:pt x="1071" y="1856"/>
                      <a:pt x="1069" y="1859"/>
                    </a:cubicBezTo>
                    <a:cubicBezTo>
                      <a:pt x="1068" y="1861"/>
                      <a:pt x="1064" y="1857"/>
                      <a:pt x="1062" y="1856"/>
                    </a:cubicBezTo>
                    <a:cubicBezTo>
                      <a:pt x="1060" y="1854"/>
                      <a:pt x="1065" y="1851"/>
                      <a:pt x="1067" y="1848"/>
                    </a:cubicBezTo>
                    <a:cubicBezTo>
                      <a:pt x="1069" y="1845"/>
                      <a:pt x="1065" y="1838"/>
                      <a:pt x="1061" y="1840"/>
                    </a:cubicBezTo>
                    <a:cubicBezTo>
                      <a:pt x="1057" y="1841"/>
                      <a:pt x="1065" y="1846"/>
                      <a:pt x="1065" y="1849"/>
                    </a:cubicBezTo>
                    <a:cubicBezTo>
                      <a:pt x="1065" y="1852"/>
                      <a:pt x="1058" y="1848"/>
                      <a:pt x="1059" y="1852"/>
                    </a:cubicBezTo>
                    <a:cubicBezTo>
                      <a:pt x="1059" y="1855"/>
                      <a:pt x="1054" y="1854"/>
                      <a:pt x="1052" y="1856"/>
                    </a:cubicBezTo>
                    <a:cubicBezTo>
                      <a:pt x="1050" y="1859"/>
                      <a:pt x="1055" y="1861"/>
                      <a:pt x="1053" y="1862"/>
                    </a:cubicBezTo>
                    <a:cubicBezTo>
                      <a:pt x="1050" y="1863"/>
                      <a:pt x="1046" y="1866"/>
                      <a:pt x="1046" y="1869"/>
                    </a:cubicBezTo>
                    <a:cubicBezTo>
                      <a:pt x="1045" y="1871"/>
                      <a:pt x="1048" y="1872"/>
                      <a:pt x="1048" y="1869"/>
                    </a:cubicBezTo>
                    <a:cubicBezTo>
                      <a:pt x="1048" y="1867"/>
                      <a:pt x="1052" y="1866"/>
                      <a:pt x="1054" y="1869"/>
                    </a:cubicBezTo>
                    <a:cubicBezTo>
                      <a:pt x="1055" y="1872"/>
                      <a:pt x="1057" y="1869"/>
                      <a:pt x="1060" y="1870"/>
                    </a:cubicBezTo>
                    <a:cubicBezTo>
                      <a:pt x="1064" y="1871"/>
                      <a:pt x="1063" y="1876"/>
                      <a:pt x="1061" y="1876"/>
                    </a:cubicBezTo>
                    <a:cubicBezTo>
                      <a:pt x="1059" y="1875"/>
                      <a:pt x="1057" y="1879"/>
                      <a:pt x="1058" y="1883"/>
                    </a:cubicBezTo>
                    <a:cubicBezTo>
                      <a:pt x="1058" y="1886"/>
                      <a:pt x="1065" y="1883"/>
                      <a:pt x="1068" y="1884"/>
                    </a:cubicBezTo>
                    <a:cubicBezTo>
                      <a:pt x="1071" y="1885"/>
                      <a:pt x="1070" y="1890"/>
                      <a:pt x="1068" y="1888"/>
                    </a:cubicBezTo>
                    <a:cubicBezTo>
                      <a:pt x="1067" y="1886"/>
                      <a:pt x="1063" y="1883"/>
                      <a:pt x="1061" y="1886"/>
                    </a:cubicBezTo>
                    <a:cubicBezTo>
                      <a:pt x="1059" y="1889"/>
                      <a:pt x="1056" y="1888"/>
                      <a:pt x="1054" y="1887"/>
                    </a:cubicBezTo>
                    <a:cubicBezTo>
                      <a:pt x="1052" y="1886"/>
                      <a:pt x="1044" y="1891"/>
                      <a:pt x="1047" y="1893"/>
                    </a:cubicBezTo>
                    <a:cubicBezTo>
                      <a:pt x="1049" y="1895"/>
                      <a:pt x="1049" y="1898"/>
                      <a:pt x="1051" y="1898"/>
                    </a:cubicBezTo>
                    <a:cubicBezTo>
                      <a:pt x="1053" y="1898"/>
                      <a:pt x="1055" y="1897"/>
                      <a:pt x="1056" y="1895"/>
                    </a:cubicBezTo>
                    <a:cubicBezTo>
                      <a:pt x="1057" y="1893"/>
                      <a:pt x="1061" y="1891"/>
                      <a:pt x="1061" y="1895"/>
                    </a:cubicBezTo>
                    <a:cubicBezTo>
                      <a:pt x="1061" y="1900"/>
                      <a:pt x="1056" y="1897"/>
                      <a:pt x="1055" y="1900"/>
                    </a:cubicBezTo>
                    <a:cubicBezTo>
                      <a:pt x="1054" y="1902"/>
                      <a:pt x="1052" y="1904"/>
                      <a:pt x="1049" y="1907"/>
                    </a:cubicBezTo>
                    <a:cubicBezTo>
                      <a:pt x="1046" y="1909"/>
                      <a:pt x="1049" y="1913"/>
                      <a:pt x="1052" y="1911"/>
                    </a:cubicBezTo>
                    <a:cubicBezTo>
                      <a:pt x="1054" y="1910"/>
                      <a:pt x="1051" y="1914"/>
                      <a:pt x="1055" y="1915"/>
                    </a:cubicBezTo>
                    <a:cubicBezTo>
                      <a:pt x="1058" y="1915"/>
                      <a:pt x="1059" y="1913"/>
                      <a:pt x="1058" y="1910"/>
                    </a:cubicBezTo>
                    <a:cubicBezTo>
                      <a:pt x="1057" y="1908"/>
                      <a:pt x="1060" y="1902"/>
                      <a:pt x="1063" y="1905"/>
                    </a:cubicBezTo>
                    <a:cubicBezTo>
                      <a:pt x="1066" y="1908"/>
                      <a:pt x="1061" y="1911"/>
                      <a:pt x="1061" y="1913"/>
                    </a:cubicBezTo>
                    <a:cubicBezTo>
                      <a:pt x="1061" y="1916"/>
                      <a:pt x="1060" y="1919"/>
                      <a:pt x="1060" y="1922"/>
                    </a:cubicBezTo>
                    <a:cubicBezTo>
                      <a:pt x="1060" y="1924"/>
                      <a:pt x="1056" y="1923"/>
                      <a:pt x="1057" y="1926"/>
                    </a:cubicBezTo>
                    <a:cubicBezTo>
                      <a:pt x="1057" y="1929"/>
                      <a:pt x="1050" y="1927"/>
                      <a:pt x="1053" y="1929"/>
                    </a:cubicBezTo>
                    <a:cubicBezTo>
                      <a:pt x="1056" y="1931"/>
                      <a:pt x="1051" y="1934"/>
                      <a:pt x="1053" y="1936"/>
                    </a:cubicBezTo>
                    <a:cubicBezTo>
                      <a:pt x="1054" y="1938"/>
                      <a:pt x="1056" y="1933"/>
                      <a:pt x="1059" y="1934"/>
                    </a:cubicBezTo>
                    <a:cubicBezTo>
                      <a:pt x="1061" y="1935"/>
                      <a:pt x="1061" y="1936"/>
                      <a:pt x="1064" y="1934"/>
                    </a:cubicBezTo>
                    <a:cubicBezTo>
                      <a:pt x="1068" y="1933"/>
                      <a:pt x="1070" y="1937"/>
                      <a:pt x="1067" y="1938"/>
                    </a:cubicBezTo>
                    <a:cubicBezTo>
                      <a:pt x="1063" y="1939"/>
                      <a:pt x="1060" y="1943"/>
                      <a:pt x="1061" y="1943"/>
                    </a:cubicBezTo>
                    <a:cubicBezTo>
                      <a:pt x="1063" y="1944"/>
                      <a:pt x="1067" y="1941"/>
                      <a:pt x="1068" y="1944"/>
                    </a:cubicBezTo>
                    <a:cubicBezTo>
                      <a:pt x="1069" y="1947"/>
                      <a:pt x="1072" y="1946"/>
                      <a:pt x="1072" y="1943"/>
                    </a:cubicBezTo>
                    <a:cubicBezTo>
                      <a:pt x="1072" y="1939"/>
                      <a:pt x="1078" y="1942"/>
                      <a:pt x="1079" y="1945"/>
                    </a:cubicBezTo>
                    <a:cubicBezTo>
                      <a:pt x="1080" y="1948"/>
                      <a:pt x="1073" y="1950"/>
                      <a:pt x="1069" y="1949"/>
                    </a:cubicBezTo>
                    <a:cubicBezTo>
                      <a:pt x="1065" y="1948"/>
                      <a:pt x="1063" y="1953"/>
                      <a:pt x="1066" y="1956"/>
                    </a:cubicBezTo>
                    <a:cubicBezTo>
                      <a:pt x="1068" y="1959"/>
                      <a:pt x="1071" y="1956"/>
                      <a:pt x="1074" y="1953"/>
                    </a:cubicBezTo>
                    <a:cubicBezTo>
                      <a:pt x="1077" y="1950"/>
                      <a:pt x="1090" y="1951"/>
                      <a:pt x="1091" y="1954"/>
                    </a:cubicBezTo>
                    <a:cubicBezTo>
                      <a:pt x="1092" y="1957"/>
                      <a:pt x="1085" y="1955"/>
                      <a:pt x="1084" y="1956"/>
                    </a:cubicBezTo>
                    <a:cubicBezTo>
                      <a:pt x="1084" y="1958"/>
                      <a:pt x="1078" y="1960"/>
                      <a:pt x="1077" y="1958"/>
                    </a:cubicBezTo>
                    <a:cubicBezTo>
                      <a:pt x="1077" y="1956"/>
                      <a:pt x="1071" y="1958"/>
                      <a:pt x="1071" y="1962"/>
                    </a:cubicBezTo>
                    <a:cubicBezTo>
                      <a:pt x="1071" y="1965"/>
                      <a:pt x="1067" y="1965"/>
                      <a:pt x="1071" y="1966"/>
                    </a:cubicBezTo>
                    <a:cubicBezTo>
                      <a:pt x="1076" y="1967"/>
                      <a:pt x="1075" y="1961"/>
                      <a:pt x="1082" y="1962"/>
                    </a:cubicBezTo>
                    <a:cubicBezTo>
                      <a:pt x="1089" y="1962"/>
                      <a:pt x="1092" y="1955"/>
                      <a:pt x="1094" y="1959"/>
                    </a:cubicBezTo>
                    <a:cubicBezTo>
                      <a:pt x="1096" y="1963"/>
                      <a:pt x="1089" y="1967"/>
                      <a:pt x="1086" y="1964"/>
                    </a:cubicBezTo>
                    <a:cubicBezTo>
                      <a:pt x="1083" y="1962"/>
                      <a:pt x="1080" y="1966"/>
                      <a:pt x="1080" y="1970"/>
                    </a:cubicBezTo>
                    <a:cubicBezTo>
                      <a:pt x="1080" y="1973"/>
                      <a:pt x="1072" y="1969"/>
                      <a:pt x="1068" y="1968"/>
                    </a:cubicBezTo>
                    <a:cubicBezTo>
                      <a:pt x="1064" y="1968"/>
                      <a:pt x="1066" y="1972"/>
                      <a:pt x="1069" y="1976"/>
                    </a:cubicBezTo>
                    <a:cubicBezTo>
                      <a:pt x="1073" y="1979"/>
                      <a:pt x="1075" y="1975"/>
                      <a:pt x="1079" y="1978"/>
                    </a:cubicBezTo>
                    <a:cubicBezTo>
                      <a:pt x="1083" y="1981"/>
                      <a:pt x="1083" y="1984"/>
                      <a:pt x="1086" y="1981"/>
                    </a:cubicBezTo>
                    <a:cubicBezTo>
                      <a:pt x="1089" y="1978"/>
                      <a:pt x="1086" y="1978"/>
                      <a:pt x="1084" y="1977"/>
                    </a:cubicBezTo>
                    <a:cubicBezTo>
                      <a:pt x="1082" y="1976"/>
                      <a:pt x="1084" y="1972"/>
                      <a:pt x="1089" y="1974"/>
                    </a:cubicBezTo>
                    <a:cubicBezTo>
                      <a:pt x="1094" y="1976"/>
                      <a:pt x="1099" y="1972"/>
                      <a:pt x="1098" y="1966"/>
                    </a:cubicBezTo>
                    <a:cubicBezTo>
                      <a:pt x="1096" y="1960"/>
                      <a:pt x="1102" y="1957"/>
                      <a:pt x="1108" y="1955"/>
                    </a:cubicBezTo>
                    <a:cubicBezTo>
                      <a:pt x="1113" y="1953"/>
                      <a:pt x="1110" y="1959"/>
                      <a:pt x="1106" y="1961"/>
                    </a:cubicBezTo>
                    <a:cubicBezTo>
                      <a:pt x="1102" y="1962"/>
                      <a:pt x="1101" y="1964"/>
                      <a:pt x="1104" y="1967"/>
                    </a:cubicBezTo>
                    <a:cubicBezTo>
                      <a:pt x="1108" y="1971"/>
                      <a:pt x="1112" y="1965"/>
                      <a:pt x="1115" y="1968"/>
                    </a:cubicBezTo>
                    <a:cubicBezTo>
                      <a:pt x="1117" y="1970"/>
                      <a:pt x="1110" y="1970"/>
                      <a:pt x="1108" y="1973"/>
                    </a:cubicBezTo>
                    <a:cubicBezTo>
                      <a:pt x="1107" y="1975"/>
                      <a:pt x="1113" y="1979"/>
                      <a:pt x="1109" y="1981"/>
                    </a:cubicBezTo>
                    <a:cubicBezTo>
                      <a:pt x="1105" y="1983"/>
                      <a:pt x="1107" y="1972"/>
                      <a:pt x="1104" y="1971"/>
                    </a:cubicBezTo>
                    <a:cubicBezTo>
                      <a:pt x="1102" y="1970"/>
                      <a:pt x="1099" y="1973"/>
                      <a:pt x="1102" y="1978"/>
                    </a:cubicBezTo>
                    <a:cubicBezTo>
                      <a:pt x="1104" y="1984"/>
                      <a:pt x="1099" y="1979"/>
                      <a:pt x="1096" y="1976"/>
                    </a:cubicBezTo>
                    <a:cubicBezTo>
                      <a:pt x="1094" y="1974"/>
                      <a:pt x="1090" y="1978"/>
                      <a:pt x="1093" y="1981"/>
                    </a:cubicBezTo>
                    <a:cubicBezTo>
                      <a:pt x="1096" y="1984"/>
                      <a:pt x="1088" y="1980"/>
                      <a:pt x="1088" y="1985"/>
                    </a:cubicBezTo>
                    <a:cubicBezTo>
                      <a:pt x="1088" y="1990"/>
                      <a:pt x="1091" y="1986"/>
                      <a:pt x="1096" y="1987"/>
                    </a:cubicBezTo>
                    <a:cubicBezTo>
                      <a:pt x="1100" y="1988"/>
                      <a:pt x="1098" y="1994"/>
                      <a:pt x="1102" y="1997"/>
                    </a:cubicBezTo>
                    <a:cubicBezTo>
                      <a:pt x="1105" y="1999"/>
                      <a:pt x="1102" y="1989"/>
                      <a:pt x="1106" y="1988"/>
                    </a:cubicBezTo>
                    <a:cubicBezTo>
                      <a:pt x="1109" y="1987"/>
                      <a:pt x="1106" y="1996"/>
                      <a:pt x="1114" y="1999"/>
                    </a:cubicBezTo>
                    <a:cubicBezTo>
                      <a:pt x="1121" y="2001"/>
                      <a:pt x="1114" y="1997"/>
                      <a:pt x="1118" y="1995"/>
                    </a:cubicBezTo>
                    <a:cubicBezTo>
                      <a:pt x="1121" y="1992"/>
                      <a:pt x="1126" y="2002"/>
                      <a:pt x="1129" y="2003"/>
                    </a:cubicBezTo>
                    <a:cubicBezTo>
                      <a:pt x="1133" y="2004"/>
                      <a:pt x="1131" y="1999"/>
                      <a:pt x="1128" y="1996"/>
                    </a:cubicBezTo>
                    <a:cubicBezTo>
                      <a:pt x="1125" y="1993"/>
                      <a:pt x="1131" y="1994"/>
                      <a:pt x="1134" y="1996"/>
                    </a:cubicBezTo>
                    <a:cubicBezTo>
                      <a:pt x="1138" y="1997"/>
                      <a:pt x="1141" y="1997"/>
                      <a:pt x="1142" y="1995"/>
                    </a:cubicBezTo>
                    <a:cubicBezTo>
                      <a:pt x="1143" y="1992"/>
                      <a:pt x="1146" y="1997"/>
                      <a:pt x="1149" y="1994"/>
                    </a:cubicBezTo>
                    <a:cubicBezTo>
                      <a:pt x="1151" y="1991"/>
                      <a:pt x="1159" y="1993"/>
                      <a:pt x="1163" y="1990"/>
                    </a:cubicBezTo>
                    <a:cubicBezTo>
                      <a:pt x="1167" y="1988"/>
                      <a:pt x="1162" y="1987"/>
                      <a:pt x="1155" y="1987"/>
                    </a:cubicBezTo>
                    <a:cubicBezTo>
                      <a:pt x="1149" y="1986"/>
                      <a:pt x="1137" y="1975"/>
                      <a:pt x="1133" y="1972"/>
                    </a:cubicBezTo>
                    <a:cubicBezTo>
                      <a:pt x="1129" y="1969"/>
                      <a:pt x="1132" y="1966"/>
                      <a:pt x="1128" y="1967"/>
                    </a:cubicBezTo>
                    <a:cubicBezTo>
                      <a:pt x="1123" y="1967"/>
                      <a:pt x="1126" y="1963"/>
                      <a:pt x="1129" y="1962"/>
                    </a:cubicBezTo>
                    <a:cubicBezTo>
                      <a:pt x="1131" y="1961"/>
                      <a:pt x="1127" y="1956"/>
                      <a:pt x="1124" y="1956"/>
                    </a:cubicBezTo>
                    <a:cubicBezTo>
                      <a:pt x="1121" y="1956"/>
                      <a:pt x="1113" y="1956"/>
                      <a:pt x="1115" y="1951"/>
                    </a:cubicBezTo>
                    <a:cubicBezTo>
                      <a:pt x="1116" y="1946"/>
                      <a:pt x="1125" y="1953"/>
                      <a:pt x="1127" y="1951"/>
                    </a:cubicBezTo>
                    <a:cubicBezTo>
                      <a:pt x="1128" y="1949"/>
                      <a:pt x="1120" y="1943"/>
                      <a:pt x="1121" y="1941"/>
                    </a:cubicBezTo>
                    <a:cubicBezTo>
                      <a:pt x="1121" y="1938"/>
                      <a:pt x="1119" y="1935"/>
                      <a:pt x="1119" y="1932"/>
                    </a:cubicBezTo>
                    <a:cubicBezTo>
                      <a:pt x="1119" y="1930"/>
                      <a:pt x="1118" y="1924"/>
                      <a:pt x="1122" y="1922"/>
                    </a:cubicBezTo>
                    <a:cubicBezTo>
                      <a:pt x="1125" y="1919"/>
                      <a:pt x="1125" y="1917"/>
                      <a:pt x="1128" y="1917"/>
                    </a:cubicBezTo>
                    <a:cubicBezTo>
                      <a:pt x="1130" y="1918"/>
                      <a:pt x="1134" y="1915"/>
                      <a:pt x="1135" y="1909"/>
                    </a:cubicBezTo>
                    <a:cubicBezTo>
                      <a:pt x="1135" y="1903"/>
                      <a:pt x="1138" y="1901"/>
                      <a:pt x="1143" y="1897"/>
                    </a:cubicBezTo>
                    <a:cubicBezTo>
                      <a:pt x="1148" y="1892"/>
                      <a:pt x="1157" y="1888"/>
                      <a:pt x="1156" y="1886"/>
                    </a:cubicBezTo>
                    <a:cubicBezTo>
                      <a:pt x="1155" y="1884"/>
                      <a:pt x="1158" y="1877"/>
                      <a:pt x="1158" y="1875"/>
                    </a:cubicBezTo>
                    <a:cubicBezTo>
                      <a:pt x="1158" y="1872"/>
                      <a:pt x="1149" y="1873"/>
                      <a:pt x="1147" y="1872"/>
                    </a:cubicBezTo>
                    <a:cubicBezTo>
                      <a:pt x="1144" y="1871"/>
                      <a:pt x="1134" y="1864"/>
                      <a:pt x="1139" y="1854"/>
                    </a:cubicBezTo>
                    <a:cubicBezTo>
                      <a:pt x="1144" y="1845"/>
                      <a:pt x="1154" y="1844"/>
                      <a:pt x="1157" y="1844"/>
                    </a:cubicBezTo>
                    <a:cubicBezTo>
                      <a:pt x="1160" y="1844"/>
                      <a:pt x="1158" y="1839"/>
                      <a:pt x="1160" y="1838"/>
                    </a:cubicBezTo>
                    <a:cubicBezTo>
                      <a:pt x="1163" y="1836"/>
                      <a:pt x="1163" y="1834"/>
                      <a:pt x="1163" y="1830"/>
                    </a:cubicBezTo>
                    <a:cubicBezTo>
                      <a:pt x="1163" y="1826"/>
                      <a:pt x="1163" y="1819"/>
                      <a:pt x="1168" y="1819"/>
                    </a:cubicBezTo>
                    <a:cubicBezTo>
                      <a:pt x="1172" y="1818"/>
                      <a:pt x="1173" y="1816"/>
                      <a:pt x="1171" y="1815"/>
                    </a:cubicBezTo>
                    <a:cubicBezTo>
                      <a:pt x="1168" y="1814"/>
                      <a:pt x="1167" y="1811"/>
                      <a:pt x="1171" y="1810"/>
                    </a:cubicBezTo>
                    <a:cubicBezTo>
                      <a:pt x="1176" y="1810"/>
                      <a:pt x="1174" y="1814"/>
                      <a:pt x="1177" y="1814"/>
                    </a:cubicBezTo>
                    <a:cubicBezTo>
                      <a:pt x="1181" y="1814"/>
                      <a:pt x="1186" y="1809"/>
                      <a:pt x="1182" y="1805"/>
                    </a:cubicBezTo>
                    <a:cubicBezTo>
                      <a:pt x="1178" y="1802"/>
                      <a:pt x="1176" y="1807"/>
                      <a:pt x="1174" y="1807"/>
                    </a:cubicBezTo>
                    <a:cubicBezTo>
                      <a:pt x="1172" y="1808"/>
                      <a:pt x="1170" y="1804"/>
                      <a:pt x="1168" y="1804"/>
                    </a:cubicBezTo>
                    <a:cubicBezTo>
                      <a:pt x="1166" y="1804"/>
                      <a:pt x="1167" y="1798"/>
                      <a:pt x="1166" y="1796"/>
                    </a:cubicBezTo>
                    <a:cubicBezTo>
                      <a:pt x="1165" y="1794"/>
                      <a:pt x="1164" y="1788"/>
                      <a:pt x="1166" y="1785"/>
                    </a:cubicBezTo>
                    <a:cubicBezTo>
                      <a:pt x="1168" y="1783"/>
                      <a:pt x="1176" y="1790"/>
                      <a:pt x="1184" y="1790"/>
                    </a:cubicBezTo>
                    <a:cubicBezTo>
                      <a:pt x="1191" y="1791"/>
                      <a:pt x="1197" y="1786"/>
                      <a:pt x="1197" y="1784"/>
                    </a:cubicBezTo>
                    <a:cubicBezTo>
                      <a:pt x="1197" y="1781"/>
                      <a:pt x="1193" y="1776"/>
                      <a:pt x="1198" y="1773"/>
                    </a:cubicBezTo>
                    <a:cubicBezTo>
                      <a:pt x="1202" y="1770"/>
                      <a:pt x="1198" y="1769"/>
                      <a:pt x="1197" y="1765"/>
                    </a:cubicBezTo>
                    <a:cubicBezTo>
                      <a:pt x="1196" y="1761"/>
                      <a:pt x="1199" y="1758"/>
                      <a:pt x="1201" y="1760"/>
                    </a:cubicBezTo>
                    <a:cubicBezTo>
                      <a:pt x="1203" y="1762"/>
                      <a:pt x="1218" y="1761"/>
                      <a:pt x="1230" y="1759"/>
                    </a:cubicBezTo>
                    <a:cubicBezTo>
                      <a:pt x="1242" y="1756"/>
                      <a:pt x="1251" y="1752"/>
                      <a:pt x="1252" y="1748"/>
                    </a:cubicBezTo>
                    <a:cubicBezTo>
                      <a:pt x="1252" y="1745"/>
                      <a:pt x="1260" y="1736"/>
                      <a:pt x="1262" y="1733"/>
                    </a:cubicBezTo>
                    <a:cubicBezTo>
                      <a:pt x="1264" y="1730"/>
                      <a:pt x="1262" y="1727"/>
                      <a:pt x="1257" y="1726"/>
                    </a:cubicBezTo>
                    <a:cubicBezTo>
                      <a:pt x="1252" y="1725"/>
                      <a:pt x="1252" y="1719"/>
                      <a:pt x="1255" y="1716"/>
                    </a:cubicBezTo>
                    <a:cubicBezTo>
                      <a:pt x="1258" y="1713"/>
                      <a:pt x="1254" y="1710"/>
                      <a:pt x="1249" y="1709"/>
                    </a:cubicBezTo>
                    <a:cubicBezTo>
                      <a:pt x="1244" y="1709"/>
                      <a:pt x="1237" y="1706"/>
                      <a:pt x="1241" y="1702"/>
                    </a:cubicBezTo>
                    <a:cubicBezTo>
                      <a:pt x="1245" y="1698"/>
                      <a:pt x="1245" y="1704"/>
                      <a:pt x="1249" y="1703"/>
                    </a:cubicBezTo>
                    <a:cubicBezTo>
                      <a:pt x="1254" y="1703"/>
                      <a:pt x="1258" y="1704"/>
                      <a:pt x="1264" y="1707"/>
                    </a:cubicBezTo>
                    <a:cubicBezTo>
                      <a:pt x="1269" y="1709"/>
                      <a:pt x="1267" y="1706"/>
                      <a:pt x="1273" y="1707"/>
                    </a:cubicBezTo>
                    <a:cubicBezTo>
                      <a:pt x="1278" y="1708"/>
                      <a:pt x="1284" y="1708"/>
                      <a:pt x="1290" y="1705"/>
                    </a:cubicBezTo>
                    <a:cubicBezTo>
                      <a:pt x="1295" y="1701"/>
                      <a:pt x="1297" y="1694"/>
                      <a:pt x="1304" y="1689"/>
                    </a:cubicBezTo>
                    <a:cubicBezTo>
                      <a:pt x="1311" y="1684"/>
                      <a:pt x="1309" y="1681"/>
                      <a:pt x="1312" y="1675"/>
                    </a:cubicBezTo>
                    <a:cubicBezTo>
                      <a:pt x="1316" y="1669"/>
                      <a:pt x="1313" y="1666"/>
                      <a:pt x="1318" y="1661"/>
                    </a:cubicBezTo>
                    <a:cubicBezTo>
                      <a:pt x="1324" y="1656"/>
                      <a:pt x="1317" y="1652"/>
                      <a:pt x="1324" y="1649"/>
                    </a:cubicBezTo>
                    <a:cubicBezTo>
                      <a:pt x="1331" y="1646"/>
                      <a:pt x="1330" y="1652"/>
                      <a:pt x="1325" y="1659"/>
                    </a:cubicBezTo>
                    <a:cubicBezTo>
                      <a:pt x="1319" y="1667"/>
                      <a:pt x="1318" y="1669"/>
                      <a:pt x="1325" y="1663"/>
                    </a:cubicBezTo>
                    <a:cubicBezTo>
                      <a:pt x="1333" y="1658"/>
                      <a:pt x="1336" y="1650"/>
                      <a:pt x="1340" y="1641"/>
                    </a:cubicBezTo>
                    <a:cubicBezTo>
                      <a:pt x="1344" y="1632"/>
                      <a:pt x="1347" y="1630"/>
                      <a:pt x="1351" y="1629"/>
                    </a:cubicBezTo>
                    <a:cubicBezTo>
                      <a:pt x="1355" y="1629"/>
                      <a:pt x="1355" y="1619"/>
                      <a:pt x="1354" y="1613"/>
                    </a:cubicBezTo>
                    <a:cubicBezTo>
                      <a:pt x="1354" y="1606"/>
                      <a:pt x="1352" y="1600"/>
                      <a:pt x="1355" y="1596"/>
                    </a:cubicBezTo>
                    <a:cubicBezTo>
                      <a:pt x="1357" y="1592"/>
                      <a:pt x="1355" y="1588"/>
                      <a:pt x="1358" y="1588"/>
                    </a:cubicBezTo>
                    <a:cubicBezTo>
                      <a:pt x="1362" y="1588"/>
                      <a:pt x="1367" y="1583"/>
                      <a:pt x="1372" y="1577"/>
                    </a:cubicBezTo>
                    <a:cubicBezTo>
                      <a:pt x="1378" y="1572"/>
                      <a:pt x="1381" y="1571"/>
                      <a:pt x="1387" y="1571"/>
                    </a:cubicBezTo>
                    <a:cubicBezTo>
                      <a:pt x="1393" y="1570"/>
                      <a:pt x="1390" y="1568"/>
                      <a:pt x="1393" y="1567"/>
                    </a:cubicBezTo>
                    <a:cubicBezTo>
                      <a:pt x="1397" y="1566"/>
                      <a:pt x="1400" y="1563"/>
                      <a:pt x="1402" y="1560"/>
                    </a:cubicBezTo>
                    <a:cubicBezTo>
                      <a:pt x="1405" y="1558"/>
                      <a:pt x="1415" y="1561"/>
                      <a:pt x="1421" y="1561"/>
                    </a:cubicBezTo>
                    <a:cubicBezTo>
                      <a:pt x="1427" y="1561"/>
                      <a:pt x="1431" y="1561"/>
                      <a:pt x="1431" y="1557"/>
                    </a:cubicBezTo>
                    <a:cubicBezTo>
                      <a:pt x="1431" y="1554"/>
                      <a:pt x="1434" y="1551"/>
                      <a:pt x="1437" y="1551"/>
                    </a:cubicBezTo>
                    <a:cubicBezTo>
                      <a:pt x="1441" y="1551"/>
                      <a:pt x="1442" y="1550"/>
                      <a:pt x="1442" y="1545"/>
                    </a:cubicBezTo>
                    <a:cubicBezTo>
                      <a:pt x="1442" y="1540"/>
                      <a:pt x="1444" y="1537"/>
                      <a:pt x="1447" y="1534"/>
                    </a:cubicBezTo>
                    <a:cubicBezTo>
                      <a:pt x="1450" y="1532"/>
                      <a:pt x="1450" y="1527"/>
                      <a:pt x="1451" y="1524"/>
                    </a:cubicBezTo>
                    <a:cubicBezTo>
                      <a:pt x="1452" y="1521"/>
                      <a:pt x="1455" y="1523"/>
                      <a:pt x="1455" y="1518"/>
                    </a:cubicBezTo>
                    <a:cubicBezTo>
                      <a:pt x="1455" y="1513"/>
                      <a:pt x="1457" y="1508"/>
                      <a:pt x="1457" y="1504"/>
                    </a:cubicBezTo>
                    <a:cubicBezTo>
                      <a:pt x="1457" y="1500"/>
                      <a:pt x="1461" y="1501"/>
                      <a:pt x="1463" y="1498"/>
                    </a:cubicBezTo>
                    <a:cubicBezTo>
                      <a:pt x="1465" y="1495"/>
                      <a:pt x="1461" y="1492"/>
                      <a:pt x="1464" y="1484"/>
                    </a:cubicBezTo>
                    <a:cubicBezTo>
                      <a:pt x="1467" y="1476"/>
                      <a:pt x="1464" y="1469"/>
                      <a:pt x="1464" y="1462"/>
                    </a:cubicBezTo>
                    <a:cubicBezTo>
                      <a:pt x="1464" y="1455"/>
                      <a:pt x="1464" y="1448"/>
                      <a:pt x="1467" y="1446"/>
                    </a:cubicBezTo>
                    <a:cubicBezTo>
                      <a:pt x="1469" y="1443"/>
                      <a:pt x="1468" y="1442"/>
                      <a:pt x="1466" y="1441"/>
                    </a:cubicBezTo>
                    <a:cubicBezTo>
                      <a:pt x="1464" y="1440"/>
                      <a:pt x="1466" y="1437"/>
                      <a:pt x="1468" y="1438"/>
                    </a:cubicBezTo>
                    <a:cubicBezTo>
                      <a:pt x="1470" y="1438"/>
                      <a:pt x="1472" y="1442"/>
                      <a:pt x="1475" y="1440"/>
                    </a:cubicBezTo>
                    <a:cubicBezTo>
                      <a:pt x="1478" y="1438"/>
                      <a:pt x="1481" y="1430"/>
                      <a:pt x="1484" y="1423"/>
                    </a:cubicBezTo>
                    <a:cubicBezTo>
                      <a:pt x="1487" y="1416"/>
                      <a:pt x="1491" y="1416"/>
                      <a:pt x="1495" y="1414"/>
                    </a:cubicBezTo>
                    <a:cubicBezTo>
                      <a:pt x="1498" y="1413"/>
                      <a:pt x="1506" y="1404"/>
                      <a:pt x="1510" y="1392"/>
                    </a:cubicBezTo>
                    <a:cubicBezTo>
                      <a:pt x="1515" y="1380"/>
                      <a:pt x="1510" y="1368"/>
                      <a:pt x="1508" y="1359"/>
                    </a:cubicBezTo>
                    <a:cubicBezTo>
                      <a:pt x="1506" y="1351"/>
                      <a:pt x="1503" y="1353"/>
                      <a:pt x="1498" y="1353"/>
                    </a:cubicBezTo>
                    <a:close/>
                    <a:moveTo>
                      <a:pt x="1024" y="757"/>
                    </a:moveTo>
                    <a:cubicBezTo>
                      <a:pt x="1032" y="758"/>
                      <a:pt x="1037" y="752"/>
                      <a:pt x="1040" y="757"/>
                    </a:cubicBezTo>
                    <a:cubicBezTo>
                      <a:pt x="1043" y="763"/>
                      <a:pt x="1030" y="767"/>
                      <a:pt x="1018" y="768"/>
                    </a:cubicBezTo>
                    <a:cubicBezTo>
                      <a:pt x="1005" y="768"/>
                      <a:pt x="1003" y="771"/>
                      <a:pt x="1001" y="766"/>
                    </a:cubicBezTo>
                    <a:cubicBezTo>
                      <a:pt x="999" y="761"/>
                      <a:pt x="1016" y="756"/>
                      <a:pt x="1024" y="757"/>
                    </a:cubicBezTo>
                    <a:close/>
                    <a:moveTo>
                      <a:pt x="1006" y="775"/>
                    </a:moveTo>
                    <a:cubicBezTo>
                      <a:pt x="1008" y="778"/>
                      <a:pt x="990" y="787"/>
                      <a:pt x="980" y="792"/>
                    </a:cubicBezTo>
                    <a:cubicBezTo>
                      <a:pt x="971" y="797"/>
                      <a:pt x="958" y="794"/>
                      <a:pt x="958" y="787"/>
                    </a:cubicBezTo>
                    <a:cubicBezTo>
                      <a:pt x="958" y="779"/>
                      <a:pt x="965" y="781"/>
                      <a:pt x="966" y="784"/>
                    </a:cubicBezTo>
                    <a:cubicBezTo>
                      <a:pt x="968" y="788"/>
                      <a:pt x="977" y="775"/>
                      <a:pt x="985" y="776"/>
                    </a:cubicBezTo>
                    <a:cubicBezTo>
                      <a:pt x="992" y="776"/>
                      <a:pt x="994" y="781"/>
                      <a:pt x="999" y="777"/>
                    </a:cubicBezTo>
                    <a:cubicBezTo>
                      <a:pt x="1004" y="774"/>
                      <a:pt x="1005" y="772"/>
                      <a:pt x="1006" y="775"/>
                    </a:cubicBezTo>
                    <a:close/>
                    <a:moveTo>
                      <a:pt x="952" y="728"/>
                    </a:moveTo>
                    <a:cubicBezTo>
                      <a:pt x="952" y="725"/>
                      <a:pt x="963" y="727"/>
                      <a:pt x="970" y="729"/>
                    </a:cubicBezTo>
                    <a:cubicBezTo>
                      <a:pt x="977" y="732"/>
                      <a:pt x="988" y="726"/>
                      <a:pt x="991" y="735"/>
                    </a:cubicBezTo>
                    <a:cubicBezTo>
                      <a:pt x="995" y="743"/>
                      <a:pt x="1003" y="750"/>
                      <a:pt x="995" y="750"/>
                    </a:cubicBezTo>
                    <a:cubicBezTo>
                      <a:pt x="989" y="751"/>
                      <a:pt x="980" y="742"/>
                      <a:pt x="981" y="747"/>
                    </a:cubicBezTo>
                    <a:cubicBezTo>
                      <a:pt x="981" y="752"/>
                      <a:pt x="977" y="749"/>
                      <a:pt x="977" y="757"/>
                    </a:cubicBezTo>
                    <a:cubicBezTo>
                      <a:pt x="977" y="764"/>
                      <a:pt x="972" y="775"/>
                      <a:pt x="969" y="774"/>
                    </a:cubicBezTo>
                    <a:cubicBezTo>
                      <a:pt x="966" y="774"/>
                      <a:pt x="971" y="762"/>
                      <a:pt x="965" y="760"/>
                    </a:cubicBezTo>
                    <a:cubicBezTo>
                      <a:pt x="959" y="758"/>
                      <a:pt x="952" y="768"/>
                      <a:pt x="953" y="762"/>
                    </a:cubicBezTo>
                    <a:cubicBezTo>
                      <a:pt x="954" y="755"/>
                      <a:pt x="963" y="750"/>
                      <a:pt x="957" y="741"/>
                    </a:cubicBezTo>
                    <a:cubicBezTo>
                      <a:pt x="952" y="733"/>
                      <a:pt x="942" y="733"/>
                      <a:pt x="940" y="739"/>
                    </a:cubicBezTo>
                    <a:cubicBezTo>
                      <a:pt x="938" y="746"/>
                      <a:pt x="931" y="743"/>
                      <a:pt x="928" y="748"/>
                    </a:cubicBezTo>
                    <a:cubicBezTo>
                      <a:pt x="926" y="753"/>
                      <a:pt x="923" y="764"/>
                      <a:pt x="925" y="772"/>
                    </a:cubicBezTo>
                    <a:cubicBezTo>
                      <a:pt x="927" y="780"/>
                      <a:pt x="925" y="784"/>
                      <a:pt x="917" y="788"/>
                    </a:cubicBezTo>
                    <a:cubicBezTo>
                      <a:pt x="910" y="793"/>
                      <a:pt x="906" y="782"/>
                      <a:pt x="909" y="767"/>
                    </a:cubicBezTo>
                    <a:cubicBezTo>
                      <a:pt x="911" y="757"/>
                      <a:pt x="916" y="747"/>
                      <a:pt x="911" y="747"/>
                    </a:cubicBezTo>
                    <a:cubicBezTo>
                      <a:pt x="906" y="747"/>
                      <a:pt x="918" y="735"/>
                      <a:pt x="928" y="733"/>
                    </a:cubicBezTo>
                    <a:cubicBezTo>
                      <a:pt x="939" y="730"/>
                      <a:pt x="952" y="731"/>
                      <a:pt x="952" y="728"/>
                    </a:cubicBezTo>
                    <a:close/>
                    <a:moveTo>
                      <a:pt x="884" y="704"/>
                    </a:moveTo>
                    <a:cubicBezTo>
                      <a:pt x="892" y="705"/>
                      <a:pt x="898" y="688"/>
                      <a:pt x="904" y="688"/>
                    </a:cubicBezTo>
                    <a:cubicBezTo>
                      <a:pt x="911" y="688"/>
                      <a:pt x="927" y="690"/>
                      <a:pt x="928" y="698"/>
                    </a:cubicBezTo>
                    <a:cubicBezTo>
                      <a:pt x="929" y="707"/>
                      <a:pt x="939" y="699"/>
                      <a:pt x="940" y="707"/>
                    </a:cubicBezTo>
                    <a:cubicBezTo>
                      <a:pt x="941" y="715"/>
                      <a:pt x="950" y="721"/>
                      <a:pt x="945" y="724"/>
                    </a:cubicBezTo>
                    <a:cubicBezTo>
                      <a:pt x="941" y="727"/>
                      <a:pt x="942" y="720"/>
                      <a:pt x="935" y="720"/>
                    </a:cubicBezTo>
                    <a:cubicBezTo>
                      <a:pt x="927" y="720"/>
                      <a:pt x="920" y="727"/>
                      <a:pt x="914" y="724"/>
                    </a:cubicBezTo>
                    <a:cubicBezTo>
                      <a:pt x="908" y="721"/>
                      <a:pt x="911" y="717"/>
                      <a:pt x="905" y="717"/>
                    </a:cubicBezTo>
                    <a:cubicBezTo>
                      <a:pt x="900" y="717"/>
                      <a:pt x="909" y="706"/>
                      <a:pt x="901" y="711"/>
                    </a:cubicBezTo>
                    <a:cubicBezTo>
                      <a:pt x="893" y="715"/>
                      <a:pt x="881" y="726"/>
                      <a:pt x="876" y="721"/>
                    </a:cubicBezTo>
                    <a:cubicBezTo>
                      <a:pt x="870" y="716"/>
                      <a:pt x="865" y="723"/>
                      <a:pt x="861" y="719"/>
                    </a:cubicBezTo>
                    <a:cubicBezTo>
                      <a:pt x="857" y="715"/>
                      <a:pt x="875" y="704"/>
                      <a:pt x="884" y="704"/>
                    </a:cubicBezTo>
                    <a:close/>
                    <a:moveTo>
                      <a:pt x="572" y="403"/>
                    </a:moveTo>
                    <a:cubicBezTo>
                      <a:pt x="565" y="412"/>
                      <a:pt x="563" y="413"/>
                      <a:pt x="556" y="412"/>
                    </a:cubicBezTo>
                    <a:cubicBezTo>
                      <a:pt x="549" y="410"/>
                      <a:pt x="545" y="414"/>
                      <a:pt x="549" y="416"/>
                    </a:cubicBezTo>
                    <a:cubicBezTo>
                      <a:pt x="552" y="418"/>
                      <a:pt x="552" y="420"/>
                      <a:pt x="545" y="422"/>
                    </a:cubicBezTo>
                    <a:cubicBezTo>
                      <a:pt x="538" y="424"/>
                      <a:pt x="534" y="429"/>
                      <a:pt x="531" y="428"/>
                    </a:cubicBezTo>
                    <a:cubicBezTo>
                      <a:pt x="528" y="428"/>
                      <a:pt x="543" y="417"/>
                      <a:pt x="539" y="415"/>
                    </a:cubicBezTo>
                    <a:cubicBezTo>
                      <a:pt x="535" y="412"/>
                      <a:pt x="526" y="419"/>
                      <a:pt x="526" y="423"/>
                    </a:cubicBezTo>
                    <a:cubicBezTo>
                      <a:pt x="526" y="426"/>
                      <a:pt x="519" y="426"/>
                      <a:pt x="516" y="426"/>
                    </a:cubicBezTo>
                    <a:cubicBezTo>
                      <a:pt x="512" y="426"/>
                      <a:pt x="507" y="422"/>
                      <a:pt x="511" y="422"/>
                    </a:cubicBezTo>
                    <a:cubicBezTo>
                      <a:pt x="514" y="421"/>
                      <a:pt x="512" y="417"/>
                      <a:pt x="517" y="415"/>
                    </a:cubicBezTo>
                    <a:cubicBezTo>
                      <a:pt x="522" y="413"/>
                      <a:pt x="516" y="410"/>
                      <a:pt x="518" y="408"/>
                    </a:cubicBezTo>
                    <a:cubicBezTo>
                      <a:pt x="519" y="406"/>
                      <a:pt x="530" y="410"/>
                      <a:pt x="530" y="406"/>
                    </a:cubicBezTo>
                    <a:cubicBezTo>
                      <a:pt x="530" y="402"/>
                      <a:pt x="519" y="399"/>
                      <a:pt x="516" y="401"/>
                    </a:cubicBezTo>
                    <a:cubicBezTo>
                      <a:pt x="512" y="404"/>
                      <a:pt x="504" y="409"/>
                      <a:pt x="494" y="405"/>
                    </a:cubicBezTo>
                    <a:cubicBezTo>
                      <a:pt x="491" y="404"/>
                      <a:pt x="519" y="401"/>
                      <a:pt x="524" y="396"/>
                    </a:cubicBezTo>
                    <a:cubicBezTo>
                      <a:pt x="529" y="392"/>
                      <a:pt x="550" y="387"/>
                      <a:pt x="552" y="391"/>
                    </a:cubicBezTo>
                    <a:cubicBezTo>
                      <a:pt x="553" y="395"/>
                      <a:pt x="540" y="397"/>
                      <a:pt x="546" y="401"/>
                    </a:cubicBezTo>
                    <a:cubicBezTo>
                      <a:pt x="553" y="405"/>
                      <a:pt x="563" y="402"/>
                      <a:pt x="565" y="398"/>
                    </a:cubicBezTo>
                    <a:cubicBezTo>
                      <a:pt x="568" y="395"/>
                      <a:pt x="578" y="395"/>
                      <a:pt x="572" y="403"/>
                    </a:cubicBezTo>
                    <a:close/>
                    <a:moveTo>
                      <a:pt x="635" y="484"/>
                    </a:moveTo>
                    <a:cubicBezTo>
                      <a:pt x="627" y="490"/>
                      <a:pt x="628" y="489"/>
                      <a:pt x="621" y="490"/>
                    </a:cubicBezTo>
                    <a:cubicBezTo>
                      <a:pt x="614" y="491"/>
                      <a:pt x="620" y="498"/>
                      <a:pt x="611" y="498"/>
                    </a:cubicBezTo>
                    <a:cubicBezTo>
                      <a:pt x="603" y="499"/>
                      <a:pt x="584" y="500"/>
                      <a:pt x="581" y="495"/>
                    </a:cubicBezTo>
                    <a:cubicBezTo>
                      <a:pt x="580" y="494"/>
                      <a:pt x="592" y="495"/>
                      <a:pt x="592" y="491"/>
                    </a:cubicBezTo>
                    <a:cubicBezTo>
                      <a:pt x="593" y="488"/>
                      <a:pt x="596" y="483"/>
                      <a:pt x="601" y="483"/>
                    </a:cubicBezTo>
                    <a:cubicBezTo>
                      <a:pt x="606" y="483"/>
                      <a:pt x="606" y="476"/>
                      <a:pt x="598" y="472"/>
                    </a:cubicBezTo>
                    <a:cubicBezTo>
                      <a:pt x="590" y="468"/>
                      <a:pt x="609" y="466"/>
                      <a:pt x="614" y="472"/>
                    </a:cubicBezTo>
                    <a:cubicBezTo>
                      <a:pt x="619" y="478"/>
                      <a:pt x="627" y="483"/>
                      <a:pt x="631" y="478"/>
                    </a:cubicBezTo>
                    <a:cubicBezTo>
                      <a:pt x="636" y="474"/>
                      <a:pt x="662" y="461"/>
                      <a:pt x="662" y="467"/>
                    </a:cubicBezTo>
                    <a:cubicBezTo>
                      <a:pt x="662" y="473"/>
                      <a:pt x="643" y="477"/>
                      <a:pt x="635" y="484"/>
                    </a:cubicBezTo>
                    <a:close/>
                    <a:moveTo>
                      <a:pt x="782" y="620"/>
                    </a:moveTo>
                    <a:cubicBezTo>
                      <a:pt x="782" y="614"/>
                      <a:pt x="792" y="611"/>
                      <a:pt x="796" y="616"/>
                    </a:cubicBezTo>
                    <a:cubicBezTo>
                      <a:pt x="800" y="621"/>
                      <a:pt x="806" y="641"/>
                      <a:pt x="810" y="648"/>
                    </a:cubicBezTo>
                    <a:cubicBezTo>
                      <a:pt x="813" y="654"/>
                      <a:pt x="813" y="665"/>
                      <a:pt x="809" y="665"/>
                    </a:cubicBezTo>
                    <a:cubicBezTo>
                      <a:pt x="803" y="666"/>
                      <a:pt x="809" y="651"/>
                      <a:pt x="799" y="645"/>
                    </a:cubicBezTo>
                    <a:cubicBezTo>
                      <a:pt x="788" y="639"/>
                      <a:pt x="782" y="627"/>
                      <a:pt x="782" y="620"/>
                    </a:cubicBezTo>
                    <a:close/>
                  </a:path>
                </a:pathLst>
              </a:custGeom>
              <a:grpFill/>
              <a:ln w="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</p:grpSp>
        <p:sp>
          <p:nvSpPr>
            <p:cNvPr id="208" name="Freeform 903">
              <a:extLst>
                <a:ext uri="{FF2B5EF4-FFF2-40B4-BE49-F238E27FC236}">
                  <a16:creationId xmlns:a16="http://schemas.microsoft.com/office/drawing/2014/main" id="{ABB6F3C7-6E03-4461-A043-2FC11B13A36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73564" y="3179050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09" name="Freeform 903">
              <a:extLst>
                <a:ext uri="{FF2B5EF4-FFF2-40B4-BE49-F238E27FC236}">
                  <a16:creationId xmlns:a16="http://schemas.microsoft.com/office/drawing/2014/main" id="{53F3D753-A83F-449A-A9CD-23669907FF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819026" y="3253065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0" name="Freeform 903">
              <a:extLst>
                <a:ext uri="{FF2B5EF4-FFF2-40B4-BE49-F238E27FC236}">
                  <a16:creationId xmlns:a16="http://schemas.microsoft.com/office/drawing/2014/main" id="{8D43E185-2E0A-4D6F-A3F8-855D833C04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98606" y="2800158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1" name="Freeform 903">
              <a:extLst>
                <a:ext uri="{FF2B5EF4-FFF2-40B4-BE49-F238E27FC236}">
                  <a16:creationId xmlns:a16="http://schemas.microsoft.com/office/drawing/2014/main" id="{B21664C9-540E-4076-BAA5-F9D8B9DADC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80105" y="2829264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2" name="Freeform 903">
              <a:extLst>
                <a:ext uri="{FF2B5EF4-FFF2-40B4-BE49-F238E27FC236}">
                  <a16:creationId xmlns:a16="http://schemas.microsoft.com/office/drawing/2014/main" id="{93AED4E4-DD4A-46F9-9E74-9C848ED008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27493" y="2848926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3" name="Freeform 903">
              <a:extLst>
                <a:ext uri="{FF2B5EF4-FFF2-40B4-BE49-F238E27FC236}">
                  <a16:creationId xmlns:a16="http://schemas.microsoft.com/office/drawing/2014/main" id="{DB6DFC5B-6088-4A85-AF62-3E2CF3865F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84664" y="2940299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4" name="Freeform 903">
              <a:extLst>
                <a:ext uri="{FF2B5EF4-FFF2-40B4-BE49-F238E27FC236}">
                  <a16:creationId xmlns:a16="http://schemas.microsoft.com/office/drawing/2014/main" id="{1D22BD36-5D36-49D9-A6CE-7A79AE5321F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32876" y="3046203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5" name="Freeform 903">
              <a:extLst>
                <a:ext uri="{FF2B5EF4-FFF2-40B4-BE49-F238E27FC236}">
                  <a16:creationId xmlns:a16="http://schemas.microsoft.com/office/drawing/2014/main" id="{41276E90-C347-4DF2-8F00-BCF07F1237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77371" y="3035212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6" name="Freeform 903">
              <a:extLst>
                <a:ext uri="{FF2B5EF4-FFF2-40B4-BE49-F238E27FC236}">
                  <a16:creationId xmlns:a16="http://schemas.microsoft.com/office/drawing/2014/main" id="{F059E3DA-0143-4197-BD5C-FFAB9F46CF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36326" y="3075775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7" name="Freeform 903">
              <a:extLst>
                <a:ext uri="{FF2B5EF4-FFF2-40B4-BE49-F238E27FC236}">
                  <a16:creationId xmlns:a16="http://schemas.microsoft.com/office/drawing/2014/main" id="{55FF3BE1-1DF9-4C3F-8C32-2E07B3BFB9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89668" y="3127446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8" name="Freeform 903">
              <a:extLst>
                <a:ext uri="{FF2B5EF4-FFF2-40B4-BE49-F238E27FC236}">
                  <a16:creationId xmlns:a16="http://schemas.microsoft.com/office/drawing/2014/main" id="{DBA36BA9-0BB4-4181-AD64-42500DBD32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50440" y="3054396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19" name="Freeform 903">
              <a:extLst>
                <a:ext uri="{FF2B5EF4-FFF2-40B4-BE49-F238E27FC236}">
                  <a16:creationId xmlns:a16="http://schemas.microsoft.com/office/drawing/2014/main" id="{1CF5E3BA-2167-47C7-BC31-4A4C25D812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35471" y="3074026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0" name="Freeform 903">
              <a:extLst>
                <a:ext uri="{FF2B5EF4-FFF2-40B4-BE49-F238E27FC236}">
                  <a16:creationId xmlns:a16="http://schemas.microsoft.com/office/drawing/2014/main" id="{2B4CAB7A-1C49-4BCF-97C1-B42F8258ED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80502" y="3137102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1" name="Freeform 903">
              <a:extLst>
                <a:ext uri="{FF2B5EF4-FFF2-40B4-BE49-F238E27FC236}">
                  <a16:creationId xmlns:a16="http://schemas.microsoft.com/office/drawing/2014/main" id="{0DD8280C-E815-4B43-9F3C-BF932B4E4AC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00820" y="3132854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2" name="Freeform 903">
              <a:extLst>
                <a:ext uri="{FF2B5EF4-FFF2-40B4-BE49-F238E27FC236}">
                  <a16:creationId xmlns:a16="http://schemas.microsoft.com/office/drawing/2014/main" id="{F9247F35-F1FF-494C-BC4F-AC7E0F4F21D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757217" y="3088722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3" name="Freeform 903">
              <a:extLst>
                <a:ext uri="{FF2B5EF4-FFF2-40B4-BE49-F238E27FC236}">
                  <a16:creationId xmlns:a16="http://schemas.microsoft.com/office/drawing/2014/main" id="{72A975FB-347F-4D22-8013-617ADD3357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78427" y="3626445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4" name="Freeform 903">
              <a:extLst>
                <a:ext uri="{FF2B5EF4-FFF2-40B4-BE49-F238E27FC236}">
                  <a16:creationId xmlns:a16="http://schemas.microsoft.com/office/drawing/2014/main" id="{98CE1CD2-F70B-4D59-9E73-9102DD03AD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70675" y="3669294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5" name="Freeform 903">
              <a:extLst>
                <a:ext uri="{FF2B5EF4-FFF2-40B4-BE49-F238E27FC236}">
                  <a16:creationId xmlns:a16="http://schemas.microsoft.com/office/drawing/2014/main" id="{64F14D8D-D181-433F-B968-653ABF91DA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31488" y="4033264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6" name="Freeform 903">
              <a:extLst>
                <a:ext uri="{FF2B5EF4-FFF2-40B4-BE49-F238E27FC236}">
                  <a16:creationId xmlns:a16="http://schemas.microsoft.com/office/drawing/2014/main" id="{9AC38677-4ABF-440C-9F32-6AEAF27F1B7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071497" y="4727920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  <p:sp>
          <p:nvSpPr>
            <p:cNvPr id="227" name="Freeform 903">
              <a:extLst>
                <a:ext uri="{FF2B5EF4-FFF2-40B4-BE49-F238E27FC236}">
                  <a16:creationId xmlns:a16="http://schemas.microsoft.com/office/drawing/2014/main" id="{BC844F55-73B9-4454-9F46-1B460B77C6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93304" y="3431858"/>
              <a:ext cx="39858" cy="46010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nvestment Management Solutions Provider</a:t>
            </a:r>
            <a:endParaRPr lang="da-DK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mcorp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/>
              <a:t>Established in 1971</a:t>
            </a:r>
          </a:p>
          <a:p>
            <a:r>
              <a:rPr lang="en-US" dirty="0"/>
              <a:t>EUR 382.6 million revenue</a:t>
            </a:r>
          </a:p>
          <a:p>
            <a:r>
              <a:rPr lang="en-US" dirty="0"/>
              <a:t>25 offices globally, main development in DK and UA</a:t>
            </a:r>
          </a:p>
          <a:p>
            <a:r>
              <a:rPr lang="da-DK" dirty="0"/>
              <a:t>1660 </a:t>
            </a:r>
            <a:r>
              <a:rPr lang="da-DK" dirty="0" err="1"/>
              <a:t>employees</a:t>
            </a:r>
            <a:r>
              <a:rPr lang="da-DK" dirty="0"/>
              <a:t> (2018)</a:t>
            </a:r>
            <a:endParaRPr lang="en-US" dirty="0"/>
          </a:p>
          <a:p>
            <a:r>
              <a:rPr lang="en-US" dirty="0"/>
              <a:t>190 SimCorp Dimension clients worldwide</a:t>
            </a:r>
          </a:p>
          <a:p>
            <a:r>
              <a:rPr lang="da-DK" dirty="0"/>
              <a:t>+16,000 users on </a:t>
            </a:r>
            <a:r>
              <a:rPr lang="da-DK" dirty="0" err="1"/>
              <a:t>SimCorp</a:t>
            </a:r>
            <a:r>
              <a:rPr lang="da-DK" dirty="0"/>
              <a:t> Dimension</a:t>
            </a:r>
            <a:endParaRPr lang="en-US" dirty="0"/>
          </a:p>
        </p:txBody>
      </p: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1EF69285-D087-4B4A-8306-16405216F787}"/>
              </a:ext>
            </a:extLst>
          </p:cNvPr>
          <p:cNvGrpSpPr/>
          <p:nvPr/>
        </p:nvGrpSpPr>
        <p:grpSpPr>
          <a:xfrm>
            <a:off x="7169140" y="1081356"/>
            <a:ext cx="4375699" cy="4737596"/>
            <a:chOff x="4185863" y="1617300"/>
            <a:chExt cx="4375699" cy="4737596"/>
          </a:xfrm>
        </p:grpSpPr>
        <p:sp>
          <p:nvSpPr>
            <p:cNvPr id="409" name="Freeform 903">
              <a:extLst>
                <a:ext uri="{FF2B5EF4-FFF2-40B4-BE49-F238E27FC236}">
                  <a16:creationId xmlns:a16="http://schemas.microsoft.com/office/drawing/2014/main" id="{E3C7C690-3BB0-42E1-B0F2-9411D641B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863" y="1617300"/>
              <a:ext cx="4129667" cy="4737596"/>
            </a:xfrm>
            <a:custGeom>
              <a:avLst/>
              <a:gdLst>
                <a:gd name="T0" fmla="*/ 447 w 894"/>
                <a:gd name="T1" fmla="*/ 0 h 1032"/>
                <a:gd name="T2" fmla="*/ 0 w 894"/>
                <a:gd name="T3" fmla="*/ 259 h 1032"/>
                <a:gd name="T4" fmla="*/ 0 w 894"/>
                <a:gd name="T5" fmla="*/ 775 h 1032"/>
                <a:gd name="T6" fmla="*/ 447 w 894"/>
                <a:gd name="T7" fmla="*/ 1032 h 1032"/>
                <a:gd name="T8" fmla="*/ 894 w 894"/>
                <a:gd name="T9" fmla="*/ 775 h 1032"/>
                <a:gd name="T10" fmla="*/ 894 w 894"/>
                <a:gd name="T11" fmla="*/ 259 h 1032"/>
                <a:gd name="T12" fmla="*/ 447 w 894"/>
                <a:gd name="T13" fmla="*/ 0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1032">
                  <a:moveTo>
                    <a:pt x="447" y="0"/>
                  </a:moveTo>
                  <a:lnTo>
                    <a:pt x="0" y="259"/>
                  </a:lnTo>
                  <a:lnTo>
                    <a:pt x="0" y="775"/>
                  </a:lnTo>
                  <a:lnTo>
                    <a:pt x="447" y="1032"/>
                  </a:lnTo>
                  <a:lnTo>
                    <a:pt x="894" y="775"/>
                  </a:lnTo>
                  <a:lnTo>
                    <a:pt x="894" y="259"/>
                  </a:lnTo>
                  <a:lnTo>
                    <a:pt x="447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360000" tIns="1152000" rIns="360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120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</a:endParaRPr>
            </a:p>
          </p:txBody>
        </p:sp>
        <p:grpSp>
          <p:nvGrpSpPr>
            <p:cNvPr id="410" name="Group 54">
              <a:extLst>
                <a:ext uri="{FF2B5EF4-FFF2-40B4-BE49-F238E27FC236}">
                  <a16:creationId xmlns:a16="http://schemas.microsoft.com/office/drawing/2014/main" id="{B0718B52-AFFD-45B2-B9AD-5F609800214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96263" y="3003859"/>
              <a:ext cx="3361400" cy="288000"/>
              <a:chOff x="2376487" y="3109912"/>
              <a:chExt cx="7428452" cy="636460"/>
            </a:xfrm>
            <a:solidFill>
              <a:schemeClr val="bg1"/>
            </a:solidFill>
          </p:grpSpPr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C87F3053-502D-4604-A7C1-0B0BA35B3977}"/>
                  </a:ext>
                </a:extLst>
              </p:cNvPr>
              <p:cNvSpPr/>
              <p:nvPr/>
            </p:nvSpPr>
            <p:spPr>
              <a:xfrm>
                <a:off x="8503253" y="3271170"/>
                <a:ext cx="285750" cy="361950"/>
              </a:xfrm>
              <a:custGeom>
                <a:avLst/>
                <a:gdLst>
                  <a:gd name="connsiteX0" fmla="*/ 181452 w 285750"/>
                  <a:gd name="connsiteY0" fmla="*/ 152210 h 361950"/>
                  <a:gd name="connsiteX1" fmla="*/ 141447 w 285750"/>
                  <a:gd name="connsiteY1" fmla="*/ 144590 h 361950"/>
                  <a:gd name="connsiteX2" fmla="*/ 72962 w 285750"/>
                  <a:gd name="connsiteY2" fmla="*/ 96203 h 361950"/>
                  <a:gd name="connsiteX3" fmla="*/ 160782 w 285750"/>
                  <a:gd name="connsiteY3" fmla="*/ 55150 h 361950"/>
                  <a:gd name="connsiteX4" fmla="*/ 261081 w 285750"/>
                  <a:gd name="connsiteY4" fmla="*/ 71818 h 361950"/>
                  <a:gd name="connsiteX5" fmla="*/ 261081 w 285750"/>
                  <a:gd name="connsiteY5" fmla="*/ 17145 h 361950"/>
                  <a:gd name="connsiteX6" fmla="*/ 152686 w 285750"/>
                  <a:gd name="connsiteY6" fmla="*/ 0 h 361950"/>
                  <a:gd name="connsiteX7" fmla="*/ 0 w 285750"/>
                  <a:gd name="connsiteY7" fmla="*/ 96203 h 361950"/>
                  <a:gd name="connsiteX8" fmla="*/ 104394 w 285750"/>
                  <a:gd name="connsiteY8" fmla="*/ 206026 h 361950"/>
                  <a:gd name="connsiteX9" fmla="*/ 143446 w 285750"/>
                  <a:gd name="connsiteY9" fmla="*/ 213741 h 361950"/>
                  <a:gd name="connsiteX10" fmla="*/ 217456 w 285750"/>
                  <a:gd name="connsiteY10" fmla="*/ 262985 h 361950"/>
                  <a:gd name="connsiteX11" fmla="*/ 121730 w 285750"/>
                  <a:gd name="connsiteY11" fmla="*/ 308705 h 361950"/>
                  <a:gd name="connsiteX12" fmla="*/ 5049 w 285750"/>
                  <a:gd name="connsiteY12" fmla="*/ 289560 h 361950"/>
                  <a:gd name="connsiteX13" fmla="*/ 4096 w 285750"/>
                  <a:gd name="connsiteY13" fmla="*/ 342424 h 361950"/>
                  <a:gd name="connsiteX14" fmla="*/ 135541 w 285750"/>
                  <a:gd name="connsiteY14" fmla="*/ 363855 h 361950"/>
                  <a:gd name="connsiteX15" fmla="*/ 293084 w 285750"/>
                  <a:gd name="connsiteY15" fmla="*/ 255270 h 361950"/>
                  <a:gd name="connsiteX16" fmla="*/ 181452 w 285750"/>
                  <a:gd name="connsiteY16" fmla="*/ 152210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750" h="361950">
                    <a:moveTo>
                      <a:pt x="181452" y="152210"/>
                    </a:moveTo>
                    <a:lnTo>
                      <a:pt x="141447" y="144590"/>
                    </a:lnTo>
                    <a:cubicBezTo>
                      <a:pt x="102775" y="136493"/>
                      <a:pt x="69628" y="129350"/>
                      <a:pt x="72962" y="96203"/>
                    </a:cubicBezTo>
                    <a:cubicBezTo>
                      <a:pt x="76200" y="63722"/>
                      <a:pt x="103251" y="55150"/>
                      <a:pt x="160782" y="55150"/>
                    </a:cubicBezTo>
                    <a:cubicBezTo>
                      <a:pt x="206979" y="55150"/>
                      <a:pt x="238506" y="63722"/>
                      <a:pt x="261081" y="71818"/>
                    </a:cubicBezTo>
                    <a:lnTo>
                      <a:pt x="261081" y="17145"/>
                    </a:lnTo>
                    <a:cubicBezTo>
                      <a:pt x="239363" y="9144"/>
                      <a:pt x="203264" y="0"/>
                      <a:pt x="152686" y="0"/>
                    </a:cubicBezTo>
                    <a:cubicBezTo>
                      <a:pt x="54197" y="0"/>
                      <a:pt x="0" y="28004"/>
                      <a:pt x="0" y="96203"/>
                    </a:cubicBezTo>
                    <a:cubicBezTo>
                      <a:pt x="0" y="152305"/>
                      <a:pt x="33147" y="193739"/>
                      <a:pt x="104394" y="206026"/>
                    </a:cubicBezTo>
                    <a:lnTo>
                      <a:pt x="143446" y="213741"/>
                    </a:lnTo>
                    <a:cubicBezTo>
                      <a:pt x="190215" y="222218"/>
                      <a:pt x="217456" y="225266"/>
                      <a:pt x="217456" y="262985"/>
                    </a:cubicBezTo>
                    <a:cubicBezTo>
                      <a:pt x="217456" y="300419"/>
                      <a:pt x="192691" y="308705"/>
                      <a:pt x="121730" y="308705"/>
                    </a:cubicBezTo>
                    <a:cubicBezTo>
                      <a:pt x="64198" y="308705"/>
                      <a:pt x="37243" y="300323"/>
                      <a:pt x="5049" y="289560"/>
                    </a:cubicBezTo>
                    <a:lnTo>
                      <a:pt x="4096" y="342424"/>
                    </a:lnTo>
                    <a:cubicBezTo>
                      <a:pt x="36576" y="356807"/>
                      <a:pt x="79629" y="363855"/>
                      <a:pt x="135541" y="363855"/>
                    </a:cubicBezTo>
                    <a:cubicBezTo>
                      <a:pt x="238602" y="363855"/>
                      <a:pt x="293084" y="326326"/>
                      <a:pt x="293084" y="255270"/>
                    </a:cubicBezTo>
                    <a:cubicBezTo>
                      <a:pt x="293084" y="195263"/>
                      <a:pt x="263843" y="168307"/>
                      <a:pt x="181452" y="1522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EA3A1A7E-1C06-473B-B50A-8F5AE5B96E04}"/>
                  </a:ext>
                </a:extLst>
              </p:cNvPr>
              <p:cNvSpPr/>
              <p:nvPr/>
            </p:nvSpPr>
            <p:spPr>
              <a:xfrm>
                <a:off x="3674649" y="3278314"/>
                <a:ext cx="85725" cy="342900"/>
              </a:xfrm>
              <a:custGeom>
                <a:avLst/>
                <a:gdLst>
                  <a:gd name="connsiteX0" fmla="*/ 0 w 85725"/>
                  <a:gd name="connsiteY0" fmla="*/ 0 h 342900"/>
                  <a:gd name="connsiteX1" fmla="*/ 88678 w 85725"/>
                  <a:gd name="connsiteY1" fmla="*/ 0 h 342900"/>
                  <a:gd name="connsiteX2" fmla="*/ 88678 w 85725"/>
                  <a:gd name="connsiteY2" fmla="*/ 343853 h 342900"/>
                  <a:gd name="connsiteX3" fmla="*/ 0 w 85725"/>
                  <a:gd name="connsiteY3" fmla="*/ 34385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342900">
                    <a:moveTo>
                      <a:pt x="0" y="0"/>
                    </a:moveTo>
                    <a:lnTo>
                      <a:pt x="88678" y="0"/>
                    </a:lnTo>
                    <a:lnTo>
                      <a:pt x="88678" y="343853"/>
                    </a:lnTo>
                    <a:lnTo>
                      <a:pt x="0" y="3438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656066CC-E0F6-4A13-A7DD-ECAC0487082B}"/>
                  </a:ext>
                </a:extLst>
              </p:cNvPr>
              <p:cNvSpPr/>
              <p:nvPr/>
            </p:nvSpPr>
            <p:spPr>
              <a:xfrm>
                <a:off x="3876008" y="3270122"/>
                <a:ext cx="571500" cy="342900"/>
              </a:xfrm>
              <a:custGeom>
                <a:avLst/>
                <a:gdLst>
                  <a:gd name="connsiteX0" fmla="*/ 453390 w 571500"/>
                  <a:gd name="connsiteY0" fmla="*/ 0 h 342900"/>
                  <a:gd name="connsiteX1" fmla="*/ 326136 w 571500"/>
                  <a:gd name="connsiteY1" fmla="*/ 70961 h 342900"/>
                  <a:gd name="connsiteX2" fmla="*/ 208979 w 571500"/>
                  <a:gd name="connsiteY2" fmla="*/ 0 h 342900"/>
                  <a:gd name="connsiteX3" fmla="*/ 88678 w 571500"/>
                  <a:gd name="connsiteY3" fmla="*/ 70961 h 342900"/>
                  <a:gd name="connsiteX4" fmla="*/ 88678 w 571500"/>
                  <a:gd name="connsiteY4" fmla="*/ 8858 h 342900"/>
                  <a:gd name="connsiteX5" fmla="*/ 0 w 571500"/>
                  <a:gd name="connsiteY5" fmla="*/ 8858 h 342900"/>
                  <a:gd name="connsiteX6" fmla="*/ 0 w 571500"/>
                  <a:gd name="connsiteY6" fmla="*/ 352044 h 342900"/>
                  <a:gd name="connsiteX7" fmla="*/ 88678 w 571500"/>
                  <a:gd name="connsiteY7" fmla="*/ 352044 h 342900"/>
                  <a:gd name="connsiteX8" fmla="*/ 88678 w 571500"/>
                  <a:gd name="connsiteY8" fmla="*/ 174117 h 342900"/>
                  <a:gd name="connsiteX9" fmla="*/ 172307 w 571500"/>
                  <a:gd name="connsiteY9" fmla="*/ 60103 h 342900"/>
                  <a:gd name="connsiteX10" fmla="*/ 245174 w 571500"/>
                  <a:gd name="connsiteY10" fmla="*/ 151257 h 342900"/>
                  <a:gd name="connsiteX11" fmla="*/ 245174 w 571500"/>
                  <a:gd name="connsiteY11" fmla="*/ 351949 h 342900"/>
                  <a:gd name="connsiteX12" fmla="*/ 333851 w 571500"/>
                  <a:gd name="connsiteY12" fmla="*/ 351949 h 342900"/>
                  <a:gd name="connsiteX13" fmla="*/ 333851 w 571500"/>
                  <a:gd name="connsiteY13" fmla="*/ 174117 h 342900"/>
                  <a:gd name="connsiteX14" fmla="*/ 416814 w 571500"/>
                  <a:gd name="connsiteY14" fmla="*/ 60103 h 342900"/>
                  <a:gd name="connsiteX15" fmla="*/ 489680 w 571500"/>
                  <a:gd name="connsiteY15" fmla="*/ 151257 h 342900"/>
                  <a:gd name="connsiteX16" fmla="*/ 489680 w 571500"/>
                  <a:gd name="connsiteY16" fmla="*/ 351949 h 342900"/>
                  <a:gd name="connsiteX17" fmla="*/ 578358 w 571500"/>
                  <a:gd name="connsiteY17" fmla="*/ 351949 h 342900"/>
                  <a:gd name="connsiteX18" fmla="*/ 578358 w 571500"/>
                  <a:gd name="connsiteY18" fmla="*/ 134779 h 342900"/>
                  <a:gd name="connsiteX19" fmla="*/ 453390 w 571500"/>
                  <a:gd name="connsiteY19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0" h="342900">
                    <a:moveTo>
                      <a:pt x="453390" y="0"/>
                    </a:moveTo>
                    <a:cubicBezTo>
                      <a:pt x="341281" y="0"/>
                      <a:pt x="326136" y="70961"/>
                      <a:pt x="326136" y="70961"/>
                    </a:cubicBezTo>
                    <a:cubicBezTo>
                      <a:pt x="311563" y="19050"/>
                      <a:pt x="274225" y="0"/>
                      <a:pt x="208979" y="0"/>
                    </a:cubicBezTo>
                    <a:cubicBezTo>
                      <a:pt x="94964" y="0"/>
                      <a:pt x="88678" y="70961"/>
                      <a:pt x="88678" y="70961"/>
                    </a:cubicBezTo>
                    <a:lnTo>
                      <a:pt x="88678" y="8858"/>
                    </a:lnTo>
                    <a:lnTo>
                      <a:pt x="0" y="8858"/>
                    </a:lnTo>
                    <a:lnTo>
                      <a:pt x="0" y="352044"/>
                    </a:lnTo>
                    <a:lnTo>
                      <a:pt x="88678" y="352044"/>
                    </a:lnTo>
                    <a:lnTo>
                      <a:pt x="88678" y="174117"/>
                    </a:lnTo>
                    <a:cubicBezTo>
                      <a:pt x="88678" y="84868"/>
                      <a:pt x="122206" y="60103"/>
                      <a:pt x="172307" y="60103"/>
                    </a:cubicBezTo>
                    <a:cubicBezTo>
                      <a:pt x="224885" y="60103"/>
                      <a:pt x="245174" y="74009"/>
                      <a:pt x="245174" y="151257"/>
                    </a:cubicBezTo>
                    <a:lnTo>
                      <a:pt x="245174" y="351949"/>
                    </a:lnTo>
                    <a:lnTo>
                      <a:pt x="333851" y="351949"/>
                    </a:lnTo>
                    <a:lnTo>
                      <a:pt x="333851" y="174117"/>
                    </a:lnTo>
                    <a:cubicBezTo>
                      <a:pt x="333851" y="85439"/>
                      <a:pt x="366808" y="60103"/>
                      <a:pt x="416814" y="60103"/>
                    </a:cubicBezTo>
                    <a:cubicBezTo>
                      <a:pt x="469392" y="60103"/>
                      <a:pt x="489680" y="74009"/>
                      <a:pt x="489680" y="151257"/>
                    </a:cubicBezTo>
                    <a:lnTo>
                      <a:pt x="489680" y="351949"/>
                    </a:lnTo>
                    <a:lnTo>
                      <a:pt x="578358" y="351949"/>
                    </a:lnTo>
                    <a:lnTo>
                      <a:pt x="578358" y="134779"/>
                    </a:lnTo>
                    <a:cubicBezTo>
                      <a:pt x="578168" y="34195"/>
                      <a:pt x="540830" y="0"/>
                      <a:pt x="45339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C3DC97CF-17BA-47CC-9DC9-3C54F77D8D64}"/>
                  </a:ext>
                </a:extLst>
              </p:cNvPr>
              <p:cNvSpPr/>
              <p:nvPr/>
            </p:nvSpPr>
            <p:spPr>
              <a:xfrm>
                <a:off x="4529423" y="3117532"/>
                <a:ext cx="419100" cy="504825"/>
              </a:xfrm>
              <a:custGeom>
                <a:avLst/>
                <a:gdLst>
                  <a:gd name="connsiteX0" fmla="*/ 98203 w 419100"/>
                  <a:gd name="connsiteY0" fmla="*/ 252032 h 504825"/>
                  <a:gd name="connsiteX1" fmla="*/ 278701 w 419100"/>
                  <a:gd name="connsiteY1" fmla="*/ 65246 h 504825"/>
                  <a:gd name="connsiteX2" fmla="*/ 409765 w 419100"/>
                  <a:gd name="connsiteY2" fmla="*/ 91250 h 504825"/>
                  <a:gd name="connsiteX3" fmla="*/ 409765 w 419100"/>
                  <a:gd name="connsiteY3" fmla="*/ 24670 h 504825"/>
                  <a:gd name="connsiteX4" fmla="*/ 270415 w 419100"/>
                  <a:gd name="connsiteY4" fmla="*/ 0 h 504825"/>
                  <a:gd name="connsiteX5" fmla="*/ 0 w 419100"/>
                  <a:gd name="connsiteY5" fmla="*/ 256508 h 504825"/>
                  <a:gd name="connsiteX6" fmla="*/ 270986 w 419100"/>
                  <a:gd name="connsiteY6" fmla="*/ 513588 h 504825"/>
                  <a:gd name="connsiteX7" fmla="*/ 421672 w 419100"/>
                  <a:gd name="connsiteY7" fmla="*/ 485680 h 504825"/>
                  <a:gd name="connsiteX8" fmla="*/ 421672 w 419100"/>
                  <a:gd name="connsiteY8" fmla="*/ 415385 h 504825"/>
                  <a:gd name="connsiteX9" fmla="*/ 284893 w 419100"/>
                  <a:gd name="connsiteY9" fmla="*/ 447008 h 504825"/>
                  <a:gd name="connsiteX10" fmla="*/ 98203 w 419100"/>
                  <a:gd name="connsiteY10" fmla="*/ 252032 h 50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100" h="504825">
                    <a:moveTo>
                      <a:pt x="98203" y="252032"/>
                    </a:moveTo>
                    <a:cubicBezTo>
                      <a:pt x="98203" y="112681"/>
                      <a:pt x="144399" y="65246"/>
                      <a:pt x="278701" y="65246"/>
                    </a:cubicBezTo>
                    <a:cubicBezTo>
                      <a:pt x="350234" y="65246"/>
                      <a:pt x="409765" y="91250"/>
                      <a:pt x="409765" y="91250"/>
                    </a:cubicBezTo>
                    <a:lnTo>
                      <a:pt x="409765" y="24670"/>
                    </a:lnTo>
                    <a:cubicBezTo>
                      <a:pt x="409765" y="24670"/>
                      <a:pt x="355282" y="0"/>
                      <a:pt x="270415" y="0"/>
                    </a:cubicBezTo>
                    <a:cubicBezTo>
                      <a:pt x="105728" y="0"/>
                      <a:pt x="0" y="74676"/>
                      <a:pt x="0" y="256508"/>
                    </a:cubicBezTo>
                    <a:cubicBezTo>
                      <a:pt x="0" y="438341"/>
                      <a:pt x="84201" y="513588"/>
                      <a:pt x="270986" y="513588"/>
                    </a:cubicBezTo>
                    <a:cubicBezTo>
                      <a:pt x="367284" y="513588"/>
                      <a:pt x="421672" y="485680"/>
                      <a:pt x="421672" y="485680"/>
                    </a:cubicBezTo>
                    <a:lnTo>
                      <a:pt x="421672" y="415385"/>
                    </a:lnTo>
                    <a:cubicBezTo>
                      <a:pt x="421672" y="415385"/>
                      <a:pt x="372904" y="447008"/>
                      <a:pt x="284893" y="447008"/>
                    </a:cubicBezTo>
                    <a:cubicBezTo>
                      <a:pt x="164116" y="447008"/>
                      <a:pt x="98203" y="404622"/>
                      <a:pt x="98203" y="25203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190432C6-6204-4C7C-B0EA-7764C1BEA5BB}"/>
                  </a:ext>
                </a:extLst>
              </p:cNvPr>
              <p:cNvSpPr/>
              <p:nvPr/>
            </p:nvSpPr>
            <p:spPr>
              <a:xfrm>
                <a:off x="3673411" y="3122580"/>
                <a:ext cx="85725" cy="85725"/>
              </a:xfrm>
              <a:custGeom>
                <a:avLst/>
                <a:gdLst>
                  <a:gd name="connsiteX0" fmla="*/ 0 w 85725"/>
                  <a:gd name="connsiteY0" fmla="*/ 0 h 85725"/>
                  <a:gd name="connsiteX1" fmla="*/ 91154 w 85725"/>
                  <a:gd name="connsiteY1" fmla="*/ 0 h 85725"/>
                  <a:gd name="connsiteX2" fmla="*/ 91154 w 85725"/>
                  <a:gd name="connsiteY2" fmla="*/ 86773 h 85725"/>
                  <a:gd name="connsiteX3" fmla="*/ 0 w 85725"/>
                  <a:gd name="connsiteY3" fmla="*/ 8677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85725">
                    <a:moveTo>
                      <a:pt x="0" y="0"/>
                    </a:moveTo>
                    <a:lnTo>
                      <a:pt x="91154" y="0"/>
                    </a:lnTo>
                    <a:lnTo>
                      <a:pt x="91154" y="86773"/>
                    </a:lnTo>
                    <a:lnTo>
                      <a:pt x="0" y="867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44A2B2D6-932F-4169-81AC-EEEDDBB6D78E}"/>
                  </a:ext>
                </a:extLst>
              </p:cNvPr>
              <p:cNvSpPr/>
              <p:nvPr/>
            </p:nvSpPr>
            <p:spPr>
              <a:xfrm>
                <a:off x="2509646" y="3243071"/>
                <a:ext cx="285750" cy="285750"/>
              </a:xfrm>
              <a:custGeom>
                <a:avLst/>
                <a:gdLst>
                  <a:gd name="connsiteX0" fmla="*/ 0 w 285750"/>
                  <a:gd name="connsiteY0" fmla="*/ 289274 h 285750"/>
                  <a:gd name="connsiteX1" fmla="*/ 289274 w 285750"/>
                  <a:gd name="connsiteY1" fmla="*/ 289274 h 285750"/>
                  <a:gd name="connsiteX2" fmla="*/ 289274 w 285750"/>
                  <a:gd name="connsiteY2" fmla="*/ 0 h 285750"/>
                  <a:gd name="connsiteX3" fmla="*/ 0 w 285750"/>
                  <a:gd name="connsiteY3" fmla="*/ 0 h 285750"/>
                  <a:gd name="connsiteX4" fmla="*/ 0 w 285750"/>
                  <a:gd name="connsiteY4" fmla="*/ 289274 h 285750"/>
                  <a:gd name="connsiteX5" fmla="*/ 62198 w 285750"/>
                  <a:gd name="connsiteY5" fmla="*/ 62198 h 285750"/>
                  <a:gd name="connsiteX6" fmla="*/ 257556 w 285750"/>
                  <a:gd name="connsiteY6" fmla="*/ 62198 h 285750"/>
                  <a:gd name="connsiteX7" fmla="*/ 257556 w 285750"/>
                  <a:gd name="connsiteY7" fmla="*/ 257556 h 285750"/>
                  <a:gd name="connsiteX8" fmla="*/ 62198 w 285750"/>
                  <a:gd name="connsiteY8" fmla="*/ 257556 h 285750"/>
                  <a:gd name="connsiteX9" fmla="*/ 62198 w 285750"/>
                  <a:gd name="connsiteY9" fmla="*/ 62198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0" h="285750">
                    <a:moveTo>
                      <a:pt x="0" y="289274"/>
                    </a:moveTo>
                    <a:lnTo>
                      <a:pt x="289274" y="289274"/>
                    </a:lnTo>
                    <a:lnTo>
                      <a:pt x="289274" y="0"/>
                    </a:lnTo>
                    <a:lnTo>
                      <a:pt x="0" y="0"/>
                    </a:lnTo>
                    <a:lnTo>
                      <a:pt x="0" y="289274"/>
                    </a:lnTo>
                    <a:close/>
                    <a:moveTo>
                      <a:pt x="62198" y="62198"/>
                    </a:moveTo>
                    <a:lnTo>
                      <a:pt x="257556" y="62198"/>
                    </a:lnTo>
                    <a:lnTo>
                      <a:pt x="257556" y="257556"/>
                    </a:lnTo>
                    <a:lnTo>
                      <a:pt x="62198" y="257556"/>
                    </a:lnTo>
                    <a:lnTo>
                      <a:pt x="62198" y="6219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DEAA9691-4984-41A4-92DC-A829EC09DD8D}"/>
                  </a:ext>
                </a:extLst>
              </p:cNvPr>
              <p:cNvSpPr/>
              <p:nvPr/>
            </p:nvSpPr>
            <p:spPr>
              <a:xfrm>
                <a:off x="2591466" y="3324891"/>
                <a:ext cx="152400" cy="152400"/>
              </a:xfrm>
              <a:custGeom>
                <a:avLst/>
                <a:gdLst>
                  <a:gd name="connsiteX0" fmla="*/ 0 w 152400"/>
                  <a:gd name="connsiteY0" fmla="*/ 156115 h 152400"/>
                  <a:gd name="connsiteX1" fmla="*/ 156115 w 152400"/>
                  <a:gd name="connsiteY1" fmla="*/ 156115 h 152400"/>
                  <a:gd name="connsiteX2" fmla="*/ 156115 w 152400"/>
                  <a:gd name="connsiteY2" fmla="*/ 0 h 152400"/>
                  <a:gd name="connsiteX3" fmla="*/ 0 w 152400"/>
                  <a:gd name="connsiteY3" fmla="*/ 0 h 152400"/>
                  <a:gd name="connsiteX4" fmla="*/ 0 w 152400"/>
                  <a:gd name="connsiteY4" fmla="*/ 156115 h 152400"/>
                  <a:gd name="connsiteX5" fmla="*/ 62294 w 152400"/>
                  <a:gd name="connsiteY5" fmla="*/ 62294 h 152400"/>
                  <a:gd name="connsiteX6" fmla="*/ 124492 w 152400"/>
                  <a:gd name="connsiteY6" fmla="*/ 62294 h 152400"/>
                  <a:gd name="connsiteX7" fmla="*/ 124492 w 152400"/>
                  <a:gd name="connsiteY7" fmla="*/ 124492 h 152400"/>
                  <a:gd name="connsiteX8" fmla="*/ 62294 w 152400"/>
                  <a:gd name="connsiteY8" fmla="*/ 124492 h 152400"/>
                  <a:gd name="connsiteX9" fmla="*/ 62294 w 152400"/>
                  <a:gd name="connsiteY9" fmla="*/ 62294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2400" h="152400">
                    <a:moveTo>
                      <a:pt x="0" y="156115"/>
                    </a:moveTo>
                    <a:lnTo>
                      <a:pt x="156115" y="156115"/>
                    </a:lnTo>
                    <a:lnTo>
                      <a:pt x="156115" y="0"/>
                    </a:lnTo>
                    <a:lnTo>
                      <a:pt x="0" y="0"/>
                    </a:lnTo>
                    <a:lnTo>
                      <a:pt x="0" y="156115"/>
                    </a:lnTo>
                    <a:close/>
                    <a:moveTo>
                      <a:pt x="62294" y="62294"/>
                    </a:moveTo>
                    <a:lnTo>
                      <a:pt x="124492" y="62294"/>
                    </a:lnTo>
                    <a:lnTo>
                      <a:pt x="124492" y="124492"/>
                    </a:lnTo>
                    <a:lnTo>
                      <a:pt x="62294" y="124492"/>
                    </a:lnTo>
                    <a:lnTo>
                      <a:pt x="62294" y="6229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E70E707A-9CAD-4656-A8A6-8E3F8D3192FE}"/>
                  </a:ext>
                </a:extLst>
              </p:cNvPr>
              <p:cNvSpPr/>
              <p:nvPr/>
            </p:nvSpPr>
            <p:spPr>
              <a:xfrm>
                <a:off x="2376487" y="3109912"/>
                <a:ext cx="523875" cy="523875"/>
              </a:xfrm>
              <a:custGeom>
                <a:avLst/>
                <a:gdLst>
                  <a:gd name="connsiteX0" fmla="*/ 0 w 523875"/>
                  <a:gd name="connsiteY0" fmla="*/ 524923 h 523875"/>
                  <a:gd name="connsiteX1" fmla="*/ 524923 w 523875"/>
                  <a:gd name="connsiteY1" fmla="*/ 524923 h 523875"/>
                  <a:gd name="connsiteX2" fmla="*/ 524923 w 523875"/>
                  <a:gd name="connsiteY2" fmla="*/ 0 h 523875"/>
                  <a:gd name="connsiteX3" fmla="*/ 0 w 523875"/>
                  <a:gd name="connsiteY3" fmla="*/ 0 h 523875"/>
                  <a:gd name="connsiteX4" fmla="*/ 0 w 523875"/>
                  <a:gd name="connsiteY4" fmla="*/ 524923 h 523875"/>
                  <a:gd name="connsiteX5" fmla="*/ 31623 w 523875"/>
                  <a:gd name="connsiteY5" fmla="*/ 31623 h 523875"/>
                  <a:gd name="connsiteX6" fmla="*/ 493300 w 523875"/>
                  <a:gd name="connsiteY6" fmla="*/ 31623 h 523875"/>
                  <a:gd name="connsiteX7" fmla="*/ 493300 w 523875"/>
                  <a:gd name="connsiteY7" fmla="*/ 493300 h 523875"/>
                  <a:gd name="connsiteX8" fmla="*/ 31623 w 523875"/>
                  <a:gd name="connsiteY8" fmla="*/ 493300 h 523875"/>
                  <a:gd name="connsiteX9" fmla="*/ 31623 w 523875"/>
                  <a:gd name="connsiteY9" fmla="*/ 31623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3875" h="523875">
                    <a:moveTo>
                      <a:pt x="0" y="524923"/>
                    </a:moveTo>
                    <a:lnTo>
                      <a:pt x="524923" y="524923"/>
                    </a:lnTo>
                    <a:lnTo>
                      <a:pt x="524923" y="0"/>
                    </a:lnTo>
                    <a:lnTo>
                      <a:pt x="0" y="0"/>
                    </a:lnTo>
                    <a:lnTo>
                      <a:pt x="0" y="524923"/>
                    </a:lnTo>
                    <a:close/>
                    <a:moveTo>
                      <a:pt x="31623" y="31623"/>
                    </a:moveTo>
                    <a:lnTo>
                      <a:pt x="493300" y="31623"/>
                    </a:lnTo>
                    <a:lnTo>
                      <a:pt x="493300" y="493300"/>
                    </a:lnTo>
                    <a:lnTo>
                      <a:pt x="31623" y="493300"/>
                    </a:lnTo>
                    <a:lnTo>
                      <a:pt x="31623" y="31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CC8E60CE-C995-407F-8C88-DD84F4268401}"/>
                  </a:ext>
                </a:extLst>
              </p:cNvPr>
              <p:cNvSpPr/>
              <p:nvPr/>
            </p:nvSpPr>
            <p:spPr>
              <a:xfrm>
                <a:off x="3179540" y="3115627"/>
                <a:ext cx="400050" cy="514350"/>
              </a:xfrm>
              <a:custGeom>
                <a:avLst/>
                <a:gdLst>
                  <a:gd name="connsiteX0" fmla="*/ 272225 w 400050"/>
                  <a:gd name="connsiteY0" fmla="*/ 224123 h 514350"/>
                  <a:gd name="connsiteX1" fmla="*/ 173450 w 400050"/>
                  <a:gd name="connsiteY1" fmla="*/ 200692 h 514350"/>
                  <a:gd name="connsiteX2" fmla="*/ 96203 w 400050"/>
                  <a:gd name="connsiteY2" fmla="*/ 131064 h 514350"/>
                  <a:gd name="connsiteX3" fmla="*/ 221552 w 400050"/>
                  <a:gd name="connsiteY3" fmla="*/ 62008 h 514350"/>
                  <a:gd name="connsiteX4" fmla="*/ 367856 w 400050"/>
                  <a:gd name="connsiteY4" fmla="*/ 84773 h 514350"/>
                  <a:gd name="connsiteX5" fmla="*/ 367856 w 400050"/>
                  <a:gd name="connsiteY5" fmla="*/ 16478 h 514350"/>
                  <a:gd name="connsiteX6" fmla="*/ 226028 w 400050"/>
                  <a:gd name="connsiteY6" fmla="*/ 0 h 514350"/>
                  <a:gd name="connsiteX7" fmla="*/ 0 w 400050"/>
                  <a:gd name="connsiteY7" fmla="*/ 140589 h 514350"/>
                  <a:gd name="connsiteX8" fmla="*/ 137446 w 400050"/>
                  <a:gd name="connsiteY8" fmla="*/ 276701 h 514350"/>
                  <a:gd name="connsiteX9" fmla="*/ 242602 w 400050"/>
                  <a:gd name="connsiteY9" fmla="*/ 302705 h 514350"/>
                  <a:gd name="connsiteX10" fmla="*/ 314135 w 400050"/>
                  <a:gd name="connsiteY10" fmla="*/ 376809 h 514350"/>
                  <a:gd name="connsiteX11" fmla="*/ 184976 w 400050"/>
                  <a:gd name="connsiteY11" fmla="*/ 451485 h 514350"/>
                  <a:gd name="connsiteX12" fmla="*/ 7049 w 400050"/>
                  <a:gd name="connsiteY12" fmla="*/ 421100 h 514350"/>
                  <a:gd name="connsiteX13" fmla="*/ 7049 w 400050"/>
                  <a:gd name="connsiteY13" fmla="*/ 492633 h 514350"/>
                  <a:gd name="connsiteX14" fmla="*/ 168497 w 400050"/>
                  <a:gd name="connsiteY14" fmla="*/ 515398 h 514350"/>
                  <a:gd name="connsiteX15" fmla="*/ 409099 w 400050"/>
                  <a:gd name="connsiteY15" fmla="*/ 365951 h 514350"/>
                  <a:gd name="connsiteX16" fmla="*/ 272225 w 400050"/>
                  <a:gd name="connsiteY16" fmla="*/ 224123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0050" h="514350">
                    <a:moveTo>
                      <a:pt x="272225" y="224123"/>
                    </a:moveTo>
                    <a:lnTo>
                      <a:pt x="173450" y="200692"/>
                    </a:lnTo>
                    <a:cubicBezTo>
                      <a:pt x="121539" y="188690"/>
                      <a:pt x="96203" y="176022"/>
                      <a:pt x="96203" y="131064"/>
                    </a:cubicBezTo>
                    <a:cubicBezTo>
                      <a:pt x="96203" y="70295"/>
                      <a:pt x="151924" y="62008"/>
                      <a:pt x="221552" y="62008"/>
                    </a:cubicBezTo>
                    <a:cubicBezTo>
                      <a:pt x="308324" y="62008"/>
                      <a:pt x="367856" y="84773"/>
                      <a:pt x="367856" y="84773"/>
                    </a:cubicBezTo>
                    <a:lnTo>
                      <a:pt x="367856" y="16478"/>
                    </a:lnTo>
                    <a:cubicBezTo>
                      <a:pt x="367856" y="16478"/>
                      <a:pt x="303276" y="0"/>
                      <a:pt x="226028" y="0"/>
                    </a:cubicBezTo>
                    <a:cubicBezTo>
                      <a:pt x="101251" y="0"/>
                      <a:pt x="0" y="30385"/>
                      <a:pt x="0" y="140589"/>
                    </a:cubicBezTo>
                    <a:cubicBezTo>
                      <a:pt x="0" y="227933"/>
                      <a:pt x="49435" y="255175"/>
                      <a:pt x="137446" y="276701"/>
                    </a:cubicBezTo>
                    <a:lnTo>
                      <a:pt x="242602" y="302705"/>
                    </a:lnTo>
                    <a:cubicBezTo>
                      <a:pt x="292037" y="314706"/>
                      <a:pt x="314135" y="328041"/>
                      <a:pt x="314135" y="376809"/>
                    </a:cubicBezTo>
                    <a:cubicBezTo>
                      <a:pt x="314135" y="445199"/>
                      <a:pt x="253937" y="451485"/>
                      <a:pt x="184976" y="451485"/>
                    </a:cubicBezTo>
                    <a:cubicBezTo>
                      <a:pt x="87440" y="451485"/>
                      <a:pt x="7049" y="421100"/>
                      <a:pt x="7049" y="421100"/>
                    </a:cubicBezTo>
                    <a:lnTo>
                      <a:pt x="7049" y="492633"/>
                    </a:lnTo>
                    <a:cubicBezTo>
                      <a:pt x="7049" y="492633"/>
                      <a:pt x="76105" y="515398"/>
                      <a:pt x="168497" y="515398"/>
                    </a:cubicBezTo>
                    <a:cubicBezTo>
                      <a:pt x="295180" y="515398"/>
                      <a:pt x="409099" y="492633"/>
                      <a:pt x="409099" y="365951"/>
                    </a:cubicBezTo>
                    <a:cubicBezTo>
                      <a:pt x="409004" y="274796"/>
                      <a:pt x="357664" y="244412"/>
                      <a:pt x="272225" y="2241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E614D5C5-E8CF-41E0-8E58-006F3E9500FC}"/>
                  </a:ext>
                </a:extLst>
              </p:cNvPr>
              <p:cNvSpPr/>
              <p:nvPr/>
            </p:nvSpPr>
            <p:spPr>
              <a:xfrm>
                <a:off x="2427732" y="3161157"/>
                <a:ext cx="419100" cy="419100"/>
              </a:xfrm>
              <a:custGeom>
                <a:avLst/>
                <a:gdLst>
                  <a:gd name="connsiteX0" fmla="*/ 0 w 419100"/>
                  <a:gd name="connsiteY0" fmla="*/ 422434 h 419100"/>
                  <a:gd name="connsiteX1" fmla="*/ 422434 w 419100"/>
                  <a:gd name="connsiteY1" fmla="*/ 422434 h 419100"/>
                  <a:gd name="connsiteX2" fmla="*/ 422434 w 419100"/>
                  <a:gd name="connsiteY2" fmla="*/ 0 h 419100"/>
                  <a:gd name="connsiteX3" fmla="*/ 0 w 419100"/>
                  <a:gd name="connsiteY3" fmla="*/ 0 h 419100"/>
                  <a:gd name="connsiteX4" fmla="*/ 0 w 419100"/>
                  <a:gd name="connsiteY4" fmla="*/ 422434 h 419100"/>
                  <a:gd name="connsiteX5" fmla="*/ 62294 w 419100"/>
                  <a:gd name="connsiteY5" fmla="*/ 62294 h 419100"/>
                  <a:gd name="connsiteX6" fmla="*/ 390811 w 419100"/>
                  <a:gd name="connsiteY6" fmla="*/ 62294 h 419100"/>
                  <a:gd name="connsiteX7" fmla="*/ 390811 w 419100"/>
                  <a:gd name="connsiteY7" fmla="*/ 390811 h 419100"/>
                  <a:gd name="connsiteX8" fmla="*/ 62294 w 419100"/>
                  <a:gd name="connsiteY8" fmla="*/ 390811 h 419100"/>
                  <a:gd name="connsiteX9" fmla="*/ 62294 w 419100"/>
                  <a:gd name="connsiteY9" fmla="*/ 62294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9100" h="419100">
                    <a:moveTo>
                      <a:pt x="0" y="422434"/>
                    </a:moveTo>
                    <a:lnTo>
                      <a:pt x="422434" y="422434"/>
                    </a:lnTo>
                    <a:lnTo>
                      <a:pt x="422434" y="0"/>
                    </a:lnTo>
                    <a:lnTo>
                      <a:pt x="0" y="0"/>
                    </a:lnTo>
                    <a:lnTo>
                      <a:pt x="0" y="422434"/>
                    </a:lnTo>
                    <a:close/>
                    <a:moveTo>
                      <a:pt x="62294" y="62294"/>
                    </a:moveTo>
                    <a:lnTo>
                      <a:pt x="390811" y="62294"/>
                    </a:lnTo>
                    <a:lnTo>
                      <a:pt x="390811" y="390811"/>
                    </a:lnTo>
                    <a:lnTo>
                      <a:pt x="62294" y="390811"/>
                    </a:lnTo>
                    <a:lnTo>
                      <a:pt x="62294" y="6229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B908A731-FB92-484F-A5B0-14726BFF8891}"/>
                  </a:ext>
                </a:extLst>
              </p:cNvPr>
              <p:cNvSpPr/>
              <p:nvPr/>
            </p:nvSpPr>
            <p:spPr>
              <a:xfrm>
                <a:off x="6817137" y="3122580"/>
                <a:ext cx="85725" cy="85725"/>
              </a:xfrm>
              <a:custGeom>
                <a:avLst/>
                <a:gdLst>
                  <a:gd name="connsiteX0" fmla="*/ 0 w 85725"/>
                  <a:gd name="connsiteY0" fmla="*/ 0 h 85725"/>
                  <a:gd name="connsiteX1" fmla="*/ 91154 w 85725"/>
                  <a:gd name="connsiteY1" fmla="*/ 0 h 85725"/>
                  <a:gd name="connsiteX2" fmla="*/ 91154 w 85725"/>
                  <a:gd name="connsiteY2" fmla="*/ 86773 h 85725"/>
                  <a:gd name="connsiteX3" fmla="*/ 0 w 85725"/>
                  <a:gd name="connsiteY3" fmla="*/ 8677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85725">
                    <a:moveTo>
                      <a:pt x="0" y="0"/>
                    </a:moveTo>
                    <a:lnTo>
                      <a:pt x="91154" y="0"/>
                    </a:lnTo>
                    <a:lnTo>
                      <a:pt x="91154" y="86773"/>
                    </a:lnTo>
                    <a:lnTo>
                      <a:pt x="0" y="867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270CC9E8-136F-45E4-BBF6-335D8605DAD8}"/>
                  </a:ext>
                </a:extLst>
              </p:cNvPr>
              <p:cNvSpPr/>
              <p:nvPr/>
            </p:nvSpPr>
            <p:spPr>
              <a:xfrm>
                <a:off x="8867679" y="3122580"/>
                <a:ext cx="85725" cy="85725"/>
              </a:xfrm>
              <a:custGeom>
                <a:avLst/>
                <a:gdLst>
                  <a:gd name="connsiteX0" fmla="*/ 0 w 85725"/>
                  <a:gd name="connsiteY0" fmla="*/ 0 h 85725"/>
                  <a:gd name="connsiteX1" fmla="*/ 91154 w 85725"/>
                  <a:gd name="connsiteY1" fmla="*/ 0 h 85725"/>
                  <a:gd name="connsiteX2" fmla="*/ 91154 w 85725"/>
                  <a:gd name="connsiteY2" fmla="*/ 86773 h 85725"/>
                  <a:gd name="connsiteX3" fmla="*/ 0 w 85725"/>
                  <a:gd name="connsiteY3" fmla="*/ 86773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85725">
                    <a:moveTo>
                      <a:pt x="0" y="0"/>
                    </a:moveTo>
                    <a:lnTo>
                      <a:pt x="91154" y="0"/>
                    </a:lnTo>
                    <a:lnTo>
                      <a:pt x="91154" y="86773"/>
                    </a:lnTo>
                    <a:lnTo>
                      <a:pt x="0" y="867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2EA66BE4-2522-4E55-B4F8-0E0ED455BA1C}"/>
                  </a:ext>
                </a:extLst>
              </p:cNvPr>
              <p:cNvSpPr/>
              <p:nvPr/>
            </p:nvSpPr>
            <p:spPr>
              <a:xfrm>
                <a:off x="8868918" y="3278314"/>
                <a:ext cx="85725" cy="342900"/>
              </a:xfrm>
              <a:custGeom>
                <a:avLst/>
                <a:gdLst>
                  <a:gd name="connsiteX0" fmla="*/ 0 w 85725"/>
                  <a:gd name="connsiteY0" fmla="*/ 0 h 342900"/>
                  <a:gd name="connsiteX1" fmla="*/ 88678 w 85725"/>
                  <a:gd name="connsiteY1" fmla="*/ 0 h 342900"/>
                  <a:gd name="connsiteX2" fmla="*/ 88678 w 85725"/>
                  <a:gd name="connsiteY2" fmla="*/ 343853 h 342900"/>
                  <a:gd name="connsiteX3" fmla="*/ 0 w 85725"/>
                  <a:gd name="connsiteY3" fmla="*/ 34385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342900">
                    <a:moveTo>
                      <a:pt x="0" y="0"/>
                    </a:moveTo>
                    <a:lnTo>
                      <a:pt x="88678" y="0"/>
                    </a:lnTo>
                    <a:lnTo>
                      <a:pt x="88678" y="343853"/>
                    </a:lnTo>
                    <a:lnTo>
                      <a:pt x="0" y="3438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918B9B45-BDBC-432A-9257-739ACFDF8B55}"/>
                  </a:ext>
                </a:extLst>
              </p:cNvPr>
              <p:cNvSpPr/>
              <p:nvPr/>
            </p:nvSpPr>
            <p:spPr>
              <a:xfrm>
                <a:off x="8083581" y="3270122"/>
                <a:ext cx="323850" cy="342900"/>
              </a:xfrm>
              <a:custGeom>
                <a:avLst/>
                <a:gdLst>
                  <a:gd name="connsiteX0" fmla="*/ 208407 w 323850"/>
                  <a:gd name="connsiteY0" fmla="*/ 0 h 342900"/>
                  <a:gd name="connsiteX1" fmla="*/ 88678 w 323850"/>
                  <a:gd name="connsiteY1" fmla="*/ 53340 h 342900"/>
                  <a:gd name="connsiteX2" fmla="*/ 88678 w 323850"/>
                  <a:gd name="connsiteY2" fmla="*/ 8858 h 342900"/>
                  <a:gd name="connsiteX3" fmla="*/ 0 w 323850"/>
                  <a:gd name="connsiteY3" fmla="*/ 8858 h 342900"/>
                  <a:gd name="connsiteX4" fmla="*/ 0 w 323850"/>
                  <a:gd name="connsiteY4" fmla="*/ 352044 h 342900"/>
                  <a:gd name="connsiteX5" fmla="*/ 88678 w 323850"/>
                  <a:gd name="connsiteY5" fmla="*/ 352044 h 342900"/>
                  <a:gd name="connsiteX6" fmla="*/ 88678 w 323850"/>
                  <a:gd name="connsiteY6" fmla="*/ 174117 h 342900"/>
                  <a:gd name="connsiteX7" fmla="*/ 171641 w 323850"/>
                  <a:gd name="connsiteY7" fmla="*/ 60103 h 342900"/>
                  <a:gd name="connsiteX8" fmla="*/ 244507 w 323850"/>
                  <a:gd name="connsiteY8" fmla="*/ 151257 h 342900"/>
                  <a:gd name="connsiteX9" fmla="*/ 244507 w 323850"/>
                  <a:gd name="connsiteY9" fmla="*/ 351949 h 342900"/>
                  <a:gd name="connsiteX10" fmla="*/ 333185 w 323850"/>
                  <a:gd name="connsiteY10" fmla="*/ 351949 h 342900"/>
                  <a:gd name="connsiteX11" fmla="*/ 333185 w 323850"/>
                  <a:gd name="connsiteY11" fmla="*/ 134779 h 342900"/>
                  <a:gd name="connsiteX12" fmla="*/ 208407 w 323850"/>
                  <a:gd name="connsiteY12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850" h="342900">
                    <a:moveTo>
                      <a:pt x="208407" y="0"/>
                    </a:moveTo>
                    <a:cubicBezTo>
                      <a:pt x="132683" y="0"/>
                      <a:pt x="101155" y="32385"/>
                      <a:pt x="88678" y="53340"/>
                    </a:cubicBezTo>
                    <a:lnTo>
                      <a:pt x="88678" y="8858"/>
                    </a:lnTo>
                    <a:lnTo>
                      <a:pt x="0" y="8858"/>
                    </a:lnTo>
                    <a:lnTo>
                      <a:pt x="0" y="352044"/>
                    </a:lnTo>
                    <a:lnTo>
                      <a:pt x="88678" y="352044"/>
                    </a:lnTo>
                    <a:lnTo>
                      <a:pt x="88678" y="174117"/>
                    </a:lnTo>
                    <a:cubicBezTo>
                      <a:pt x="88678" y="85439"/>
                      <a:pt x="121634" y="60103"/>
                      <a:pt x="171641" y="60103"/>
                    </a:cubicBezTo>
                    <a:cubicBezTo>
                      <a:pt x="224219" y="60103"/>
                      <a:pt x="244507" y="74009"/>
                      <a:pt x="244507" y="151257"/>
                    </a:cubicBezTo>
                    <a:lnTo>
                      <a:pt x="244507" y="351949"/>
                    </a:lnTo>
                    <a:lnTo>
                      <a:pt x="333185" y="351949"/>
                    </a:lnTo>
                    <a:lnTo>
                      <a:pt x="333185" y="134779"/>
                    </a:lnTo>
                    <a:cubicBezTo>
                      <a:pt x="333090" y="34195"/>
                      <a:pt x="295751" y="0"/>
                      <a:pt x="20840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553C014B-7364-464C-863F-6BCF93AD688A}"/>
                  </a:ext>
                </a:extLst>
              </p:cNvPr>
              <p:cNvSpPr/>
              <p:nvPr/>
            </p:nvSpPr>
            <p:spPr>
              <a:xfrm>
                <a:off x="9034176" y="3270789"/>
                <a:ext cx="371475" cy="352425"/>
              </a:xfrm>
              <a:custGeom>
                <a:avLst/>
                <a:gdLst>
                  <a:gd name="connsiteX0" fmla="*/ 185547 w 371475"/>
                  <a:gd name="connsiteY0" fmla="*/ 0 h 352425"/>
                  <a:gd name="connsiteX1" fmla="*/ 0 w 371475"/>
                  <a:gd name="connsiteY1" fmla="*/ 181737 h 352425"/>
                  <a:gd name="connsiteX2" fmla="*/ 185547 w 371475"/>
                  <a:gd name="connsiteY2" fmla="*/ 359664 h 352425"/>
                  <a:gd name="connsiteX3" fmla="*/ 372333 w 371475"/>
                  <a:gd name="connsiteY3" fmla="*/ 179832 h 352425"/>
                  <a:gd name="connsiteX4" fmla="*/ 185547 w 371475"/>
                  <a:gd name="connsiteY4" fmla="*/ 0 h 352425"/>
                  <a:gd name="connsiteX5" fmla="*/ 186786 w 371475"/>
                  <a:gd name="connsiteY5" fmla="*/ 309658 h 352425"/>
                  <a:gd name="connsiteX6" fmla="*/ 93059 w 371475"/>
                  <a:gd name="connsiteY6" fmla="*/ 179832 h 352425"/>
                  <a:gd name="connsiteX7" fmla="*/ 184214 w 371475"/>
                  <a:gd name="connsiteY7" fmla="*/ 50006 h 352425"/>
                  <a:gd name="connsiteX8" fmla="*/ 279178 w 371475"/>
                  <a:gd name="connsiteY8" fmla="*/ 179832 h 352425"/>
                  <a:gd name="connsiteX9" fmla="*/ 186786 w 371475"/>
                  <a:gd name="connsiteY9" fmla="*/ 309658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1475" h="352425">
                    <a:moveTo>
                      <a:pt x="185547" y="0"/>
                    </a:moveTo>
                    <a:cubicBezTo>
                      <a:pt x="69056" y="0"/>
                      <a:pt x="0" y="41815"/>
                      <a:pt x="0" y="181737"/>
                    </a:cubicBezTo>
                    <a:cubicBezTo>
                      <a:pt x="0" y="323564"/>
                      <a:pt x="69056" y="359664"/>
                      <a:pt x="185547" y="359664"/>
                    </a:cubicBezTo>
                    <a:cubicBezTo>
                      <a:pt x="302038" y="359664"/>
                      <a:pt x="372333" y="319754"/>
                      <a:pt x="372333" y="179832"/>
                    </a:cubicBezTo>
                    <a:cubicBezTo>
                      <a:pt x="372333" y="37910"/>
                      <a:pt x="302038" y="0"/>
                      <a:pt x="185547" y="0"/>
                    </a:cubicBezTo>
                    <a:close/>
                    <a:moveTo>
                      <a:pt x="186786" y="309658"/>
                    </a:moveTo>
                    <a:cubicBezTo>
                      <a:pt x="109538" y="309658"/>
                      <a:pt x="93059" y="269748"/>
                      <a:pt x="93059" y="179832"/>
                    </a:cubicBezTo>
                    <a:cubicBezTo>
                      <a:pt x="93059" y="91821"/>
                      <a:pt x="106966" y="50006"/>
                      <a:pt x="184214" y="50006"/>
                    </a:cubicBezTo>
                    <a:cubicBezTo>
                      <a:pt x="262128" y="50006"/>
                      <a:pt x="279178" y="89916"/>
                      <a:pt x="279178" y="179832"/>
                    </a:cubicBezTo>
                    <a:cubicBezTo>
                      <a:pt x="279273" y="267843"/>
                      <a:pt x="265367" y="309658"/>
                      <a:pt x="186786" y="3096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22F38441-2F83-41C1-85EF-9BCF592C6C9C}"/>
                  </a:ext>
                </a:extLst>
              </p:cNvPr>
              <p:cNvSpPr/>
              <p:nvPr/>
            </p:nvSpPr>
            <p:spPr>
              <a:xfrm>
                <a:off x="7664957" y="3270122"/>
                <a:ext cx="333375" cy="361950"/>
              </a:xfrm>
              <a:custGeom>
                <a:avLst/>
                <a:gdLst>
                  <a:gd name="connsiteX0" fmla="*/ 176213 w 333375"/>
                  <a:gd name="connsiteY0" fmla="*/ 0 h 361950"/>
                  <a:gd name="connsiteX1" fmla="*/ 0 w 333375"/>
                  <a:gd name="connsiteY1" fmla="*/ 185071 h 361950"/>
                  <a:gd name="connsiteX2" fmla="*/ 188786 w 333375"/>
                  <a:gd name="connsiteY2" fmla="*/ 364141 h 361950"/>
                  <a:gd name="connsiteX3" fmla="*/ 327660 w 333375"/>
                  <a:gd name="connsiteY3" fmla="*/ 332613 h 361950"/>
                  <a:gd name="connsiteX4" fmla="*/ 327660 w 333375"/>
                  <a:gd name="connsiteY4" fmla="*/ 277463 h 361950"/>
                  <a:gd name="connsiteX5" fmla="*/ 191453 w 333375"/>
                  <a:gd name="connsiteY5" fmla="*/ 303657 h 361950"/>
                  <a:gd name="connsiteX6" fmla="*/ 83534 w 333375"/>
                  <a:gd name="connsiteY6" fmla="*/ 206978 h 361950"/>
                  <a:gd name="connsiteX7" fmla="*/ 333470 w 333375"/>
                  <a:gd name="connsiteY7" fmla="*/ 206978 h 361950"/>
                  <a:gd name="connsiteX8" fmla="*/ 338900 w 333375"/>
                  <a:gd name="connsiteY8" fmla="*/ 155639 h 361950"/>
                  <a:gd name="connsiteX9" fmla="*/ 176213 w 333375"/>
                  <a:gd name="connsiteY9" fmla="*/ 0 h 361950"/>
                  <a:gd name="connsiteX10" fmla="*/ 83630 w 333375"/>
                  <a:gd name="connsiteY10" fmla="*/ 152591 h 361950"/>
                  <a:gd name="connsiteX11" fmla="*/ 175356 w 333375"/>
                  <a:gd name="connsiteY11" fmla="*/ 60389 h 361950"/>
                  <a:gd name="connsiteX12" fmla="*/ 257175 w 333375"/>
                  <a:gd name="connsiteY12" fmla="*/ 152591 h 361950"/>
                  <a:gd name="connsiteX13" fmla="*/ 83630 w 333375"/>
                  <a:gd name="connsiteY13" fmla="*/ 152591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33375" h="361950">
                    <a:moveTo>
                      <a:pt x="176213" y="0"/>
                    </a:moveTo>
                    <a:cubicBezTo>
                      <a:pt x="63818" y="0"/>
                      <a:pt x="0" y="68008"/>
                      <a:pt x="0" y="185071"/>
                    </a:cubicBezTo>
                    <a:cubicBezTo>
                      <a:pt x="0" y="305943"/>
                      <a:pt x="68295" y="364141"/>
                      <a:pt x="188786" y="364141"/>
                    </a:cubicBezTo>
                    <a:cubicBezTo>
                      <a:pt x="244507" y="364141"/>
                      <a:pt x="281369" y="351282"/>
                      <a:pt x="327660" y="332613"/>
                    </a:cubicBezTo>
                    <a:lnTo>
                      <a:pt x="327660" y="277463"/>
                    </a:lnTo>
                    <a:cubicBezTo>
                      <a:pt x="287655" y="292322"/>
                      <a:pt x="232791" y="303657"/>
                      <a:pt x="191453" y="303657"/>
                    </a:cubicBezTo>
                    <a:cubicBezTo>
                      <a:pt x="119539" y="303657"/>
                      <a:pt x="88964" y="268129"/>
                      <a:pt x="83534" y="206978"/>
                    </a:cubicBezTo>
                    <a:lnTo>
                      <a:pt x="333470" y="206978"/>
                    </a:lnTo>
                    <a:cubicBezTo>
                      <a:pt x="337090" y="191834"/>
                      <a:pt x="338900" y="172974"/>
                      <a:pt x="338900" y="155639"/>
                    </a:cubicBezTo>
                    <a:cubicBezTo>
                      <a:pt x="338900" y="61913"/>
                      <a:pt x="284131" y="0"/>
                      <a:pt x="176213" y="0"/>
                    </a:cubicBezTo>
                    <a:close/>
                    <a:moveTo>
                      <a:pt x="83630" y="152591"/>
                    </a:moveTo>
                    <a:cubicBezTo>
                      <a:pt x="88106" y="98965"/>
                      <a:pt x="116015" y="60389"/>
                      <a:pt x="175356" y="60389"/>
                    </a:cubicBezTo>
                    <a:cubicBezTo>
                      <a:pt x="235554" y="60389"/>
                      <a:pt x="256223" y="101156"/>
                      <a:pt x="257175" y="152591"/>
                    </a:cubicBezTo>
                    <a:lnTo>
                      <a:pt x="83630" y="1525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3621741F-7119-44FB-B067-63F318B86740}"/>
                  </a:ext>
                </a:extLst>
              </p:cNvPr>
              <p:cNvSpPr/>
              <p:nvPr/>
            </p:nvSpPr>
            <p:spPr>
              <a:xfrm>
                <a:off x="9481089" y="3270122"/>
                <a:ext cx="323850" cy="342900"/>
              </a:xfrm>
              <a:custGeom>
                <a:avLst/>
                <a:gdLst>
                  <a:gd name="connsiteX0" fmla="*/ 208407 w 323850"/>
                  <a:gd name="connsiteY0" fmla="*/ 0 h 342900"/>
                  <a:gd name="connsiteX1" fmla="*/ 88678 w 323850"/>
                  <a:gd name="connsiteY1" fmla="*/ 53340 h 342900"/>
                  <a:gd name="connsiteX2" fmla="*/ 88678 w 323850"/>
                  <a:gd name="connsiteY2" fmla="*/ 8858 h 342900"/>
                  <a:gd name="connsiteX3" fmla="*/ 0 w 323850"/>
                  <a:gd name="connsiteY3" fmla="*/ 8858 h 342900"/>
                  <a:gd name="connsiteX4" fmla="*/ 0 w 323850"/>
                  <a:gd name="connsiteY4" fmla="*/ 352044 h 342900"/>
                  <a:gd name="connsiteX5" fmla="*/ 88678 w 323850"/>
                  <a:gd name="connsiteY5" fmla="*/ 352044 h 342900"/>
                  <a:gd name="connsiteX6" fmla="*/ 88678 w 323850"/>
                  <a:gd name="connsiteY6" fmla="*/ 174117 h 342900"/>
                  <a:gd name="connsiteX7" fmla="*/ 171640 w 323850"/>
                  <a:gd name="connsiteY7" fmla="*/ 60103 h 342900"/>
                  <a:gd name="connsiteX8" fmla="*/ 244507 w 323850"/>
                  <a:gd name="connsiteY8" fmla="*/ 151257 h 342900"/>
                  <a:gd name="connsiteX9" fmla="*/ 244507 w 323850"/>
                  <a:gd name="connsiteY9" fmla="*/ 351949 h 342900"/>
                  <a:gd name="connsiteX10" fmla="*/ 333184 w 323850"/>
                  <a:gd name="connsiteY10" fmla="*/ 351949 h 342900"/>
                  <a:gd name="connsiteX11" fmla="*/ 333184 w 323850"/>
                  <a:gd name="connsiteY11" fmla="*/ 134779 h 342900"/>
                  <a:gd name="connsiteX12" fmla="*/ 208407 w 323850"/>
                  <a:gd name="connsiteY12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3850" h="342900">
                    <a:moveTo>
                      <a:pt x="208407" y="0"/>
                    </a:moveTo>
                    <a:cubicBezTo>
                      <a:pt x="132683" y="0"/>
                      <a:pt x="101155" y="32385"/>
                      <a:pt x="88678" y="53340"/>
                    </a:cubicBezTo>
                    <a:lnTo>
                      <a:pt x="88678" y="8858"/>
                    </a:lnTo>
                    <a:lnTo>
                      <a:pt x="0" y="8858"/>
                    </a:lnTo>
                    <a:lnTo>
                      <a:pt x="0" y="352044"/>
                    </a:lnTo>
                    <a:lnTo>
                      <a:pt x="88678" y="352044"/>
                    </a:lnTo>
                    <a:lnTo>
                      <a:pt x="88678" y="174117"/>
                    </a:lnTo>
                    <a:cubicBezTo>
                      <a:pt x="88678" y="85439"/>
                      <a:pt x="121634" y="60103"/>
                      <a:pt x="171640" y="60103"/>
                    </a:cubicBezTo>
                    <a:cubicBezTo>
                      <a:pt x="224218" y="60103"/>
                      <a:pt x="244507" y="74009"/>
                      <a:pt x="244507" y="151257"/>
                    </a:cubicBezTo>
                    <a:lnTo>
                      <a:pt x="244507" y="351949"/>
                    </a:lnTo>
                    <a:lnTo>
                      <a:pt x="333184" y="351949"/>
                    </a:lnTo>
                    <a:lnTo>
                      <a:pt x="333184" y="134779"/>
                    </a:lnTo>
                    <a:cubicBezTo>
                      <a:pt x="333089" y="34195"/>
                      <a:pt x="295751" y="0"/>
                      <a:pt x="20840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93911761-32D0-4C6B-B6B0-1B16F82E48CD}"/>
                  </a:ext>
                </a:extLst>
              </p:cNvPr>
              <p:cNvSpPr/>
              <p:nvPr/>
            </p:nvSpPr>
            <p:spPr>
              <a:xfrm>
                <a:off x="5450871" y="3275171"/>
                <a:ext cx="228600" cy="342900"/>
              </a:xfrm>
              <a:custGeom>
                <a:avLst/>
                <a:gdLst>
                  <a:gd name="connsiteX0" fmla="*/ 88678 w 228600"/>
                  <a:gd name="connsiteY0" fmla="*/ 90583 h 342900"/>
                  <a:gd name="connsiteX1" fmla="*/ 88678 w 228600"/>
                  <a:gd name="connsiteY1" fmla="*/ 3810 h 342900"/>
                  <a:gd name="connsiteX2" fmla="*/ 0 w 228600"/>
                  <a:gd name="connsiteY2" fmla="*/ 3810 h 342900"/>
                  <a:gd name="connsiteX3" fmla="*/ 0 w 228600"/>
                  <a:gd name="connsiteY3" fmla="*/ 346996 h 342900"/>
                  <a:gd name="connsiteX4" fmla="*/ 88678 w 228600"/>
                  <a:gd name="connsiteY4" fmla="*/ 346996 h 342900"/>
                  <a:gd name="connsiteX5" fmla="*/ 88678 w 228600"/>
                  <a:gd name="connsiteY5" fmla="*/ 162782 h 342900"/>
                  <a:gd name="connsiteX6" fmla="*/ 229267 w 228600"/>
                  <a:gd name="connsiteY6" fmla="*/ 82963 h 342900"/>
                  <a:gd name="connsiteX7" fmla="*/ 229267 w 228600"/>
                  <a:gd name="connsiteY7" fmla="*/ 0 h 342900"/>
                  <a:gd name="connsiteX8" fmla="*/ 88678 w 228600"/>
                  <a:gd name="connsiteY8" fmla="*/ 9058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8600" h="342900">
                    <a:moveTo>
                      <a:pt x="88678" y="90583"/>
                    </a:moveTo>
                    <a:lnTo>
                      <a:pt x="88678" y="3810"/>
                    </a:lnTo>
                    <a:lnTo>
                      <a:pt x="0" y="3810"/>
                    </a:lnTo>
                    <a:lnTo>
                      <a:pt x="0" y="346996"/>
                    </a:lnTo>
                    <a:lnTo>
                      <a:pt x="88678" y="346996"/>
                    </a:lnTo>
                    <a:lnTo>
                      <a:pt x="88678" y="162782"/>
                    </a:lnTo>
                    <a:cubicBezTo>
                      <a:pt x="88678" y="89344"/>
                      <a:pt x="114681" y="82963"/>
                      <a:pt x="229267" y="82963"/>
                    </a:cubicBezTo>
                    <a:lnTo>
                      <a:pt x="229267" y="0"/>
                    </a:lnTo>
                    <a:cubicBezTo>
                      <a:pt x="146304" y="0"/>
                      <a:pt x="103823" y="31052"/>
                      <a:pt x="88678" y="905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CE4E902E-1A79-49DA-93B2-0807BF38F27D}"/>
                  </a:ext>
                </a:extLst>
              </p:cNvPr>
              <p:cNvSpPr/>
              <p:nvPr/>
            </p:nvSpPr>
            <p:spPr>
              <a:xfrm>
                <a:off x="5003196" y="3270789"/>
                <a:ext cx="371475" cy="352425"/>
              </a:xfrm>
              <a:custGeom>
                <a:avLst/>
                <a:gdLst>
                  <a:gd name="connsiteX0" fmla="*/ 185547 w 371475"/>
                  <a:gd name="connsiteY0" fmla="*/ 0 h 352425"/>
                  <a:gd name="connsiteX1" fmla="*/ 0 w 371475"/>
                  <a:gd name="connsiteY1" fmla="*/ 181737 h 352425"/>
                  <a:gd name="connsiteX2" fmla="*/ 185547 w 371475"/>
                  <a:gd name="connsiteY2" fmla="*/ 359664 h 352425"/>
                  <a:gd name="connsiteX3" fmla="*/ 372332 w 371475"/>
                  <a:gd name="connsiteY3" fmla="*/ 179832 h 352425"/>
                  <a:gd name="connsiteX4" fmla="*/ 185547 w 371475"/>
                  <a:gd name="connsiteY4" fmla="*/ 0 h 352425"/>
                  <a:gd name="connsiteX5" fmla="*/ 186785 w 371475"/>
                  <a:gd name="connsiteY5" fmla="*/ 309658 h 352425"/>
                  <a:gd name="connsiteX6" fmla="*/ 93059 w 371475"/>
                  <a:gd name="connsiteY6" fmla="*/ 179832 h 352425"/>
                  <a:gd name="connsiteX7" fmla="*/ 184213 w 371475"/>
                  <a:gd name="connsiteY7" fmla="*/ 50006 h 352425"/>
                  <a:gd name="connsiteX8" fmla="*/ 279178 w 371475"/>
                  <a:gd name="connsiteY8" fmla="*/ 179832 h 352425"/>
                  <a:gd name="connsiteX9" fmla="*/ 186785 w 371475"/>
                  <a:gd name="connsiteY9" fmla="*/ 309658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1475" h="352425">
                    <a:moveTo>
                      <a:pt x="185547" y="0"/>
                    </a:moveTo>
                    <a:cubicBezTo>
                      <a:pt x="69056" y="0"/>
                      <a:pt x="0" y="41815"/>
                      <a:pt x="0" y="181737"/>
                    </a:cubicBezTo>
                    <a:cubicBezTo>
                      <a:pt x="0" y="323564"/>
                      <a:pt x="69056" y="359664"/>
                      <a:pt x="185547" y="359664"/>
                    </a:cubicBezTo>
                    <a:cubicBezTo>
                      <a:pt x="302038" y="359664"/>
                      <a:pt x="372332" y="319754"/>
                      <a:pt x="372332" y="179832"/>
                    </a:cubicBezTo>
                    <a:cubicBezTo>
                      <a:pt x="372332" y="37910"/>
                      <a:pt x="302038" y="0"/>
                      <a:pt x="185547" y="0"/>
                    </a:cubicBezTo>
                    <a:close/>
                    <a:moveTo>
                      <a:pt x="186785" y="309658"/>
                    </a:moveTo>
                    <a:cubicBezTo>
                      <a:pt x="109538" y="309658"/>
                      <a:pt x="93059" y="269748"/>
                      <a:pt x="93059" y="179832"/>
                    </a:cubicBezTo>
                    <a:cubicBezTo>
                      <a:pt x="93059" y="91821"/>
                      <a:pt x="106966" y="50006"/>
                      <a:pt x="184213" y="50006"/>
                    </a:cubicBezTo>
                    <a:cubicBezTo>
                      <a:pt x="262128" y="50006"/>
                      <a:pt x="279178" y="89916"/>
                      <a:pt x="279178" y="179832"/>
                    </a:cubicBezTo>
                    <a:cubicBezTo>
                      <a:pt x="279273" y="267843"/>
                      <a:pt x="265271" y="309658"/>
                      <a:pt x="186785" y="3096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1215F1AA-D583-4AA0-95F0-D9620735979A}"/>
                  </a:ext>
                </a:extLst>
              </p:cNvPr>
              <p:cNvSpPr/>
              <p:nvPr/>
            </p:nvSpPr>
            <p:spPr>
              <a:xfrm>
                <a:off x="5740908" y="3270122"/>
                <a:ext cx="361950" cy="476250"/>
              </a:xfrm>
              <a:custGeom>
                <a:avLst/>
                <a:gdLst>
                  <a:gd name="connsiteX0" fmla="*/ 212788 w 361950"/>
                  <a:gd name="connsiteY0" fmla="*/ 0 h 476250"/>
                  <a:gd name="connsiteX1" fmla="*/ 88678 w 361950"/>
                  <a:gd name="connsiteY1" fmla="*/ 69628 h 476250"/>
                  <a:gd name="connsiteX2" fmla="*/ 88678 w 361950"/>
                  <a:gd name="connsiteY2" fmla="*/ 7525 h 476250"/>
                  <a:gd name="connsiteX3" fmla="*/ 0 w 361950"/>
                  <a:gd name="connsiteY3" fmla="*/ 7525 h 476250"/>
                  <a:gd name="connsiteX4" fmla="*/ 0 w 361950"/>
                  <a:gd name="connsiteY4" fmla="*/ 481203 h 476250"/>
                  <a:gd name="connsiteX5" fmla="*/ 88678 w 361950"/>
                  <a:gd name="connsiteY5" fmla="*/ 481203 h 476250"/>
                  <a:gd name="connsiteX6" fmla="*/ 88678 w 361950"/>
                  <a:gd name="connsiteY6" fmla="*/ 300133 h 476250"/>
                  <a:gd name="connsiteX7" fmla="*/ 203930 w 361950"/>
                  <a:gd name="connsiteY7" fmla="*/ 359664 h 476250"/>
                  <a:gd name="connsiteX8" fmla="*/ 369856 w 361950"/>
                  <a:gd name="connsiteY8" fmla="*/ 179832 h 476250"/>
                  <a:gd name="connsiteX9" fmla="*/ 212788 w 361950"/>
                  <a:gd name="connsiteY9" fmla="*/ 0 h 476250"/>
                  <a:gd name="connsiteX10" fmla="*/ 181737 w 361950"/>
                  <a:gd name="connsiteY10" fmla="*/ 305848 h 476250"/>
                  <a:gd name="connsiteX11" fmla="*/ 89916 w 361950"/>
                  <a:gd name="connsiteY11" fmla="*/ 179832 h 476250"/>
                  <a:gd name="connsiteX12" fmla="*/ 181737 w 361950"/>
                  <a:gd name="connsiteY12" fmla="*/ 58293 h 476250"/>
                  <a:gd name="connsiteX13" fmla="*/ 276701 w 361950"/>
                  <a:gd name="connsiteY13" fmla="*/ 179832 h 476250"/>
                  <a:gd name="connsiteX14" fmla="*/ 181737 w 361950"/>
                  <a:gd name="connsiteY14" fmla="*/ 305848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1950" h="476250">
                    <a:moveTo>
                      <a:pt x="212788" y="0"/>
                    </a:moveTo>
                    <a:cubicBezTo>
                      <a:pt x="98774" y="0"/>
                      <a:pt x="88678" y="69628"/>
                      <a:pt x="88678" y="69628"/>
                    </a:cubicBezTo>
                    <a:lnTo>
                      <a:pt x="88678" y="7525"/>
                    </a:lnTo>
                    <a:lnTo>
                      <a:pt x="0" y="7525"/>
                    </a:lnTo>
                    <a:lnTo>
                      <a:pt x="0" y="481203"/>
                    </a:lnTo>
                    <a:lnTo>
                      <a:pt x="88678" y="481203"/>
                    </a:lnTo>
                    <a:lnTo>
                      <a:pt x="88678" y="300133"/>
                    </a:lnTo>
                    <a:cubicBezTo>
                      <a:pt x="88678" y="300133"/>
                      <a:pt x="96298" y="359664"/>
                      <a:pt x="203930" y="359664"/>
                    </a:cubicBezTo>
                    <a:cubicBezTo>
                      <a:pt x="318516" y="359664"/>
                      <a:pt x="369856" y="310229"/>
                      <a:pt x="369856" y="179832"/>
                    </a:cubicBezTo>
                    <a:cubicBezTo>
                      <a:pt x="369856" y="53816"/>
                      <a:pt x="322993" y="0"/>
                      <a:pt x="212788" y="0"/>
                    </a:cubicBezTo>
                    <a:close/>
                    <a:moveTo>
                      <a:pt x="181737" y="305848"/>
                    </a:moveTo>
                    <a:cubicBezTo>
                      <a:pt x="103251" y="305848"/>
                      <a:pt x="89916" y="262128"/>
                      <a:pt x="89916" y="179832"/>
                    </a:cubicBezTo>
                    <a:cubicBezTo>
                      <a:pt x="89916" y="100679"/>
                      <a:pt x="106394" y="58293"/>
                      <a:pt x="181737" y="58293"/>
                    </a:cubicBezTo>
                    <a:cubicBezTo>
                      <a:pt x="254603" y="58293"/>
                      <a:pt x="276701" y="100679"/>
                      <a:pt x="276701" y="179832"/>
                    </a:cubicBezTo>
                    <a:cubicBezTo>
                      <a:pt x="276701" y="266605"/>
                      <a:pt x="252698" y="305848"/>
                      <a:pt x="181737" y="30584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C9EE0447-3324-4DD1-952E-6F2BDF293E4E}"/>
                  </a:ext>
                </a:extLst>
              </p:cNvPr>
              <p:cNvSpPr/>
              <p:nvPr/>
            </p:nvSpPr>
            <p:spPr>
              <a:xfrm>
                <a:off x="6818376" y="3278314"/>
                <a:ext cx="85725" cy="342900"/>
              </a:xfrm>
              <a:custGeom>
                <a:avLst/>
                <a:gdLst>
                  <a:gd name="connsiteX0" fmla="*/ 0 w 85725"/>
                  <a:gd name="connsiteY0" fmla="*/ 0 h 342900"/>
                  <a:gd name="connsiteX1" fmla="*/ 88678 w 85725"/>
                  <a:gd name="connsiteY1" fmla="*/ 0 h 342900"/>
                  <a:gd name="connsiteX2" fmla="*/ 88678 w 85725"/>
                  <a:gd name="connsiteY2" fmla="*/ 343853 h 342900"/>
                  <a:gd name="connsiteX3" fmla="*/ 0 w 85725"/>
                  <a:gd name="connsiteY3" fmla="*/ 34385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342900">
                    <a:moveTo>
                      <a:pt x="0" y="0"/>
                    </a:moveTo>
                    <a:lnTo>
                      <a:pt x="88678" y="0"/>
                    </a:lnTo>
                    <a:lnTo>
                      <a:pt x="88678" y="343853"/>
                    </a:lnTo>
                    <a:lnTo>
                      <a:pt x="0" y="3438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F4DFBA1E-1E6A-4F74-90BF-85D5BD8BCF54}"/>
                  </a:ext>
                </a:extLst>
              </p:cNvPr>
              <p:cNvSpPr/>
              <p:nvPr/>
            </p:nvSpPr>
            <p:spPr>
              <a:xfrm>
                <a:off x="7016591" y="3270122"/>
                <a:ext cx="571500" cy="342900"/>
              </a:xfrm>
              <a:custGeom>
                <a:avLst/>
                <a:gdLst>
                  <a:gd name="connsiteX0" fmla="*/ 453390 w 571500"/>
                  <a:gd name="connsiteY0" fmla="*/ 0 h 342900"/>
                  <a:gd name="connsiteX1" fmla="*/ 326136 w 571500"/>
                  <a:gd name="connsiteY1" fmla="*/ 70961 h 342900"/>
                  <a:gd name="connsiteX2" fmla="*/ 208979 w 571500"/>
                  <a:gd name="connsiteY2" fmla="*/ 0 h 342900"/>
                  <a:gd name="connsiteX3" fmla="*/ 88678 w 571500"/>
                  <a:gd name="connsiteY3" fmla="*/ 70961 h 342900"/>
                  <a:gd name="connsiteX4" fmla="*/ 88678 w 571500"/>
                  <a:gd name="connsiteY4" fmla="*/ 8858 h 342900"/>
                  <a:gd name="connsiteX5" fmla="*/ 0 w 571500"/>
                  <a:gd name="connsiteY5" fmla="*/ 8858 h 342900"/>
                  <a:gd name="connsiteX6" fmla="*/ 0 w 571500"/>
                  <a:gd name="connsiteY6" fmla="*/ 352044 h 342900"/>
                  <a:gd name="connsiteX7" fmla="*/ 88678 w 571500"/>
                  <a:gd name="connsiteY7" fmla="*/ 352044 h 342900"/>
                  <a:gd name="connsiteX8" fmla="*/ 88678 w 571500"/>
                  <a:gd name="connsiteY8" fmla="*/ 174117 h 342900"/>
                  <a:gd name="connsiteX9" fmla="*/ 172307 w 571500"/>
                  <a:gd name="connsiteY9" fmla="*/ 60103 h 342900"/>
                  <a:gd name="connsiteX10" fmla="*/ 245174 w 571500"/>
                  <a:gd name="connsiteY10" fmla="*/ 151257 h 342900"/>
                  <a:gd name="connsiteX11" fmla="*/ 245174 w 571500"/>
                  <a:gd name="connsiteY11" fmla="*/ 351949 h 342900"/>
                  <a:gd name="connsiteX12" fmla="*/ 333851 w 571500"/>
                  <a:gd name="connsiteY12" fmla="*/ 351949 h 342900"/>
                  <a:gd name="connsiteX13" fmla="*/ 333851 w 571500"/>
                  <a:gd name="connsiteY13" fmla="*/ 174117 h 342900"/>
                  <a:gd name="connsiteX14" fmla="*/ 416814 w 571500"/>
                  <a:gd name="connsiteY14" fmla="*/ 60103 h 342900"/>
                  <a:gd name="connsiteX15" fmla="*/ 489680 w 571500"/>
                  <a:gd name="connsiteY15" fmla="*/ 151257 h 342900"/>
                  <a:gd name="connsiteX16" fmla="*/ 489680 w 571500"/>
                  <a:gd name="connsiteY16" fmla="*/ 351949 h 342900"/>
                  <a:gd name="connsiteX17" fmla="*/ 578358 w 571500"/>
                  <a:gd name="connsiteY17" fmla="*/ 351949 h 342900"/>
                  <a:gd name="connsiteX18" fmla="*/ 578358 w 571500"/>
                  <a:gd name="connsiteY18" fmla="*/ 134779 h 342900"/>
                  <a:gd name="connsiteX19" fmla="*/ 453390 w 571500"/>
                  <a:gd name="connsiteY19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0" h="342900">
                    <a:moveTo>
                      <a:pt x="453390" y="0"/>
                    </a:moveTo>
                    <a:cubicBezTo>
                      <a:pt x="341281" y="0"/>
                      <a:pt x="326136" y="70961"/>
                      <a:pt x="326136" y="70961"/>
                    </a:cubicBezTo>
                    <a:cubicBezTo>
                      <a:pt x="311563" y="19050"/>
                      <a:pt x="274225" y="0"/>
                      <a:pt x="208979" y="0"/>
                    </a:cubicBezTo>
                    <a:cubicBezTo>
                      <a:pt x="94964" y="0"/>
                      <a:pt x="88678" y="70961"/>
                      <a:pt x="88678" y="70961"/>
                    </a:cubicBezTo>
                    <a:lnTo>
                      <a:pt x="88678" y="8858"/>
                    </a:lnTo>
                    <a:lnTo>
                      <a:pt x="0" y="8858"/>
                    </a:lnTo>
                    <a:lnTo>
                      <a:pt x="0" y="352044"/>
                    </a:lnTo>
                    <a:lnTo>
                      <a:pt x="88678" y="352044"/>
                    </a:lnTo>
                    <a:lnTo>
                      <a:pt x="88678" y="174117"/>
                    </a:lnTo>
                    <a:cubicBezTo>
                      <a:pt x="88678" y="84868"/>
                      <a:pt x="122206" y="60103"/>
                      <a:pt x="172307" y="60103"/>
                    </a:cubicBezTo>
                    <a:cubicBezTo>
                      <a:pt x="224885" y="60103"/>
                      <a:pt x="245174" y="74009"/>
                      <a:pt x="245174" y="151257"/>
                    </a:cubicBezTo>
                    <a:lnTo>
                      <a:pt x="245174" y="351949"/>
                    </a:lnTo>
                    <a:lnTo>
                      <a:pt x="333851" y="351949"/>
                    </a:lnTo>
                    <a:lnTo>
                      <a:pt x="333851" y="174117"/>
                    </a:lnTo>
                    <a:cubicBezTo>
                      <a:pt x="333851" y="85439"/>
                      <a:pt x="366808" y="60103"/>
                      <a:pt x="416814" y="60103"/>
                    </a:cubicBezTo>
                    <a:cubicBezTo>
                      <a:pt x="469392" y="60103"/>
                      <a:pt x="489680" y="74009"/>
                      <a:pt x="489680" y="151257"/>
                    </a:cubicBezTo>
                    <a:lnTo>
                      <a:pt x="489680" y="351949"/>
                    </a:lnTo>
                    <a:lnTo>
                      <a:pt x="578358" y="351949"/>
                    </a:lnTo>
                    <a:lnTo>
                      <a:pt x="578358" y="134779"/>
                    </a:lnTo>
                    <a:cubicBezTo>
                      <a:pt x="578167" y="34195"/>
                      <a:pt x="540830" y="0"/>
                      <a:pt x="45339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2460304C-442B-450D-9A0D-7EF35AC828BB}"/>
                  </a:ext>
                </a:extLst>
              </p:cNvPr>
              <p:cNvSpPr/>
              <p:nvPr/>
            </p:nvSpPr>
            <p:spPr>
              <a:xfrm>
                <a:off x="6316122" y="3122866"/>
                <a:ext cx="419100" cy="504825"/>
              </a:xfrm>
              <a:custGeom>
                <a:avLst/>
                <a:gdLst>
                  <a:gd name="connsiteX0" fmla="*/ 155734 w 419100"/>
                  <a:gd name="connsiteY0" fmla="*/ 0 h 504825"/>
                  <a:gd name="connsiteX1" fmla="*/ 0 w 419100"/>
                  <a:gd name="connsiteY1" fmla="*/ 13145 h 504825"/>
                  <a:gd name="connsiteX2" fmla="*/ 0 w 419100"/>
                  <a:gd name="connsiteY2" fmla="*/ 503301 h 504825"/>
                  <a:gd name="connsiteX3" fmla="*/ 149352 w 419100"/>
                  <a:gd name="connsiteY3" fmla="*/ 512540 h 504825"/>
                  <a:gd name="connsiteX4" fmla="*/ 423101 w 419100"/>
                  <a:gd name="connsiteY4" fmla="*/ 256985 h 504825"/>
                  <a:gd name="connsiteX5" fmla="*/ 155734 w 419100"/>
                  <a:gd name="connsiteY5" fmla="*/ 0 h 504825"/>
                  <a:gd name="connsiteX6" fmla="*/ 147447 w 419100"/>
                  <a:gd name="connsiteY6" fmla="*/ 446246 h 504825"/>
                  <a:gd name="connsiteX7" fmla="*/ 88106 w 419100"/>
                  <a:gd name="connsiteY7" fmla="*/ 443198 h 504825"/>
                  <a:gd name="connsiteX8" fmla="*/ 88106 w 419100"/>
                  <a:gd name="connsiteY8" fmla="*/ 70295 h 504825"/>
                  <a:gd name="connsiteX9" fmla="*/ 152876 w 419100"/>
                  <a:gd name="connsiteY9" fmla="*/ 65627 h 504825"/>
                  <a:gd name="connsiteX10" fmla="*/ 324803 w 419100"/>
                  <a:gd name="connsiteY10" fmla="*/ 258604 h 504825"/>
                  <a:gd name="connsiteX11" fmla="*/ 147447 w 419100"/>
                  <a:gd name="connsiteY11" fmla="*/ 446246 h 504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0" h="504825">
                    <a:moveTo>
                      <a:pt x="155734" y="0"/>
                    </a:moveTo>
                    <a:cubicBezTo>
                      <a:pt x="102489" y="0"/>
                      <a:pt x="52388" y="6191"/>
                      <a:pt x="0" y="13145"/>
                    </a:cubicBezTo>
                    <a:lnTo>
                      <a:pt x="0" y="503301"/>
                    </a:lnTo>
                    <a:cubicBezTo>
                      <a:pt x="53245" y="509492"/>
                      <a:pt x="108014" y="512540"/>
                      <a:pt x="149352" y="512540"/>
                    </a:cubicBezTo>
                    <a:cubicBezTo>
                      <a:pt x="351473" y="512540"/>
                      <a:pt x="423101" y="433007"/>
                      <a:pt x="423101" y="256985"/>
                    </a:cubicBezTo>
                    <a:cubicBezTo>
                      <a:pt x="423101" y="81058"/>
                      <a:pt x="350520" y="0"/>
                      <a:pt x="155734" y="0"/>
                    </a:cubicBezTo>
                    <a:close/>
                    <a:moveTo>
                      <a:pt x="147447" y="446246"/>
                    </a:moveTo>
                    <a:cubicBezTo>
                      <a:pt x="128111" y="446246"/>
                      <a:pt x="114776" y="445484"/>
                      <a:pt x="88106" y="443198"/>
                    </a:cubicBezTo>
                    <a:lnTo>
                      <a:pt x="88106" y="70295"/>
                    </a:lnTo>
                    <a:cubicBezTo>
                      <a:pt x="110109" y="68009"/>
                      <a:pt x="128111" y="65627"/>
                      <a:pt x="152876" y="65627"/>
                    </a:cubicBezTo>
                    <a:cubicBezTo>
                      <a:pt x="292513" y="65627"/>
                      <a:pt x="324803" y="121253"/>
                      <a:pt x="324803" y="258604"/>
                    </a:cubicBezTo>
                    <a:cubicBezTo>
                      <a:pt x="324803" y="395954"/>
                      <a:pt x="292608" y="446246"/>
                      <a:pt x="147447" y="4462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ＭＳ Ｐゴシック" charset="0"/>
                </a:endParaRPr>
              </a:p>
            </p:txBody>
          </p:sp>
        </p:grpSp>
        <p:sp>
          <p:nvSpPr>
            <p:cNvPr id="434" name="TextBox 433">
              <a:extLst>
                <a:ext uri="{FF2B5EF4-FFF2-40B4-BE49-F238E27FC236}">
                  <a16:creationId xmlns:a16="http://schemas.microsoft.com/office/drawing/2014/main" id="{17761AFF-22E0-4B51-B268-845CDCCABC38}"/>
                </a:ext>
              </a:extLst>
            </p:cNvPr>
            <p:cNvSpPr txBox="1"/>
            <p:nvPr/>
          </p:nvSpPr>
          <p:spPr>
            <a:xfrm>
              <a:off x="4876800" y="3480730"/>
              <a:ext cx="3684762" cy="13477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Fully integrated front-to-back</a:t>
              </a:r>
              <a: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 </a:t>
              </a:r>
              <a:b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</a:br>
              <a: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investment management solution, </a:t>
              </a:r>
              <a:b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</a:br>
              <a: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powered by an award-winning </a:t>
              </a:r>
              <a:b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</a:br>
              <a: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Investment Book of Record, </a:t>
              </a:r>
              <a:br>
                <a:rPr kumimoji="0" lang="en-GB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</a:b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offered globally</a:t>
              </a:r>
              <a:endPara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</a:endParaRPr>
            </a:p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</a:endParaRPr>
            </a:p>
            <a:p>
              <a:pPr marL="0" marR="0" lvl="0" indent="0" algn="l" defTabSz="1793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DEE6"/>
                </a:buClr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190+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charset="0"/>
                </a:rPr>
                <a:t>clients</a:t>
              </a:r>
              <a:endPara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</a:endParaRPr>
            </a:p>
            <a:p>
              <a:pPr marL="0" marR="0" lvl="0" indent="0" algn="l" defTabSz="1793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DEE6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da-DK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346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 Contracts</a:t>
            </a:r>
            <a:endParaRPr lang="da-D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84D3D3-5424-4858-9821-0E27C2B350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What Do We Do – And Why?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b="1" dirty="0"/>
              <a:t>Bond (loan)</a:t>
            </a:r>
          </a:p>
          <a:p>
            <a:pPr lvl="1"/>
            <a:r>
              <a:rPr lang="en-US" dirty="0"/>
              <a:t>Pay amount up front (nominal)</a:t>
            </a:r>
          </a:p>
          <a:p>
            <a:pPr lvl="1"/>
            <a:r>
              <a:rPr lang="en-US" dirty="0"/>
              <a:t>Pay interest on nominal over time</a:t>
            </a:r>
          </a:p>
          <a:p>
            <a:pPr lvl="1"/>
            <a:r>
              <a:rPr lang="en-US" dirty="0"/>
              <a:t>Pay back nominal in the end</a:t>
            </a:r>
          </a:p>
          <a:p>
            <a:r>
              <a:rPr lang="en-US" b="1" dirty="0"/>
              <a:t>Option (financial instrument)</a:t>
            </a:r>
          </a:p>
          <a:p>
            <a:pPr lvl="1"/>
            <a:r>
              <a:rPr lang="en-US" dirty="0"/>
              <a:t>Right to exercise an underlying contract.</a:t>
            </a:r>
          </a:p>
          <a:p>
            <a:pPr lvl="1"/>
            <a:r>
              <a:rPr lang="en-US" dirty="0"/>
              <a:t>E.g. take up loan on already agreed conditions.</a:t>
            </a:r>
          </a:p>
          <a:p>
            <a:pPr lvl="1"/>
            <a:r>
              <a:rPr lang="en-US" dirty="0"/>
              <a:t>In a period or at specific points in time.</a:t>
            </a:r>
          </a:p>
          <a:p>
            <a:r>
              <a:rPr lang="en-US" b="1" dirty="0"/>
              <a:t>Over-the-Counter (OTC)</a:t>
            </a:r>
          </a:p>
          <a:p>
            <a:pPr lvl="1"/>
            <a:r>
              <a:rPr lang="en-US" dirty="0"/>
              <a:t>Highly customizable financial instruments</a:t>
            </a:r>
          </a:p>
          <a:p>
            <a:pPr lvl="1"/>
            <a:r>
              <a:rPr lang="en-US" dirty="0"/>
              <a:t>Not “centrally cleared”, bilateral agreement.</a:t>
            </a:r>
            <a:endParaRPr lang="da-DK" dirty="0"/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4D1786E1-F5CC-4527-877B-313274B4121B}"/>
              </a:ext>
            </a:extLst>
          </p:cNvPr>
          <p:cNvSpPr/>
          <p:nvPr/>
        </p:nvSpPr>
        <p:spPr>
          <a:xfrm>
            <a:off x="5213684" y="1835222"/>
            <a:ext cx="2638926" cy="1347537"/>
          </a:xfrm>
          <a:prstGeom prst="wedgeRoundRectCallout">
            <a:avLst>
              <a:gd name="adj1" fmla="val -93709"/>
              <a:gd name="adj2" fmla="val 6607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ike an insurance: if it rains in May, you may buy crops at $5 a pound.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A3062CB4-879A-4B1F-A555-6C1B04B56FBB}"/>
              </a:ext>
            </a:extLst>
          </p:cNvPr>
          <p:cNvSpPr/>
          <p:nvPr/>
        </p:nvSpPr>
        <p:spPr>
          <a:xfrm>
            <a:off x="5502442" y="5037221"/>
            <a:ext cx="3056021" cy="1010653"/>
          </a:xfrm>
          <a:prstGeom prst="wedgeRoundRectCallout">
            <a:avLst>
              <a:gd name="adj1" fmla="val -110334"/>
              <a:gd name="adj2" fmla="val -4543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ross-currency trades, interest swaps, Sell-buy-back, …</a:t>
            </a:r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C59B579-C4BC-41DA-8F01-6730A6F00977}"/>
              </a:ext>
            </a:extLst>
          </p:cNvPr>
          <p:cNvSpPr/>
          <p:nvPr/>
        </p:nvSpPr>
        <p:spPr>
          <a:xfrm rot="20970788">
            <a:off x="7253374" y="2141622"/>
            <a:ext cx="4612105" cy="287281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Financial contracts have market value!</a:t>
            </a:r>
            <a:endParaRPr lang="da-DK" sz="32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874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# logo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1591" y="1282506"/>
            <a:ext cx="4368548" cy="337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A small selection</a:t>
            </a:r>
            <a:endParaRPr lang="da-DK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mCorp</a:t>
            </a:r>
            <a:r>
              <a:rPr lang="en-US" dirty="0"/>
              <a:t> Technologies</a:t>
            </a:r>
            <a:endParaRPr lang="da-DK" dirty="0"/>
          </a:p>
        </p:txBody>
      </p:sp>
      <p:pic>
        <p:nvPicPr>
          <p:cNvPr id="8" name="Picture 7" descr="F# logo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635" y="1818648"/>
            <a:ext cx="2302042" cy="2302042"/>
          </a:xfrm>
          <a:prstGeom prst="rect">
            <a:avLst/>
          </a:prstGeom>
        </p:spPr>
      </p:pic>
      <p:pic>
        <p:nvPicPr>
          <p:cNvPr id="10" name="Picture 9" descr="OCaml logo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1861" y="4519184"/>
            <a:ext cx="4684294" cy="1287270"/>
          </a:xfrm>
          <a:prstGeom prst="rect">
            <a:avLst/>
          </a:prstGeom>
        </p:spPr>
      </p:pic>
      <p:sp>
        <p:nvSpPr>
          <p:cNvPr id="11" name="Content Placeholder 10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>
              <a:buNone/>
            </a:pPr>
            <a:endParaRPr lang="da-DK" u="sng" dirty="0">
              <a:solidFill>
                <a:srgbClr val="1A0DAB"/>
              </a:solidFill>
              <a:latin typeface="arial" panose="020B0604020202020204" pitchFamily="34" charset="0"/>
              <a:hlinkClick r:id="rId6"/>
            </a:endParaRPr>
          </a:p>
          <a:p>
            <a:endParaRPr lang="da-DK" dirty="0"/>
          </a:p>
        </p:txBody>
      </p:sp>
      <p:pic>
        <p:nvPicPr>
          <p:cNvPr id="14" name="Picture 13" descr="Dyalog APL logo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83" y="1771674"/>
            <a:ext cx="2400300" cy="2400300"/>
          </a:xfrm>
          <a:prstGeom prst="rect">
            <a:avLst/>
          </a:prstGeom>
        </p:spPr>
      </p:pic>
      <p:pic>
        <p:nvPicPr>
          <p:cNvPr id="6" name="Picture 5" descr="Git logo">
            <a:extLst>
              <a:ext uri="{FF2B5EF4-FFF2-40B4-BE49-F238E27FC236}">
                <a16:creationId xmlns:a16="http://schemas.microsoft.com/office/drawing/2014/main" id="{AD723730-D32D-4628-B27B-63A98CC3C58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896" y="4486640"/>
            <a:ext cx="3238542" cy="1352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3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is talk is not about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 err="1"/>
              <a:t>Dyalog</a:t>
            </a:r>
            <a:r>
              <a:rPr lang="en-US" dirty="0"/>
              <a:t> APL</a:t>
            </a:r>
          </a:p>
          <a:p>
            <a:pPr lvl="1"/>
            <a:r>
              <a:rPr lang="en-US" dirty="0"/>
              <a:t>Most code at </a:t>
            </a:r>
            <a:r>
              <a:rPr lang="en-US" dirty="0" err="1"/>
              <a:t>SimCorp</a:t>
            </a:r>
            <a:r>
              <a:rPr lang="en-US" dirty="0"/>
              <a:t> is APL code</a:t>
            </a:r>
          </a:p>
          <a:p>
            <a:pPr lvl="1"/>
            <a:r>
              <a:rPr lang="en-US" dirty="0"/>
              <a:t>In use since the 1970’s</a:t>
            </a:r>
          </a:p>
          <a:p>
            <a:pPr lvl="1"/>
            <a:r>
              <a:rPr lang="en-US" dirty="0"/>
              <a:t>Dynamically typed, interpreted, declarative, array-oriented</a:t>
            </a:r>
          </a:p>
          <a:p>
            <a:r>
              <a:rPr lang="en-US" dirty="0"/>
              <a:t>C#</a:t>
            </a:r>
          </a:p>
          <a:p>
            <a:pPr lvl="1"/>
            <a:r>
              <a:rPr lang="en-US" dirty="0"/>
              <a:t>Most new development on .NET</a:t>
            </a:r>
          </a:p>
          <a:p>
            <a:pPr lvl="1"/>
            <a:r>
              <a:rPr lang="en-US" dirty="0"/>
              <a:t>Threading, services, GUI</a:t>
            </a:r>
          </a:p>
          <a:p>
            <a:r>
              <a:rPr lang="en-US" dirty="0"/>
              <a:t>F#</a:t>
            </a:r>
          </a:p>
          <a:p>
            <a:pPr lvl="1"/>
            <a:r>
              <a:rPr lang="en-US" dirty="0"/>
              <a:t>Some components of </a:t>
            </a:r>
            <a:r>
              <a:rPr lang="en-US" dirty="0" err="1"/>
              <a:t>SimCorp</a:t>
            </a:r>
            <a:r>
              <a:rPr lang="en-US" dirty="0"/>
              <a:t> Dimension</a:t>
            </a:r>
          </a:p>
          <a:p>
            <a:pPr lvl="1"/>
            <a:r>
              <a:rPr lang="en-US" dirty="0" err="1"/>
              <a:t>SimCorp</a:t>
            </a:r>
            <a:r>
              <a:rPr lang="en-US" dirty="0"/>
              <a:t> internal static APL type checker</a:t>
            </a:r>
          </a:p>
        </p:txBody>
      </p:sp>
    </p:spTree>
    <p:extLst>
      <p:ext uri="{BB962C8B-B14F-4D97-AF65-F5344CB8AC3E}">
        <p14:creationId xmlns:p14="http://schemas.microsoft.com/office/powerpoint/2010/main" val="530175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rogramming language genealogy.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0299" y="279580"/>
            <a:ext cx="8371772" cy="44386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Caml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868986" y="4818591"/>
            <a:ext cx="5857081" cy="1408112"/>
          </a:xfrm>
        </p:spPr>
        <p:txBody>
          <a:bodyPr/>
          <a:lstStyle/>
          <a:p>
            <a:r>
              <a:rPr lang="en-US" dirty="0"/>
              <a:t>Multi-paradigm: functional, imperative, object-oriented</a:t>
            </a:r>
          </a:p>
          <a:p>
            <a:r>
              <a:rPr lang="en-US" dirty="0"/>
              <a:t>Static types and type inference</a:t>
            </a:r>
          </a:p>
          <a:p>
            <a:r>
              <a:rPr lang="en-US" dirty="0"/>
              <a:t>Strict evaluation</a:t>
            </a:r>
          </a:p>
          <a:p>
            <a:r>
              <a:rPr lang="en-US" dirty="0"/>
              <a:t>Interactive top-level (REPL)</a:t>
            </a:r>
            <a:endParaRPr lang="da-DK" dirty="0"/>
          </a:p>
        </p:txBody>
      </p:sp>
      <p:sp>
        <p:nvSpPr>
          <p:cNvPr id="8" name="Oval 7"/>
          <p:cNvSpPr/>
          <p:nvPr/>
        </p:nvSpPr>
        <p:spPr>
          <a:xfrm>
            <a:off x="7645371" y="1050110"/>
            <a:ext cx="857250" cy="402384"/>
          </a:xfrm>
          <a:prstGeom prst="ellipse">
            <a:avLst/>
          </a:prstGeom>
          <a:noFill/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pic>
        <p:nvPicPr>
          <p:cNvPr id="11" name="Picture 10" descr="Peter Sestoft&#10;“Programming Languages Concepts”&#10;Springer, 2012&#10;">
            <a:extLst>
              <a:ext uri="{FF2B5EF4-FFF2-40B4-BE49-F238E27FC236}">
                <a16:creationId xmlns:a16="http://schemas.microsoft.com/office/drawing/2014/main" id="{D616898C-012F-40C2-B228-B15B6D7006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403" y="1686676"/>
            <a:ext cx="2057424" cy="290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32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caml</a:t>
            </a:r>
            <a:r>
              <a:rPr lang="en-US" dirty="0"/>
              <a:t> Types Are Safe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1602557" y="1622968"/>
            <a:ext cx="9926356" cy="4568825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dirty="0">
                <a:latin typeface="Consolas" panose="020B0609020204030204" pitchFamily="49" charset="0"/>
              </a:rPr>
              <a:t> pizza = 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Crust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Cheese 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pizza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Sausage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pizza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Anchovy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pizza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Onion  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pizza</a:t>
            </a:r>
          </a:p>
          <a:p>
            <a:pPr marL="0" indent="0">
              <a:buNone/>
            </a:pPr>
            <a:endParaRPr lang="en-US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Cheese (Sausage (Onion Crust))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Cheese (Anchovy (Onion Crust))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Crust (Sausage Crust)</a:t>
            </a:r>
            <a:endParaRPr lang="da-DK" dirty="0">
              <a:latin typeface="Consolas" panose="020B0609020204030204" pitchFamily="49" charset="0"/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BC3C7877-8802-45C0-BF10-FF2D1C783F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18954" y="4439649"/>
            <a:ext cx="914400" cy="914400"/>
          </a:xfrm>
          <a:prstGeom prst="rect">
            <a:avLst/>
          </a:prstGeom>
        </p:spPr>
      </p:pic>
      <p:pic>
        <p:nvPicPr>
          <p:cNvPr id="9" name="Graphic 8" descr="Close">
            <a:extLst>
              <a:ext uri="{FF2B5EF4-FFF2-40B4-BE49-F238E27FC236}">
                <a16:creationId xmlns:a16="http://schemas.microsoft.com/office/drawing/2014/main" id="{CFCFA36D-80C7-4DE6-9145-2B4EF938D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5849" y="5519188"/>
            <a:ext cx="914400" cy="914400"/>
          </a:xfrm>
          <a:prstGeom prst="rect">
            <a:avLst/>
          </a:prstGeom>
        </p:spPr>
      </p:pic>
      <p:pic>
        <p:nvPicPr>
          <p:cNvPr id="11" name="Picture 10" descr="Matthias Felleisen and Daniel P. Friedman: The Little MLer">
            <a:extLst>
              <a:ext uri="{FF2B5EF4-FFF2-40B4-BE49-F238E27FC236}">
                <a16:creationId xmlns:a16="http://schemas.microsoft.com/office/drawing/2014/main" id="{ACC7A50E-2588-411D-AFD2-780E2B293C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118" y="1622968"/>
            <a:ext cx="2299074" cy="2472589"/>
          </a:xfrm>
          <a:prstGeom prst="rect">
            <a:avLst/>
          </a:prstGeom>
        </p:spPr>
      </p:pic>
      <p:pic>
        <p:nvPicPr>
          <p:cNvPr id="12" name="Graphic 11" descr="Checkmark">
            <a:extLst>
              <a:ext uri="{FF2B5EF4-FFF2-40B4-BE49-F238E27FC236}">
                <a16:creationId xmlns:a16="http://schemas.microsoft.com/office/drawing/2014/main" id="{5EA17305-1DB0-44F8-BAD5-C59AADFFC6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0522" y="494083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78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CD8953-1647-4D3C-8435-2205E247B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ctive Types Structure Programs</a:t>
            </a:r>
            <a:endParaRPr lang="da-DK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286ABD-572C-484D-90E5-749D2EF8A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6BA917-7F09-4B8D-AF07-F52890C14046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9F35F5-0F44-4284-88A4-313D7DF63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483BAD7-CFC5-48E7-BF96-3317C9B4882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type</a:t>
            </a:r>
            <a:r>
              <a:rPr lang="en-US" dirty="0">
                <a:latin typeface="Consolas" panose="020B0609020204030204" pitchFamily="49" charset="0"/>
              </a:rPr>
              <a:t> expr =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</a:t>
            </a:r>
            <a:r>
              <a:rPr lang="en-US" dirty="0" err="1">
                <a:latin typeface="Consolas" panose="020B0609020204030204" pitchFamily="49" charset="0"/>
              </a:rPr>
              <a:t>Cs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int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Add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expr * expr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</a:t>
            </a:r>
            <a:r>
              <a:rPr lang="en-US" dirty="0" err="1">
                <a:latin typeface="Consolas" panose="020B0609020204030204" pitchFamily="49" charset="0"/>
              </a:rPr>
              <a:t>Mul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expr * expr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Neg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of</a:t>
            </a:r>
            <a:r>
              <a:rPr lang="en-US" dirty="0">
                <a:latin typeface="Consolas" panose="020B0609020204030204" pitchFamily="49" charset="0"/>
              </a:rPr>
              <a:t> exp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DCEB818-42CA-4824-BFE3-FC2B332CFE1F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let rec</a:t>
            </a:r>
            <a:r>
              <a:rPr lang="en-US" dirty="0">
                <a:latin typeface="Consolas" panose="020B0609020204030204" pitchFamily="49" charset="0"/>
              </a:rPr>
              <a:t> eval : expr -&gt; int = </a:t>
            </a:r>
            <a:r>
              <a:rPr lang="en-US" dirty="0">
                <a:solidFill>
                  <a:schemeClr val="accent1"/>
                </a:solidFill>
                <a:latin typeface="Consolas" panose="020B0609020204030204" pitchFamily="49" charset="0"/>
              </a:rPr>
              <a:t>function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</a:t>
            </a:r>
            <a:r>
              <a:rPr lang="en-US" dirty="0" err="1">
                <a:latin typeface="Consolas" panose="020B0609020204030204" pitchFamily="49" charset="0"/>
              </a:rPr>
              <a:t>Cst</a:t>
            </a:r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err="1">
                <a:latin typeface="Consolas" panose="020B0609020204030204" pitchFamily="49" charset="0"/>
              </a:rPr>
              <a:t>i</a:t>
            </a:r>
            <a:r>
              <a:rPr lang="en-US" dirty="0">
                <a:latin typeface="Consolas" panose="020B0609020204030204" pitchFamily="49" charset="0"/>
              </a:rPr>
              <a:t> -&gt; </a:t>
            </a:r>
            <a:r>
              <a:rPr lang="en-US" dirty="0" err="1">
                <a:latin typeface="Consolas" panose="020B0609020204030204" pitchFamily="49" charset="0"/>
              </a:rPr>
              <a:t>i</a:t>
            </a:r>
            <a:endParaRPr lang="en-US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Add (e1, e2) -&gt; eval e1 + eval e2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</a:t>
            </a:r>
            <a:r>
              <a:rPr lang="en-US" dirty="0" err="1">
                <a:latin typeface="Consolas" panose="020B0609020204030204" pitchFamily="49" charset="0"/>
              </a:rPr>
              <a:t>Mul</a:t>
            </a:r>
            <a:r>
              <a:rPr lang="en-US" dirty="0">
                <a:latin typeface="Consolas" panose="020B0609020204030204" pitchFamily="49" charset="0"/>
              </a:rPr>
              <a:t> (e1, e2) -&gt; eval e1 * eval e2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 | Neg e -&gt; -(eval e)</a:t>
            </a: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33A451-76D3-46FF-B872-646E5EE1199D}"/>
              </a:ext>
            </a:extLst>
          </p:cNvPr>
          <p:cNvSpPr txBox="1"/>
          <p:nvPr/>
        </p:nvSpPr>
        <p:spPr>
          <a:xfrm>
            <a:off x="2018907" y="4110786"/>
            <a:ext cx="8154186" cy="225275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da-DK" sz="1600" dirty="0">
                <a:latin typeface="Consolas" panose="020B0609020204030204" pitchFamily="49" charset="0"/>
              </a:rPr>
              <a:t># </a:t>
            </a: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da-DK" sz="1600" dirty="0">
                <a:latin typeface="Consolas" panose="020B0609020204030204" pitchFamily="49" charset="0"/>
              </a:rPr>
              <a:t> e1 = </a:t>
            </a:r>
            <a:r>
              <a:rPr lang="da-DK" sz="1600" dirty="0" err="1">
                <a:latin typeface="Consolas" panose="020B0609020204030204" pitchFamily="49" charset="0"/>
              </a:rPr>
              <a:t>Add</a:t>
            </a:r>
            <a:r>
              <a:rPr lang="da-DK" sz="1600" dirty="0">
                <a:latin typeface="Consolas" panose="020B0609020204030204" pitchFamily="49" charset="0"/>
              </a:rPr>
              <a:t> (</a:t>
            </a:r>
            <a:r>
              <a:rPr lang="da-DK" sz="1600" dirty="0" err="1">
                <a:latin typeface="Consolas" panose="020B0609020204030204" pitchFamily="49" charset="0"/>
              </a:rPr>
              <a:t>Cst</a:t>
            </a:r>
            <a:r>
              <a:rPr lang="da-DK" sz="1600" dirty="0">
                <a:latin typeface="Consolas" panose="020B0609020204030204" pitchFamily="49" charset="0"/>
              </a:rPr>
              <a:t> 1, Neg (</a:t>
            </a:r>
            <a:r>
              <a:rPr lang="da-DK" sz="1600" dirty="0" err="1">
                <a:latin typeface="Consolas" panose="020B0609020204030204" pitchFamily="49" charset="0"/>
              </a:rPr>
              <a:t>Cst</a:t>
            </a:r>
            <a:r>
              <a:rPr lang="da-DK" sz="1600" dirty="0">
                <a:latin typeface="Consolas" panose="020B0609020204030204" pitchFamily="49" charset="0"/>
              </a:rPr>
              <a:t> 1));;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da-DK" sz="1600" dirty="0">
                <a:solidFill>
                  <a:schemeClr val="accent1"/>
                </a:solidFill>
                <a:latin typeface="Consolas" panose="020B0609020204030204" pitchFamily="49" charset="0"/>
              </a:rPr>
              <a:t>val</a:t>
            </a:r>
            <a:r>
              <a:rPr lang="da-DK" sz="1600" dirty="0">
                <a:latin typeface="Consolas" panose="020B0609020204030204" pitchFamily="49" charset="0"/>
              </a:rPr>
              <a:t> e1 : </a:t>
            </a:r>
            <a:r>
              <a:rPr lang="da-DK" sz="1600" dirty="0" err="1">
                <a:latin typeface="Consolas" panose="020B0609020204030204" pitchFamily="49" charset="0"/>
              </a:rPr>
              <a:t>expr</a:t>
            </a:r>
            <a:r>
              <a:rPr lang="da-DK" sz="1600" dirty="0">
                <a:latin typeface="Consolas" panose="020B0609020204030204" pitchFamily="49" charset="0"/>
              </a:rPr>
              <a:t> = </a:t>
            </a:r>
            <a:r>
              <a:rPr lang="da-DK" sz="1600" dirty="0" err="1">
                <a:latin typeface="Consolas" panose="020B0609020204030204" pitchFamily="49" charset="0"/>
              </a:rPr>
              <a:t>Add</a:t>
            </a:r>
            <a:r>
              <a:rPr lang="da-DK" sz="1600" dirty="0">
                <a:latin typeface="Consolas" panose="020B0609020204030204" pitchFamily="49" charset="0"/>
              </a:rPr>
              <a:t> (</a:t>
            </a:r>
            <a:r>
              <a:rPr lang="da-DK" sz="1600" dirty="0" err="1">
                <a:latin typeface="Consolas" panose="020B0609020204030204" pitchFamily="49" charset="0"/>
              </a:rPr>
              <a:t>Cst</a:t>
            </a:r>
            <a:r>
              <a:rPr lang="da-DK" sz="1600" dirty="0">
                <a:latin typeface="Consolas" panose="020B0609020204030204" pitchFamily="49" charset="0"/>
              </a:rPr>
              <a:t> 1, Neg (</a:t>
            </a:r>
            <a:r>
              <a:rPr lang="da-DK" sz="1600" dirty="0" err="1">
                <a:latin typeface="Consolas" panose="020B0609020204030204" pitchFamily="49" charset="0"/>
              </a:rPr>
              <a:t>Cst</a:t>
            </a:r>
            <a:r>
              <a:rPr lang="da-DK" sz="1600" dirty="0">
                <a:latin typeface="Consolas" panose="020B0609020204030204" pitchFamily="49" charset="0"/>
              </a:rPr>
              <a:t> 1))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da-DK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latin typeface="Consolas" panose="020B0609020204030204" pitchFamily="49" charset="0"/>
              </a:rPr>
              <a:t># </a:t>
            </a:r>
            <a:r>
              <a:rPr lang="en-US" sz="1600" dirty="0">
                <a:solidFill>
                  <a:schemeClr val="accent1"/>
                </a:solidFill>
                <a:latin typeface="Consolas" panose="020B0609020204030204" pitchFamily="49" charset="0"/>
              </a:rPr>
              <a:t>let</a:t>
            </a:r>
            <a:r>
              <a:rPr lang="en-US" sz="1600" dirty="0">
                <a:latin typeface="Consolas" panose="020B0609020204030204" pitchFamily="49" charset="0"/>
              </a:rPr>
              <a:t> e2 = Add (1, </a:t>
            </a:r>
            <a:r>
              <a:rPr lang="en-US" sz="1600" dirty="0" err="1">
                <a:latin typeface="Consolas" panose="020B0609020204030204" pitchFamily="49" charset="0"/>
              </a:rPr>
              <a:t>Cst</a:t>
            </a:r>
            <a:r>
              <a:rPr lang="en-US" sz="1600" dirty="0">
                <a:latin typeface="Consolas" panose="020B0609020204030204" pitchFamily="49" charset="0"/>
              </a:rPr>
              <a:t> 1);;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en-US" sz="1600" dirty="0">
                <a:solidFill>
                  <a:schemeClr val="accent4"/>
                </a:solidFill>
                <a:latin typeface="Consolas" panose="020B0609020204030204" pitchFamily="49" charset="0"/>
              </a:rPr>
              <a:t>Error: This expression has type int but an expression was expected of type expr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en-US" sz="1600" dirty="0">
              <a:latin typeface="Consolas" panose="020B0609020204030204" pitchFamily="49" charset="0"/>
            </a:endParaRP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da-DK" sz="1600" dirty="0">
                <a:latin typeface="Consolas" panose="020B0609020204030204" pitchFamily="49" charset="0"/>
              </a:rPr>
              <a:t># </a:t>
            </a:r>
            <a:r>
              <a:rPr lang="da-DK" sz="1600" dirty="0" err="1">
                <a:latin typeface="Consolas" panose="020B0609020204030204" pitchFamily="49" charset="0"/>
              </a:rPr>
              <a:t>eval</a:t>
            </a:r>
            <a:r>
              <a:rPr lang="da-DK" sz="1600" dirty="0">
                <a:latin typeface="Consolas" panose="020B0609020204030204" pitchFamily="49" charset="0"/>
              </a:rPr>
              <a:t> e1;;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r>
              <a:rPr lang="da-DK" sz="1600" dirty="0">
                <a:latin typeface="Consolas" panose="020B0609020204030204" pitchFamily="49" charset="0"/>
              </a:rPr>
              <a:t>- : </a:t>
            </a:r>
            <a:r>
              <a:rPr lang="da-DK" sz="1600" dirty="0" err="1">
                <a:latin typeface="Consolas" panose="020B0609020204030204" pitchFamily="49" charset="0"/>
              </a:rPr>
              <a:t>int</a:t>
            </a:r>
            <a:r>
              <a:rPr lang="da-DK" sz="1600" dirty="0">
                <a:latin typeface="Consolas" panose="020B0609020204030204" pitchFamily="49" charset="0"/>
              </a:rPr>
              <a:t> = 0</a:t>
            </a:r>
          </a:p>
          <a:p>
            <a:pPr marL="0" indent="0" defTabSz="179388">
              <a:buClr>
                <a:srgbClr val="00DEE6"/>
              </a:buClr>
              <a:buFont typeface="Arial" panose="020B0604020202020204" pitchFamily="34" charset="0"/>
              <a:buNone/>
            </a:pPr>
            <a:endParaRPr lang="da-DK" sz="1600" dirty="0" err="1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814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False"/>
  <p:tag name="MIO_NUMBER_OF_VALID_LAYOUTS" val="9"/>
  <p:tag name="MIO_MST_COLOR_1" val="0,0,0,Dark 1"/>
  <p:tag name="MIO_MST_COLOR_2" val="255,255,255,Light 1"/>
  <p:tag name="MIO_MST_COLOR_3" val="38,53,66,Dark 2"/>
  <p:tag name="MIO_MST_COLOR_4" val="255,255,255,Light 2"/>
  <p:tag name="MIO_MST_COLOR_5" val="21,166,173,Accent 1"/>
  <p:tag name="MIO_MST_COLOR_6" val="147,228,249,Accent 2"/>
  <p:tag name="MIO_MST_COLOR_7" val="33,85,205,Accent 3"/>
  <p:tag name="MIO_MST_COLOR_8" val="29,109,127,Accent 4"/>
  <p:tag name="MIO_MST_COLOR_9" val="21,137,114,Accent 5"/>
  <p:tag name="MIO_MST_COLOR_10" val="204,204,204,Accent 6"/>
  <p:tag name="MIO_MST_COLOR_11" val="118,193,226,"/>
  <p:tag name="MIO_MST_COLOR_12" val="132,138,144,"/>
  <p:tag name="MIO_HDS" val="True"/>
  <p:tag name="MIO_EK" val="2277"/>
  <p:tag name="MIO_UPDATE" val="True"/>
  <p:tag name="MIO_VERSION" val="18.03.2016 15:43:41"/>
  <p:tag name="MIO_DBID" val="25C89224-3BD0-4DAE-9699-6AD9CAF4AB96"/>
  <p:tag name="MIO_LASTDOWNLOADED" val="20.03.2016 10:29:32"/>
  <p:tag name="MIO_OBJECTNAME" val="SimCorp New Template"/>
</p:tagLst>
</file>

<file path=ppt/theme/theme1.xml><?xml version="1.0" encoding="utf-8"?>
<a:theme xmlns:a="http://schemas.openxmlformats.org/drawingml/2006/main" name="16.9">
  <a:themeElements>
    <a:clrScheme name="Custom 34">
      <a:dk1>
        <a:sysClr val="windowText" lastClr="000000"/>
      </a:dk1>
      <a:lt1>
        <a:sysClr val="window" lastClr="FFFFFF"/>
      </a:lt1>
      <a:dk2>
        <a:srgbClr val="2D465D"/>
      </a:dk2>
      <a:lt2>
        <a:srgbClr val="FFFFFF"/>
      </a:lt2>
      <a:accent1>
        <a:srgbClr val="15A6AD"/>
      </a:accent1>
      <a:accent2>
        <a:srgbClr val="00C8FF"/>
      </a:accent2>
      <a:accent3>
        <a:srgbClr val="2155CD"/>
      </a:accent3>
      <a:accent4>
        <a:srgbClr val="1D6D7F"/>
      </a:accent4>
      <a:accent5>
        <a:srgbClr val="158972"/>
      </a:accent5>
      <a:accent6>
        <a:srgbClr val="CCCCCC"/>
      </a:accent6>
      <a:hlink>
        <a:srgbClr val="00C8FF"/>
      </a:hlink>
      <a:folHlink>
        <a:srgbClr val="848A9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6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noFill/>
        <a:ln>
          <a:solidFill>
            <a:schemeClr val="accent6"/>
          </a:solidFill>
        </a:ln>
        <a:effec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indent="0" defTabSz="179388">
          <a:buClr>
            <a:srgbClr val="00DEE6"/>
          </a:buClr>
          <a:buFont typeface="Arial" panose="020B0604020202020204" pitchFamily="34" charset="0"/>
          <a:buNone/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E206B58-2D82-4937-8C09-887A055BE817}" vid="{C8C0EFAF-0BE6-4592-AFAE-9DDEC3B72C0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38</TotalTime>
  <Words>2109</Words>
  <Application>Microsoft Office PowerPoint</Application>
  <PresentationFormat>Widescreen</PresentationFormat>
  <Paragraphs>340</Paragraphs>
  <Slides>2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Arial</vt:lpstr>
      <vt:lpstr>Calibri</vt:lpstr>
      <vt:lpstr>CMTT9</vt:lpstr>
      <vt:lpstr>Consolas</vt:lpstr>
      <vt:lpstr>Georgia</vt:lpstr>
      <vt:lpstr>Myriad Pro</vt:lpstr>
      <vt:lpstr>16.9</vt:lpstr>
      <vt:lpstr>PowerPoint Presentation</vt:lpstr>
      <vt:lpstr>The speaker</vt:lpstr>
      <vt:lpstr>Simcorp</vt:lpstr>
      <vt:lpstr>Financial Contracts</vt:lpstr>
      <vt:lpstr>SimCorp Technologies</vt:lpstr>
      <vt:lpstr>What this talk is not about</vt:lpstr>
      <vt:lpstr>OCaml</vt:lpstr>
      <vt:lpstr>Ocaml Types Are Safe</vt:lpstr>
      <vt:lpstr>Inductive Types Structure Programs</vt:lpstr>
      <vt:lpstr>PowerPoint Presentation</vt:lpstr>
      <vt:lpstr>Financial Contracts MOdelling</vt:lpstr>
      <vt:lpstr>A Combinator Library for Financial Contracts</vt:lpstr>
      <vt:lpstr>Programming Complex GUI Logic</vt:lpstr>
      <vt:lpstr>Looks Familiar?</vt:lpstr>
      <vt:lpstr>PowerPoint Presentation</vt:lpstr>
      <vt:lpstr>Rules Describe Business Logic</vt:lpstr>
      <vt:lpstr>Accessing Fields Through Field API</vt:lpstr>
      <vt:lpstr>Constructing Instruments Through Rule API</vt:lpstr>
      <vt:lpstr>Rule Execution</vt:lpstr>
      <vt:lpstr>Monadic Rule API</vt:lpstr>
      <vt:lpstr>Separation of ConCerns</vt:lpstr>
      <vt:lpstr>How Well Does This Work In Practice?</vt:lpstr>
      <vt:lpstr>Summary</vt:lpstr>
      <vt:lpstr>PowerPoint Presentation</vt:lpstr>
      <vt:lpstr>PowerPoint Presentation</vt:lpstr>
    </vt:vector>
  </TitlesOfParts>
  <Company>SimCorp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ian Biermann</dc:creator>
  <cp:lastModifiedBy>Florian Biermann</cp:lastModifiedBy>
  <cp:revision>111</cp:revision>
  <dcterms:created xsi:type="dcterms:W3CDTF">2019-08-14T09:26:05Z</dcterms:created>
  <dcterms:modified xsi:type="dcterms:W3CDTF">2019-09-11T11:19:44Z</dcterms:modified>
</cp:coreProperties>
</file>